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ags/tag1.xml" ContentType="application/vnd.openxmlformats-officedocument.presentationml.tags+xml"/>
  <Override PartName="/ppt/slideLayouts/slideLayout58.xml" ContentType="application/vnd.openxmlformats-officedocument.presentationml.slideLayout+xml"/>
  <Override PartName="/ppt/theme/theme2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3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4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9" r:id="rId4"/>
    <p:sldMasterId id="2147483717" r:id="rId5"/>
    <p:sldMasterId id="2147483719" r:id="rId6"/>
    <p:sldMasterId id="2147483726" r:id="rId7"/>
    <p:sldMasterId id="2147483783" r:id="rId8"/>
  </p:sldMasterIdLst>
  <p:notesMasterIdLst>
    <p:notesMasterId r:id="rId30"/>
  </p:notesMasterIdLst>
  <p:sldIdLst>
    <p:sldId id="2147483469" r:id="rId9"/>
    <p:sldId id="2147483490" r:id="rId10"/>
    <p:sldId id="298" r:id="rId11"/>
    <p:sldId id="2147483472" r:id="rId12"/>
    <p:sldId id="2147483492" r:id="rId13"/>
    <p:sldId id="2147483473" r:id="rId14"/>
    <p:sldId id="261" r:id="rId15"/>
    <p:sldId id="2147483480" r:id="rId16"/>
    <p:sldId id="2147483481" r:id="rId17"/>
    <p:sldId id="2147483482" r:id="rId18"/>
    <p:sldId id="2147483484" r:id="rId19"/>
    <p:sldId id="2147483485" r:id="rId20"/>
    <p:sldId id="2147483491" r:id="rId21"/>
    <p:sldId id="2147483486" r:id="rId22"/>
    <p:sldId id="2147483487" r:id="rId23"/>
    <p:sldId id="2147483488" r:id="rId24"/>
    <p:sldId id="2147483489" r:id="rId25"/>
    <p:sldId id="2147483477" r:id="rId26"/>
    <p:sldId id="2147483474" r:id="rId27"/>
    <p:sldId id="2147483476" r:id="rId28"/>
    <p:sldId id="2147483479" r:id="rId29"/>
  </p:sldIdLst>
  <p:sldSz cx="9144000" cy="5143500" type="screen16x9"/>
  <p:notesSz cx="6858000" cy="9144000"/>
  <p:embeddedFontLst>
    <p:embeddedFont>
      <p:font typeface="Arial Bold" panose="020B0704020202020204" pitchFamily="34" charset="0"/>
      <p:bold r:id="rId31"/>
    </p:embeddedFont>
    <p:embeddedFont>
      <p:font typeface="Arial Nova Light" panose="020B0304020202020204" pitchFamily="34" charset="0"/>
      <p:regular r:id="rId32"/>
      <p:italic r:id="rId33"/>
    </p:embeddedFont>
    <p:embeddedFont>
      <p:font typeface="Century Gothic" panose="020B0502020202020204" pitchFamily="34" charset="0"/>
      <p:regular r:id="rId34"/>
      <p:bold r:id="rId35"/>
      <p:italic r:id="rId36"/>
      <p:boldItalic r:id="rId37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7B00641-72E6-E029-32BE-11E968BF48AC}" name="Dennie, Joseph (DHCD)" initials="DJ(" userId="S::Joseph.Dennie@dhcd.virginia.gov::779d9057-5b00-45ca-ae31-80ed489830f2" providerId="AD"/>
  <p188:author id="{C759076C-7B38-1F6F-452F-1722E239A342}" name="Jess Edwards" initials="JE" userId="S::jess.edwards@rbtc.tech::ecf76127-c0ba-40e7-9c5d-17cbd61a8c40" providerId="AD"/>
  <p188:author id="{070E71CB-4327-A14C-5048-AA1649D83870}" name="Gammel, Billy (DHCD)" initials="WG" userId="S::Billy.Gammel@dhcd.virginia.gov::b2df8999-58a7-40f2-9344-6ed8966e334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1325E"/>
    <a:srgbClr val="31B44B"/>
    <a:srgbClr val="6AC0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138" d="100"/>
          <a:sy n="138" d="100"/>
        </p:scale>
        <p:origin x="870" y="120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viewProps" Target="viewProps.xml"/><Relationship Id="rId21" Type="http://schemas.openxmlformats.org/officeDocument/2006/relationships/slide" Target="slides/slide13.xml"/><Relationship Id="rId34" Type="http://schemas.openxmlformats.org/officeDocument/2006/relationships/font" Target="fonts/font4.fntdata"/><Relationship Id="rId42" Type="http://schemas.microsoft.com/office/2018/10/relationships/authors" Target="author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font" Target="fonts/font2.fntdata"/><Relationship Id="rId37" Type="http://schemas.openxmlformats.org/officeDocument/2006/relationships/font" Target="fonts/font7.fntdata"/><Relationship Id="rId40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font" Target="fonts/font6.fntdata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font" Target="fonts/font1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notesMaster" Target="notesMasters/notesMaster1.xml"/><Relationship Id="rId35" Type="http://schemas.openxmlformats.org/officeDocument/2006/relationships/font" Target="fonts/font5.fntdata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font" Target="fonts/font3.fntdata"/><Relationship Id="rId38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Google Shape;107;g1174bf101fe_0_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108" name="Google Shape;108;g1174bf101fe_0_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7">
          <a:extLst>
            <a:ext uri="{FF2B5EF4-FFF2-40B4-BE49-F238E27FC236}">
              <a16:creationId xmlns:a16="http://schemas.microsoft.com/office/drawing/2014/main" id="{747D1478-120D-C7E8-5E01-5FD7885548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Google Shape;158;g1177dd0fc97_0_249:notes">
            <a:extLst>
              <a:ext uri="{FF2B5EF4-FFF2-40B4-BE49-F238E27FC236}">
                <a16:creationId xmlns:a16="http://schemas.microsoft.com/office/drawing/2014/main" id="{554C535B-3E2B-29CB-F4AE-50FE258A131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  <p:sp>
        <p:nvSpPr>
          <p:cNvPr id="159" name="Google Shape;159;g1177dd0fc97_0_249:notes">
            <a:extLst>
              <a:ext uri="{FF2B5EF4-FFF2-40B4-BE49-F238E27FC236}">
                <a16:creationId xmlns:a16="http://schemas.microsoft.com/office/drawing/2014/main" id="{5129C684-4435-0E15-D5F1-2E60B2024D4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78570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7">
          <a:extLst>
            <a:ext uri="{FF2B5EF4-FFF2-40B4-BE49-F238E27FC236}">
              <a16:creationId xmlns:a16="http://schemas.microsoft.com/office/drawing/2014/main" id="{6E99C014-187C-BE74-5DD6-120BFE94DB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Google Shape;158;g1177dd0fc97_0_249:notes">
            <a:extLst>
              <a:ext uri="{FF2B5EF4-FFF2-40B4-BE49-F238E27FC236}">
                <a16:creationId xmlns:a16="http://schemas.microsoft.com/office/drawing/2014/main" id="{FAD06334-4A39-814B-E90E-8C9D20EDB80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  <p:sp>
        <p:nvSpPr>
          <p:cNvPr id="159" name="Google Shape;159;g1177dd0fc97_0_249:notes">
            <a:extLst>
              <a:ext uri="{FF2B5EF4-FFF2-40B4-BE49-F238E27FC236}">
                <a16:creationId xmlns:a16="http://schemas.microsoft.com/office/drawing/2014/main" id="{953C4668-B826-0312-31E7-FED24DB5B72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433686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7">
          <a:extLst>
            <a:ext uri="{FF2B5EF4-FFF2-40B4-BE49-F238E27FC236}">
              <a16:creationId xmlns:a16="http://schemas.microsoft.com/office/drawing/2014/main" id="{14BFE790-69B3-D4F5-A5A9-09D53A336B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Google Shape;158;g1177dd0fc97_0_249:notes">
            <a:extLst>
              <a:ext uri="{FF2B5EF4-FFF2-40B4-BE49-F238E27FC236}">
                <a16:creationId xmlns:a16="http://schemas.microsoft.com/office/drawing/2014/main" id="{F48E07AE-8942-C1B5-17B9-756F0D39C56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  <p:sp>
        <p:nvSpPr>
          <p:cNvPr id="159" name="Google Shape;159;g1177dd0fc97_0_249:notes">
            <a:extLst>
              <a:ext uri="{FF2B5EF4-FFF2-40B4-BE49-F238E27FC236}">
                <a16:creationId xmlns:a16="http://schemas.microsoft.com/office/drawing/2014/main" id="{B6EC40FE-8872-5F73-7DFD-54475A48D52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516380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7">
          <a:extLst>
            <a:ext uri="{FF2B5EF4-FFF2-40B4-BE49-F238E27FC236}">
              <a16:creationId xmlns:a16="http://schemas.microsoft.com/office/drawing/2014/main" id="{0F7B6AD9-A05C-615E-3D8E-D66C9A46C0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Google Shape;158;g1177dd0fc97_0_249:notes">
            <a:extLst>
              <a:ext uri="{FF2B5EF4-FFF2-40B4-BE49-F238E27FC236}">
                <a16:creationId xmlns:a16="http://schemas.microsoft.com/office/drawing/2014/main" id="{C3E0263C-763A-00C3-487E-818822D0C4E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  <p:sp>
        <p:nvSpPr>
          <p:cNvPr id="159" name="Google Shape;159;g1177dd0fc97_0_249:notes">
            <a:extLst>
              <a:ext uri="{FF2B5EF4-FFF2-40B4-BE49-F238E27FC236}">
                <a16:creationId xmlns:a16="http://schemas.microsoft.com/office/drawing/2014/main" id="{8707F90A-CFB5-732D-2A7D-BB603BD84EA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650450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7">
          <a:extLst>
            <a:ext uri="{FF2B5EF4-FFF2-40B4-BE49-F238E27FC236}">
              <a16:creationId xmlns:a16="http://schemas.microsoft.com/office/drawing/2014/main" id="{214B7BF1-964E-95DF-917D-3E4E5AABDE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Google Shape;158;g1177dd0fc97_0_249:notes">
            <a:extLst>
              <a:ext uri="{FF2B5EF4-FFF2-40B4-BE49-F238E27FC236}">
                <a16:creationId xmlns:a16="http://schemas.microsoft.com/office/drawing/2014/main" id="{512F67C3-2310-0947-E4A2-AB4EAC9DB3D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  <p:sp>
        <p:nvSpPr>
          <p:cNvPr id="159" name="Google Shape;159;g1177dd0fc97_0_249:notes">
            <a:extLst>
              <a:ext uri="{FF2B5EF4-FFF2-40B4-BE49-F238E27FC236}">
                <a16:creationId xmlns:a16="http://schemas.microsoft.com/office/drawing/2014/main" id="{ED8CA905-199C-7430-A191-EA2A31337E5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721121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7">
          <a:extLst>
            <a:ext uri="{FF2B5EF4-FFF2-40B4-BE49-F238E27FC236}">
              <a16:creationId xmlns:a16="http://schemas.microsoft.com/office/drawing/2014/main" id="{37DF345F-32AE-0839-4A61-D268762791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Google Shape;158;g1177dd0fc97_0_249:notes">
            <a:extLst>
              <a:ext uri="{FF2B5EF4-FFF2-40B4-BE49-F238E27FC236}">
                <a16:creationId xmlns:a16="http://schemas.microsoft.com/office/drawing/2014/main" id="{C5ED5272-0DF8-EF8B-101A-CCF6D6B7C4C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  <p:sp>
        <p:nvSpPr>
          <p:cNvPr id="159" name="Google Shape;159;g1177dd0fc97_0_249:notes">
            <a:extLst>
              <a:ext uri="{FF2B5EF4-FFF2-40B4-BE49-F238E27FC236}">
                <a16:creationId xmlns:a16="http://schemas.microsoft.com/office/drawing/2014/main" id="{E79FD654-8671-5B28-84B7-667638C7F2C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869510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7">
          <a:extLst>
            <a:ext uri="{FF2B5EF4-FFF2-40B4-BE49-F238E27FC236}">
              <a16:creationId xmlns:a16="http://schemas.microsoft.com/office/drawing/2014/main" id="{2AA9A503-AAB3-57CC-B808-472B896A95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Google Shape;158;g1177dd0fc97_0_249:notes">
            <a:extLst>
              <a:ext uri="{FF2B5EF4-FFF2-40B4-BE49-F238E27FC236}">
                <a16:creationId xmlns:a16="http://schemas.microsoft.com/office/drawing/2014/main" id="{FB255137-BA44-1430-560B-409EA2D41C8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  <p:sp>
        <p:nvSpPr>
          <p:cNvPr id="159" name="Google Shape;159;g1177dd0fc97_0_249:notes">
            <a:extLst>
              <a:ext uri="{FF2B5EF4-FFF2-40B4-BE49-F238E27FC236}">
                <a16:creationId xmlns:a16="http://schemas.microsoft.com/office/drawing/2014/main" id="{D8799441-2D75-5111-9FD6-C50BAA29163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292327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7">
          <a:extLst>
            <a:ext uri="{FF2B5EF4-FFF2-40B4-BE49-F238E27FC236}">
              <a16:creationId xmlns:a16="http://schemas.microsoft.com/office/drawing/2014/main" id="{A101BE63-D4ED-3256-23BB-5BA88E8479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Google Shape;158;g1177dd0fc97_0_249:notes">
            <a:extLst>
              <a:ext uri="{FF2B5EF4-FFF2-40B4-BE49-F238E27FC236}">
                <a16:creationId xmlns:a16="http://schemas.microsoft.com/office/drawing/2014/main" id="{8928D967-558F-34CF-350C-D87D873567F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  <p:sp>
        <p:nvSpPr>
          <p:cNvPr id="159" name="Google Shape;159;g1177dd0fc97_0_249:notes">
            <a:extLst>
              <a:ext uri="{FF2B5EF4-FFF2-40B4-BE49-F238E27FC236}">
                <a16:creationId xmlns:a16="http://schemas.microsoft.com/office/drawing/2014/main" id="{F329C9B1-3093-CA87-1BF2-66F8395D281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974915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7">
          <a:extLst>
            <a:ext uri="{FF2B5EF4-FFF2-40B4-BE49-F238E27FC236}">
              <a16:creationId xmlns:a16="http://schemas.microsoft.com/office/drawing/2014/main" id="{6C53BFB9-D173-2ED7-DE22-C54440428F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Google Shape;158;g1177dd0fc97_0_249:notes">
            <a:extLst>
              <a:ext uri="{FF2B5EF4-FFF2-40B4-BE49-F238E27FC236}">
                <a16:creationId xmlns:a16="http://schemas.microsoft.com/office/drawing/2014/main" id="{8705D506-ACE1-28E4-B945-BBB7058536F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  <p:sp>
        <p:nvSpPr>
          <p:cNvPr id="159" name="Google Shape;159;g1177dd0fc97_0_249:notes">
            <a:extLst>
              <a:ext uri="{FF2B5EF4-FFF2-40B4-BE49-F238E27FC236}">
                <a16:creationId xmlns:a16="http://schemas.microsoft.com/office/drawing/2014/main" id="{BBA92694-8D19-86F6-6F39-411EE5312B2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585607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7">
          <a:extLst>
            <a:ext uri="{FF2B5EF4-FFF2-40B4-BE49-F238E27FC236}">
              <a16:creationId xmlns:a16="http://schemas.microsoft.com/office/drawing/2014/main" id="{C48F3006-A3FF-7606-2E4B-F26C8D66BC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Google Shape;158;g1177dd0fc97_0_249:notes">
            <a:extLst>
              <a:ext uri="{FF2B5EF4-FFF2-40B4-BE49-F238E27FC236}">
                <a16:creationId xmlns:a16="http://schemas.microsoft.com/office/drawing/2014/main" id="{46B21964-86A9-C4CE-2F97-634F1E6FE1E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  <p:sp>
        <p:nvSpPr>
          <p:cNvPr id="159" name="Google Shape;159;g1177dd0fc97_0_249:notes">
            <a:extLst>
              <a:ext uri="{FF2B5EF4-FFF2-40B4-BE49-F238E27FC236}">
                <a16:creationId xmlns:a16="http://schemas.microsoft.com/office/drawing/2014/main" id="{2606936A-6A10-5573-BD9D-10115ED1E73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63906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7">
          <a:extLst>
            <a:ext uri="{FF2B5EF4-FFF2-40B4-BE49-F238E27FC236}">
              <a16:creationId xmlns:a16="http://schemas.microsoft.com/office/drawing/2014/main" id="{F92B51B2-01E0-4B65-91DE-093D7B776C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Google Shape;158;g1177dd0fc97_0_249:notes">
            <a:extLst>
              <a:ext uri="{FF2B5EF4-FFF2-40B4-BE49-F238E27FC236}">
                <a16:creationId xmlns:a16="http://schemas.microsoft.com/office/drawing/2014/main" id="{CC35F95A-1796-8E1C-78D9-AB66547164A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  <p:sp>
        <p:nvSpPr>
          <p:cNvPr id="159" name="Google Shape;159;g1177dd0fc97_0_249:notes">
            <a:extLst>
              <a:ext uri="{FF2B5EF4-FFF2-40B4-BE49-F238E27FC236}">
                <a16:creationId xmlns:a16="http://schemas.microsoft.com/office/drawing/2014/main" id="{5549320E-8687-5C73-0D9A-9BDA9A68D49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776608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7">
          <a:extLst>
            <a:ext uri="{FF2B5EF4-FFF2-40B4-BE49-F238E27FC236}">
              <a16:creationId xmlns:a16="http://schemas.microsoft.com/office/drawing/2014/main" id="{B1681895-56BB-782A-E489-D8D8B16DCA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Google Shape;158;g1177dd0fc97_0_249:notes">
            <a:extLst>
              <a:ext uri="{FF2B5EF4-FFF2-40B4-BE49-F238E27FC236}">
                <a16:creationId xmlns:a16="http://schemas.microsoft.com/office/drawing/2014/main" id="{6EAC5539-594B-9B1D-3108-32DA4990A40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  <p:sp>
        <p:nvSpPr>
          <p:cNvPr id="159" name="Google Shape;159;g1177dd0fc97_0_249:notes">
            <a:extLst>
              <a:ext uri="{FF2B5EF4-FFF2-40B4-BE49-F238E27FC236}">
                <a16:creationId xmlns:a16="http://schemas.microsoft.com/office/drawing/2014/main" id="{9EE02B76-816C-5B21-88CF-ED666235782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618442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7">
          <a:extLst>
            <a:ext uri="{FF2B5EF4-FFF2-40B4-BE49-F238E27FC236}">
              <a16:creationId xmlns:a16="http://schemas.microsoft.com/office/drawing/2014/main" id="{F8BEE1BA-F7D8-7923-9A41-E11C81CC04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Google Shape;158;g1177dd0fc97_0_249:notes">
            <a:extLst>
              <a:ext uri="{FF2B5EF4-FFF2-40B4-BE49-F238E27FC236}">
                <a16:creationId xmlns:a16="http://schemas.microsoft.com/office/drawing/2014/main" id="{07548CFA-8584-3C6C-A855-47C1769739C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  <p:sp>
        <p:nvSpPr>
          <p:cNvPr id="159" name="Google Shape;159;g1177dd0fc97_0_249:notes">
            <a:extLst>
              <a:ext uri="{FF2B5EF4-FFF2-40B4-BE49-F238E27FC236}">
                <a16:creationId xmlns:a16="http://schemas.microsoft.com/office/drawing/2014/main" id="{728E638F-9BC9-0491-C1BC-4BA705AC750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74901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7">
          <a:extLst>
            <a:ext uri="{FF2B5EF4-FFF2-40B4-BE49-F238E27FC236}">
              <a16:creationId xmlns:a16="http://schemas.microsoft.com/office/drawing/2014/main" id="{15712DE9-6EA8-9330-ACB3-56B0B60A40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Google Shape;158;g1177dd0fc97_0_249:notes">
            <a:extLst>
              <a:ext uri="{FF2B5EF4-FFF2-40B4-BE49-F238E27FC236}">
                <a16:creationId xmlns:a16="http://schemas.microsoft.com/office/drawing/2014/main" id="{0A10738F-7C7A-07A2-C4B7-C582E6651B0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  <p:sp>
        <p:nvSpPr>
          <p:cNvPr id="159" name="Google Shape;159;g1177dd0fc97_0_249:notes">
            <a:extLst>
              <a:ext uri="{FF2B5EF4-FFF2-40B4-BE49-F238E27FC236}">
                <a16:creationId xmlns:a16="http://schemas.microsoft.com/office/drawing/2014/main" id="{03A97074-D84B-5CBC-C5DD-799DEA0A113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826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7">
          <a:extLst>
            <a:ext uri="{FF2B5EF4-FFF2-40B4-BE49-F238E27FC236}">
              <a16:creationId xmlns:a16="http://schemas.microsoft.com/office/drawing/2014/main" id="{83FA413B-29C4-F1D9-E6D5-DFC56FB74F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Google Shape;158;g1177dd0fc97_0_249:notes">
            <a:extLst>
              <a:ext uri="{FF2B5EF4-FFF2-40B4-BE49-F238E27FC236}">
                <a16:creationId xmlns:a16="http://schemas.microsoft.com/office/drawing/2014/main" id="{A1741FB7-6BB7-033E-3FE2-40C8477F0CC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  <p:sp>
        <p:nvSpPr>
          <p:cNvPr id="159" name="Google Shape;159;g1177dd0fc97_0_249:notes">
            <a:extLst>
              <a:ext uri="{FF2B5EF4-FFF2-40B4-BE49-F238E27FC236}">
                <a16:creationId xmlns:a16="http://schemas.microsoft.com/office/drawing/2014/main" id="{DFE87E1A-9962-1314-7098-8A34150AD3C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43541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7">
          <a:extLst>
            <a:ext uri="{FF2B5EF4-FFF2-40B4-BE49-F238E27FC236}">
              <a16:creationId xmlns:a16="http://schemas.microsoft.com/office/drawing/2014/main" id="{1325E7A2-CE30-D062-F6FD-170E660A9C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Google Shape;158;g1177dd0fc97_0_249:notes">
            <a:extLst>
              <a:ext uri="{FF2B5EF4-FFF2-40B4-BE49-F238E27FC236}">
                <a16:creationId xmlns:a16="http://schemas.microsoft.com/office/drawing/2014/main" id="{82A3FC57-3954-E571-2DAD-F61851E38CF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  <p:sp>
        <p:nvSpPr>
          <p:cNvPr id="159" name="Google Shape;159;g1177dd0fc97_0_249:notes">
            <a:extLst>
              <a:ext uri="{FF2B5EF4-FFF2-40B4-BE49-F238E27FC236}">
                <a16:creationId xmlns:a16="http://schemas.microsoft.com/office/drawing/2014/main" id="{F96C8D05-90BF-A1D7-6408-42C3FBD14CA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04879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7">
          <a:extLst>
            <a:ext uri="{FF2B5EF4-FFF2-40B4-BE49-F238E27FC236}">
              <a16:creationId xmlns:a16="http://schemas.microsoft.com/office/drawing/2014/main" id="{5CE5AD08-6B50-BD7C-917C-CD2C416BCA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Google Shape;158;g1177dd0fc97_0_249:notes">
            <a:extLst>
              <a:ext uri="{FF2B5EF4-FFF2-40B4-BE49-F238E27FC236}">
                <a16:creationId xmlns:a16="http://schemas.microsoft.com/office/drawing/2014/main" id="{16FA14DA-6289-9728-A108-1369586F6D5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  <p:sp>
        <p:nvSpPr>
          <p:cNvPr id="159" name="Google Shape;159;g1177dd0fc97_0_249:notes">
            <a:extLst>
              <a:ext uri="{FF2B5EF4-FFF2-40B4-BE49-F238E27FC236}">
                <a16:creationId xmlns:a16="http://schemas.microsoft.com/office/drawing/2014/main" id="{D17DC847-6E0E-95DB-C670-3DB294ED05F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16748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Google Shape;158;g1177dd0fc97_0_24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  <p:sp>
        <p:nvSpPr>
          <p:cNvPr id="159" name="Google Shape;159;g1177dd0fc97_0_24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7">
          <a:extLst>
            <a:ext uri="{FF2B5EF4-FFF2-40B4-BE49-F238E27FC236}">
              <a16:creationId xmlns:a16="http://schemas.microsoft.com/office/drawing/2014/main" id="{773921C6-D760-CDCD-DBF4-EA08CBDC7C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Google Shape;158;g1177dd0fc97_0_249:notes">
            <a:extLst>
              <a:ext uri="{FF2B5EF4-FFF2-40B4-BE49-F238E27FC236}">
                <a16:creationId xmlns:a16="http://schemas.microsoft.com/office/drawing/2014/main" id="{B40CB7DD-FF25-D368-097A-1950D5BEE44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  <p:sp>
        <p:nvSpPr>
          <p:cNvPr id="159" name="Google Shape;159;g1177dd0fc97_0_249:notes">
            <a:extLst>
              <a:ext uri="{FF2B5EF4-FFF2-40B4-BE49-F238E27FC236}">
                <a16:creationId xmlns:a16="http://schemas.microsoft.com/office/drawing/2014/main" id="{B8A1FBCF-24B5-8D9D-1874-AE865CBECBA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175672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7">
          <a:extLst>
            <a:ext uri="{FF2B5EF4-FFF2-40B4-BE49-F238E27FC236}">
              <a16:creationId xmlns:a16="http://schemas.microsoft.com/office/drawing/2014/main" id="{A1C2EC75-5863-0C83-BB82-99CB2FDBA1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Google Shape;158;g1177dd0fc97_0_249:notes">
            <a:extLst>
              <a:ext uri="{FF2B5EF4-FFF2-40B4-BE49-F238E27FC236}">
                <a16:creationId xmlns:a16="http://schemas.microsoft.com/office/drawing/2014/main" id="{0F0D4059-415D-5A09-69C0-2B9703FF180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  <p:sp>
        <p:nvSpPr>
          <p:cNvPr id="159" name="Google Shape;159;g1177dd0fc97_0_249:notes">
            <a:extLst>
              <a:ext uri="{FF2B5EF4-FFF2-40B4-BE49-F238E27FC236}">
                <a16:creationId xmlns:a16="http://schemas.microsoft.com/office/drawing/2014/main" id="{3EED0A72-BB73-BAA7-D7B1-E082AF3192C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88505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7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4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4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4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4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4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14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14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14.png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20.png"/><Relationship Id="rId7" Type="http://schemas.openxmlformats.org/officeDocument/2006/relationships/image" Target="../media/image18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png"/><Relationship Id="rId5" Type="http://schemas.openxmlformats.org/officeDocument/2006/relationships/image" Target="../media/image4.svg"/><Relationship Id="rId4" Type="http://schemas.openxmlformats.org/officeDocument/2006/relationships/image" Target="../media/image1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6.sv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2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1.png"/><Relationship Id="rId5" Type="http://schemas.openxmlformats.org/officeDocument/2006/relationships/image" Target="../media/image4.svg"/><Relationship Id="rId4" Type="http://schemas.openxmlformats.org/officeDocument/2006/relationships/image" Target="../media/image14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0.png"/><Relationship Id="rId5" Type="http://schemas.openxmlformats.org/officeDocument/2006/relationships/image" Target="../media/image4.svg"/><Relationship Id="rId4" Type="http://schemas.openxmlformats.org/officeDocument/2006/relationships/image" Target="../media/image14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8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8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8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8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8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8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8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7.sv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19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svg"/><Relationship Id="rId4" Type="http://schemas.openxmlformats.org/officeDocument/2006/relationships/image" Target="../media/image14.png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image" Target="../media/image13.png"/><Relationship Id="rId7" Type="http://schemas.openxmlformats.org/officeDocument/2006/relationships/image" Target="../media/image5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5.png"/><Relationship Id="rId5" Type="http://schemas.openxmlformats.org/officeDocument/2006/relationships/image" Target="../media/image4.svg"/><Relationship Id="rId4" Type="http://schemas.openxmlformats.org/officeDocument/2006/relationships/image" Target="../media/image14.png"/><Relationship Id="rId9" Type="http://schemas.openxmlformats.org/officeDocument/2006/relationships/image" Target="../media/image16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8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8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7" Type="http://schemas.openxmlformats.org/officeDocument/2006/relationships/image" Target="../media/image32.png"/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svg"/><Relationship Id="rId4" Type="http://schemas.openxmlformats.org/officeDocument/2006/relationships/image" Target="../media/image14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7" Type="http://schemas.openxmlformats.org/officeDocument/2006/relationships/image" Target="../media/image32.png"/><Relationship Id="rId2" Type="http://schemas.openxmlformats.org/officeDocument/2006/relationships/image" Target="../media/image6.sv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svg"/><Relationship Id="rId4" Type="http://schemas.openxmlformats.org/officeDocument/2006/relationships/image" Target="../media/image14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sv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7" Type="http://schemas.openxmlformats.org/officeDocument/2006/relationships/image" Target="../media/image32.png"/><Relationship Id="rId2" Type="http://schemas.openxmlformats.org/officeDocument/2006/relationships/image" Target="../media/image7.sv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svg"/><Relationship Id="rId4" Type="http://schemas.openxmlformats.org/officeDocument/2006/relationships/image" Target="../media/image14.png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3" Type="http://schemas.openxmlformats.org/officeDocument/2006/relationships/image" Target="../media/image33.png"/><Relationship Id="rId7" Type="http://schemas.openxmlformats.org/officeDocument/2006/relationships/image" Target="../media/image32.png"/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svg"/><Relationship Id="rId4" Type="http://schemas.openxmlformats.org/officeDocument/2006/relationships/image" Target="../media/image14.png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3" Type="http://schemas.openxmlformats.org/officeDocument/2006/relationships/image" Target="../media/image33.png"/><Relationship Id="rId7" Type="http://schemas.openxmlformats.org/officeDocument/2006/relationships/image" Target="../media/image32.png"/><Relationship Id="rId2" Type="http://schemas.openxmlformats.org/officeDocument/2006/relationships/image" Target="../media/image6.sv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svg"/><Relationship Id="rId4" Type="http://schemas.openxmlformats.org/officeDocument/2006/relationships/image" Target="../media/image14.png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3" Type="http://schemas.openxmlformats.org/officeDocument/2006/relationships/image" Target="../media/image33.png"/><Relationship Id="rId7" Type="http://schemas.openxmlformats.org/officeDocument/2006/relationships/image" Target="../media/image32.png"/><Relationship Id="rId2" Type="http://schemas.openxmlformats.org/officeDocument/2006/relationships/image" Target="../media/image7.sv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svg"/><Relationship Id="rId4" Type="http://schemas.openxmlformats.org/officeDocument/2006/relationships/image" Target="../media/image14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34.jpe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2.pn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32.png"/><Relationship Id="rId4" Type="http://schemas.openxmlformats.org/officeDocument/2006/relationships/image" Target="../media/image4.sv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6.sv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2.png"/><Relationship Id="rId5" Type="http://schemas.openxmlformats.org/officeDocument/2006/relationships/image" Target="../media/image4.svg"/><Relationship Id="rId4" Type="http://schemas.openxmlformats.org/officeDocument/2006/relationships/image" Target="../media/image14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7.sv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2.png"/><Relationship Id="rId5" Type="http://schemas.openxmlformats.org/officeDocument/2006/relationships/image" Target="../media/image4.svg"/><Relationship Id="rId4" Type="http://schemas.openxmlformats.org/officeDocument/2006/relationships/image" Target="../media/image14.png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sv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png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(Photo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>
            <a:extLst>
              <a:ext uri="{FF2B5EF4-FFF2-40B4-BE49-F238E27FC236}">
                <a16:creationId xmlns:a16="http://schemas.microsoft.com/office/drawing/2014/main" id="{602C580C-279C-C14B-A35B-19A3198CE523}"/>
              </a:ext>
            </a:extLst>
          </p:cNvPr>
          <p:cNvSpPr/>
          <p:nvPr userDrawn="1"/>
        </p:nvSpPr>
        <p:spPr>
          <a:xfrm flipH="1">
            <a:off x="0" y="4522171"/>
            <a:ext cx="6781322" cy="320579"/>
          </a:xfrm>
          <a:custGeom>
            <a:avLst/>
            <a:gdLst>
              <a:gd name="connsiteX0" fmla="*/ 6781322 w 6781322"/>
              <a:gd name="connsiteY0" fmla="*/ 0 h 427439"/>
              <a:gd name="connsiteX1" fmla="*/ 6376846 w 6781322"/>
              <a:gd name="connsiteY1" fmla="*/ 0 h 427439"/>
              <a:gd name="connsiteX2" fmla="*/ 607317 w 6781322"/>
              <a:gd name="connsiteY2" fmla="*/ 0 h 427439"/>
              <a:gd name="connsiteX3" fmla="*/ 202841 w 6781322"/>
              <a:gd name="connsiteY3" fmla="*/ 0 h 427439"/>
              <a:gd name="connsiteX4" fmla="*/ 0 w 6781322"/>
              <a:gd name="connsiteY4" fmla="*/ 427439 h 427439"/>
              <a:gd name="connsiteX5" fmla="*/ 404476 w 6781322"/>
              <a:gd name="connsiteY5" fmla="*/ 427439 h 427439"/>
              <a:gd name="connsiteX6" fmla="*/ 6376846 w 6781322"/>
              <a:gd name="connsiteY6" fmla="*/ 427439 h 427439"/>
              <a:gd name="connsiteX7" fmla="*/ 6781322 w 6781322"/>
              <a:gd name="connsiteY7" fmla="*/ 427439 h 427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81322" h="427439">
                <a:moveTo>
                  <a:pt x="6781322" y="0"/>
                </a:moveTo>
                <a:lnTo>
                  <a:pt x="6376846" y="0"/>
                </a:lnTo>
                <a:lnTo>
                  <a:pt x="607317" y="0"/>
                </a:lnTo>
                <a:lnTo>
                  <a:pt x="202841" y="0"/>
                </a:lnTo>
                <a:lnTo>
                  <a:pt x="0" y="427439"/>
                </a:lnTo>
                <a:lnTo>
                  <a:pt x="404476" y="427439"/>
                </a:lnTo>
                <a:lnTo>
                  <a:pt x="6376846" y="427439"/>
                </a:lnTo>
                <a:lnTo>
                  <a:pt x="6781322" y="42743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05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32EA00E4-A5CA-8A45-BBC6-14C9E32393F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" y="1"/>
            <a:ext cx="9144001" cy="4272680"/>
          </a:xfrm>
          <a:prstGeom prst="rect">
            <a:avLst/>
          </a:prstGeom>
          <a:solidFill>
            <a:schemeClr val="accent2"/>
          </a:solidFill>
        </p:spPr>
        <p:txBody>
          <a:bodyPr wrap="square" rIns="43200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1pPr>
          </a:lstStyle>
          <a:p>
            <a:r>
              <a:rPr lang="en-US"/>
              <a:t>Drag image onto slide to add photo</a:t>
            </a:r>
          </a:p>
        </p:txBody>
      </p:sp>
      <p:sp>
        <p:nvSpPr>
          <p:cNvPr id="500" name="Caption">
            <a:extLst>
              <a:ext uri="{FF2B5EF4-FFF2-40B4-BE49-F238E27FC236}">
                <a16:creationId xmlns:a16="http://schemas.microsoft.com/office/drawing/2014/main" id="{0430D3F5-0DA7-044B-A6F4-A7E78D2279FC}"/>
              </a:ext>
            </a:extLst>
          </p:cNvPr>
          <p:cNvSpPr>
            <a:spLocks noGrp="1"/>
          </p:cNvSpPr>
          <p:nvPr>
            <p:ph type="body" sz="quarter" idx="500" hasCustomPrompt="1"/>
          </p:nvPr>
        </p:nvSpPr>
        <p:spPr>
          <a:xfrm>
            <a:off x="6673517" y="4017282"/>
            <a:ext cx="2254584" cy="114262"/>
          </a:xfrm>
          <a:effectLst/>
        </p:spPr>
        <p:txBody>
          <a:bodyPr wrap="square" anchor="b">
            <a:spAutoFit/>
          </a:bodyPr>
          <a:lstStyle>
            <a:lvl1pPr marL="0" marR="0" indent="0" algn="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825" b="0">
                <a:solidFill>
                  <a:schemeClr val="bg1"/>
                </a:solidFill>
                <a:effectLst/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photo caption</a:t>
            </a:r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56B2C3DE-0130-DA4D-94C6-482024DAA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6420387" cy="4272680"/>
          </a:xfrm>
          <a:custGeom>
            <a:avLst/>
            <a:gdLst>
              <a:gd name="connsiteX0" fmla="*/ 0 w 6420387"/>
              <a:gd name="connsiteY0" fmla="*/ 0 h 5696907"/>
              <a:gd name="connsiteX1" fmla="*/ 3716919 w 6420387"/>
              <a:gd name="connsiteY1" fmla="*/ 0 h 5696907"/>
              <a:gd name="connsiteX2" fmla="*/ 6420387 w 6420387"/>
              <a:gd name="connsiteY2" fmla="*/ 5696907 h 5696907"/>
              <a:gd name="connsiteX3" fmla="*/ 0 w 6420387"/>
              <a:gd name="connsiteY3" fmla="*/ 5696907 h 5696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20387" h="5696907">
                <a:moveTo>
                  <a:pt x="0" y="0"/>
                </a:moveTo>
                <a:lnTo>
                  <a:pt x="3716919" y="0"/>
                </a:lnTo>
                <a:lnTo>
                  <a:pt x="6420387" y="5696907"/>
                </a:lnTo>
                <a:lnTo>
                  <a:pt x="0" y="5696907"/>
                </a:lnTo>
                <a:close/>
              </a:path>
            </a:pathLst>
          </a:custGeom>
          <a:gradFill>
            <a:gsLst>
              <a:gs pos="0">
                <a:schemeClr val="accent1">
                  <a:alpha val="95000"/>
                </a:schemeClr>
              </a:gs>
              <a:gs pos="97000">
                <a:schemeClr val="accent1">
                  <a:alpha val="80000"/>
                </a:schemeClr>
              </a:gs>
            </a:gsLst>
            <a:lin ang="5400000" scaled="0"/>
          </a:gradFill>
        </p:spPr>
        <p:txBody>
          <a:bodyPr wrap="square" lIns="432000" rIns="1080000" bIns="360000" anchor="b">
            <a:noAutofit/>
          </a:bodyPr>
          <a:lstStyle>
            <a:lvl1pPr>
              <a:defRPr sz="2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presentation title. 3 lines max.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58866ED3-A469-2941-AC64-FCD3214137F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6724098" y="4474686"/>
            <a:ext cx="2151409" cy="416402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1F2488-D761-CD4C-9517-9EF654BF32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0852" y="4545906"/>
            <a:ext cx="3313429" cy="273109"/>
          </a:xfrm>
        </p:spPr>
        <p:txBody>
          <a:bodyPr anchor="ctr"/>
          <a:lstStyle>
            <a:lvl1pPr marL="7144" indent="0">
              <a:buFontTx/>
              <a:buNone/>
              <a:tabLst/>
              <a:defRPr sz="1050" b="0">
                <a:solidFill>
                  <a:schemeClr val="bg1"/>
                </a:solidFill>
              </a:defRPr>
            </a:lvl1pPr>
            <a:lvl2pPr marL="7144" indent="0">
              <a:buFontTx/>
              <a:buNone/>
              <a:tabLst/>
              <a:defRPr sz="1050">
                <a:solidFill>
                  <a:schemeClr val="bg1"/>
                </a:solidFill>
              </a:defRPr>
            </a:lvl2pPr>
            <a:lvl3pPr marL="7144" indent="0">
              <a:buFontTx/>
              <a:buNone/>
              <a:tabLst/>
              <a:defRPr sz="1050">
                <a:solidFill>
                  <a:schemeClr val="bg1"/>
                </a:solidFill>
              </a:defRPr>
            </a:lvl3pPr>
            <a:lvl4pPr marL="7144" indent="0">
              <a:buFontTx/>
              <a:buNone/>
              <a:tabLst/>
              <a:defRPr sz="1050">
                <a:solidFill>
                  <a:schemeClr val="bg1"/>
                </a:solidFill>
              </a:defRPr>
            </a:lvl4pPr>
            <a:lvl5pPr marL="7144" indent="0">
              <a:buFontTx/>
              <a:buNone/>
              <a:tabLst/>
              <a:defRPr sz="1050">
                <a:solidFill>
                  <a:schemeClr val="bg1"/>
                </a:solidFill>
              </a:defRPr>
            </a:lvl5pPr>
            <a:lvl6pPr marL="7144" indent="0">
              <a:buFontTx/>
              <a:buNone/>
              <a:tabLst/>
              <a:defRPr sz="1050">
                <a:solidFill>
                  <a:schemeClr val="bg1"/>
                </a:solidFill>
              </a:defRPr>
            </a:lvl6pPr>
            <a:lvl7pPr marL="7144" indent="0">
              <a:buFontTx/>
              <a:buNone/>
              <a:tabLst/>
              <a:defRPr sz="1050">
                <a:solidFill>
                  <a:schemeClr val="bg1"/>
                </a:solidFill>
              </a:defRPr>
            </a:lvl7pPr>
            <a:lvl8pPr marL="7144" indent="0">
              <a:buFontTx/>
              <a:buNone/>
              <a:tabLst/>
              <a:defRPr sz="1050">
                <a:solidFill>
                  <a:schemeClr val="bg1"/>
                </a:solidFill>
              </a:defRPr>
            </a:lvl8pPr>
            <a:lvl9pPr marL="7144" indent="0">
              <a:buFontTx/>
              <a:buNone/>
              <a:tabLst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date (Month DD, YYYY)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7A1D6F1-47B6-2D4F-A5EC-E7EA70685A9A}"/>
              </a:ext>
            </a:extLst>
          </p:cNvPr>
          <p:cNvGrpSpPr/>
          <p:nvPr userDrawn="1"/>
        </p:nvGrpSpPr>
        <p:grpSpPr>
          <a:xfrm>
            <a:off x="-256964" y="2919138"/>
            <a:ext cx="251461" cy="1023800"/>
            <a:chOff x="-256404" y="360363"/>
            <a:chExt cx="251461" cy="692152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5D298027-A0B6-0B47-9F3C-4771F8511D99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EE244243-B24F-614B-B0DC-CA05EF17A1C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1216D1E7-03CD-BD4D-886C-ACE79F5FBD2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74B3AD39-0D61-0F4F-86A5-31F8A0FBDC80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</p:grp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4D333CAE-7C17-5742-987D-8F3FF786584C}"/>
                </a:ext>
              </a:extLst>
            </p:cNvPr>
            <p:cNvSpPr txBox="1"/>
            <p:nvPr userDrawn="1"/>
          </p:nvSpPr>
          <p:spPr>
            <a:xfrm rot="16200000">
              <a:off x="-192989" y="662666"/>
              <a:ext cx="124629" cy="80791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ITLE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1CA0517E-4F60-ED4F-804A-16FA757BDA91}"/>
              </a:ext>
            </a:extLst>
          </p:cNvPr>
          <p:cNvGrpSpPr/>
          <p:nvPr userDrawn="1"/>
        </p:nvGrpSpPr>
        <p:grpSpPr>
          <a:xfrm>
            <a:off x="-256964" y="4522171"/>
            <a:ext cx="251461" cy="311229"/>
            <a:chOff x="-256404" y="360363"/>
            <a:chExt cx="251461" cy="692152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31CA14E0-B2B8-6547-B2FF-02D6D0D2AA28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E17766C4-7F63-E341-9DD3-A8015F5B87B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B5CEC5FE-E83E-6344-A543-7C48E4E5807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A81F2A08-CD7A-9F40-9BAD-6D3B470AEF55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</p:grp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A3586E52-67F0-F147-887F-B29479026788}"/>
                </a:ext>
              </a:extLst>
            </p:cNvPr>
            <p:cNvSpPr txBox="1"/>
            <p:nvPr userDrawn="1"/>
          </p:nvSpPr>
          <p:spPr>
            <a:xfrm rot="16200000">
              <a:off x="-330312" y="662665"/>
              <a:ext cx="399276" cy="80791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DATE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A0324618-DAA0-AA4B-9D19-4C5917E6AD17}"/>
              </a:ext>
            </a:extLst>
          </p:cNvPr>
          <p:cNvGrpSpPr/>
          <p:nvPr userDrawn="1"/>
        </p:nvGrpSpPr>
        <p:grpSpPr>
          <a:xfrm>
            <a:off x="431241" y="-185200"/>
            <a:ext cx="8280400" cy="5510478"/>
            <a:chOff x="431240" y="-246933"/>
            <a:chExt cx="8280400" cy="7347304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A17378CA-6F0B-E244-B593-14A0519D7B3D}"/>
                </a:ext>
              </a:extLst>
            </p:cNvPr>
            <p:cNvGrpSpPr/>
            <p:nvPr userDrawn="1"/>
          </p:nvGrpSpPr>
          <p:grpSpPr>
            <a:xfrm>
              <a:off x="431242" y="6864579"/>
              <a:ext cx="8280398" cy="235792"/>
              <a:chOff x="431801" y="-235792"/>
              <a:chExt cx="4400550" cy="235792"/>
            </a:xfrm>
          </p:grpSpPr>
          <p:cxnSp>
            <p:nvCxnSpPr>
              <p:cNvPr id="59" name="Straight Connector 58">
                <a:extLst>
                  <a:ext uri="{FF2B5EF4-FFF2-40B4-BE49-F238E27FC236}">
                    <a16:creationId xmlns:a16="http://schemas.microsoft.com/office/drawing/2014/main" id="{E9011C3D-7CD8-0344-B7A8-5EB8BA672D6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6C90CBB9-252D-2F47-ABB4-4CDD951CEF5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4161E6EE-AF2E-7A45-9726-9A3046CE8F16}"/>
                </a:ext>
              </a:extLst>
            </p:cNvPr>
            <p:cNvGrpSpPr/>
            <p:nvPr userDrawn="1"/>
          </p:nvGrpSpPr>
          <p:grpSpPr>
            <a:xfrm>
              <a:off x="431240" y="-246933"/>
              <a:ext cx="8280400" cy="235792"/>
              <a:chOff x="431800" y="-240735"/>
              <a:chExt cx="8280400" cy="235792"/>
            </a:xfrm>
          </p:grpSpPr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673DA8D4-7F8C-D740-A4BF-88AF1D076647}"/>
                  </a:ext>
                </a:extLst>
              </p:cNvPr>
              <p:cNvGrpSpPr/>
              <p:nvPr userDrawn="1"/>
            </p:nvGrpSpPr>
            <p:grpSpPr>
              <a:xfrm>
                <a:off x="431800" y="-240735"/>
                <a:ext cx="8280400" cy="235792"/>
                <a:chOff x="431800" y="-235792"/>
                <a:chExt cx="4400551" cy="235792"/>
              </a:xfrm>
            </p:grpSpPr>
            <p:cxnSp>
              <p:nvCxnSpPr>
                <p:cNvPr id="56" name="Straight Connector 55">
                  <a:extLst>
                    <a:ext uri="{FF2B5EF4-FFF2-40B4-BE49-F238E27FC236}">
                      <a16:creationId xmlns:a16="http://schemas.microsoft.com/office/drawing/2014/main" id="{19655BBE-3B94-894C-82E3-F6F935353752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" name="Straight Connector 56">
                  <a:extLst>
                    <a:ext uri="{FF2B5EF4-FFF2-40B4-BE49-F238E27FC236}">
                      <a16:creationId xmlns:a16="http://schemas.microsoft.com/office/drawing/2014/main" id="{AE3B2248-F4F9-F64D-8490-2B442A6B8C4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8" name="Rectangle 57">
                  <a:extLst>
                    <a:ext uri="{FF2B5EF4-FFF2-40B4-BE49-F238E27FC236}">
                      <a16:creationId xmlns:a16="http://schemas.microsoft.com/office/drawing/2014/main" id="{7D6A647D-1D6F-6C47-83BD-17138A36B786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</p:grpSp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C139F0AA-BA6B-2B4E-A000-2FCE687878ED}"/>
                  </a:ext>
                </a:extLst>
              </p:cNvPr>
              <p:cNvSpPr txBox="1"/>
              <p:nvPr userDrawn="1"/>
            </p:nvSpPr>
            <p:spPr>
              <a:xfrm>
                <a:off x="3883466" y="-176700"/>
                <a:ext cx="1377081" cy="107721"/>
              </a:xfrm>
              <a:prstGeom prst="rect">
                <a:avLst/>
              </a:prstGeom>
            </p:spPr>
            <p:txBody>
              <a:bodyPr vert="horz" wrap="none" lIns="108000" tIns="0" rIns="108000" bIns="0" rtlCol="0" anchor="ctr">
                <a:spAutoFit/>
              </a:bodyPr>
              <a:lstStyle/>
              <a:p>
                <a:pPr algn="ctr"/>
                <a:r>
                  <a:rPr lang="en-US" sz="5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KEEP CONTENT WITHIN THIS AREA</a:t>
                </a:r>
              </a:p>
            </p:txBody>
          </p:sp>
          <p:cxnSp>
            <p:nvCxnSpPr>
              <p:cNvPr id="54" name="Straight Arrow Connector 53">
                <a:extLst>
                  <a:ext uri="{FF2B5EF4-FFF2-40B4-BE49-F238E27FC236}">
                    <a16:creationId xmlns:a16="http://schemas.microsoft.com/office/drawing/2014/main" id="{EE164B6B-5105-8441-900A-B3B9CD49AC3C}"/>
                  </a:ext>
                </a:extLst>
              </p:cNvPr>
              <p:cNvCxnSpPr>
                <a:cxnSpLocks/>
                <a:stCxn id="53" idx="1"/>
                <a:endCxn id="58" idx="2"/>
              </p:cNvCxnSpPr>
              <p:nvPr userDrawn="1"/>
            </p:nvCxnSpPr>
            <p:spPr>
              <a:xfrm flipH="1">
                <a:off x="431800" y="-122839"/>
                <a:ext cx="3451666" cy="1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Arrow Connector 54">
                <a:extLst>
                  <a:ext uri="{FF2B5EF4-FFF2-40B4-BE49-F238E27FC236}">
                    <a16:creationId xmlns:a16="http://schemas.microsoft.com/office/drawing/2014/main" id="{7A3DB2F7-3663-414A-8C28-BF0153DC91B2}"/>
                  </a:ext>
                </a:extLst>
              </p:cNvPr>
              <p:cNvCxnSpPr>
                <a:cxnSpLocks/>
                <a:stCxn id="53" idx="3"/>
                <a:endCxn id="58" idx="0"/>
              </p:cNvCxnSpPr>
              <p:nvPr userDrawn="1"/>
            </p:nvCxnSpPr>
            <p:spPr>
              <a:xfrm>
                <a:off x="5260547" y="-122839"/>
                <a:ext cx="3451653" cy="0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90B4BF76-26CB-DD42-95F3-0856CB26B760}"/>
              </a:ext>
            </a:extLst>
          </p:cNvPr>
          <p:cNvGrpSpPr/>
          <p:nvPr userDrawn="1"/>
        </p:nvGrpSpPr>
        <p:grpSpPr>
          <a:xfrm>
            <a:off x="9399182" y="-1"/>
            <a:ext cx="2874210" cy="5143501"/>
            <a:chOff x="9144000" y="-1"/>
            <a:chExt cx="2874210" cy="6858001"/>
          </a:xfrm>
        </p:grpSpPr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DDFBC44C-C784-D741-8FC2-D2844A5E3CAB}"/>
                </a:ext>
              </a:extLst>
            </p:cNvPr>
            <p:cNvSpPr/>
            <p:nvPr userDrawn="1"/>
          </p:nvSpPr>
          <p:spPr>
            <a:xfrm>
              <a:off x="9144000" y="-1"/>
              <a:ext cx="2798651" cy="6858001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050"/>
            </a:p>
          </p:txBody>
        </p: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1D13472D-5526-2341-8CE3-0D35914DC533}"/>
                </a:ext>
              </a:extLst>
            </p:cNvPr>
            <p:cNvGrpSpPr/>
            <p:nvPr userDrawn="1"/>
          </p:nvGrpSpPr>
          <p:grpSpPr>
            <a:xfrm>
              <a:off x="9263395" y="150289"/>
              <a:ext cx="2754815" cy="6013825"/>
              <a:chOff x="9266651" y="185338"/>
              <a:chExt cx="2754815" cy="6013825"/>
            </a:xfrm>
          </p:grpSpPr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F12870B0-E29F-4A42-B891-72FD7A246DFC}"/>
                  </a:ext>
                </a:extLst>
              </p:cNvPr>
              <p:cNvSpPr txBox="1"/>
              <p:nvPr userDrawn="1"/>
            </p:nvSpPr>
            <p:spPr>
              <a:xfrm>
                <a:off x="9303325" y="185338"/>
                <a:ext cx="1231106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sz="825">
                    <a:solidFill>
                      <a:schemeClr val="bg1"/>
                    </a:solidFill>
                  </a:rPr>
                  <a:t>HOW TO ADD AN IMAGE</a:t>
                </a:r>
              </a:p>
            </p:txBody>
          </p:sp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02FDC427-491B-374C-8023-8DFAE108CCD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303325" y="38795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DED24FC4-94EA-E64A-8136-B042701F250C}"/>
                  </a:ext>
                </a:extLst>
              </p:cNvPr>
              <p:cNvSpPr txBox="1"/>
              <p:nvPr userDrawn="1"/>
            </p:nvSpPr>
            <p:spPr>
              <a:xfrm>
                <a:off x="9431244" y="1246265"/>
                <a:ext cx="2297338" cy="28913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 b="1"/>
                  <a:t>Method 1: </a:t>
                </a:r>
                <a:r>
                  <a:rPr lang="en-US" sz="450" b="0"/>
                  <a:t>from file browser</a:t>
                </a:r>
              </a:p>
              <a:p>
                <a:pPr lvl="1">
                  <a:buNone/>
                </a:pPr>
                <a:r>
                  <a:rPr lang="en-US" sz="788"/>
                  <a:t>Drag the image onto the slide.</a:t>
                </a:r>
              </a:p>
            </p:txBody>
          </p:sp>
          <p:grpSp>
            <p:nvGrpSpPr>
              <p:cNvPr id="94" name="Group 93">
                <a:extLst>
                  <a:ext uri="{FF2B5EF4-FFF2-40B4-BE49-F238E27FC236}">
                    <a16:creationId xmlns:a16="http://schemas.microsoft.com/office/drawing/2014/main" id="{68E1B116-B1A8-2941-86BC-B04EAE58ACB1}"/>
                  </a:ext>
                </a:extLst>
              </p:cNvPr>
              <p:cNvGrpSpPr/>
              <p:nvPr userDrawn="1"/>
            </p:nvGrpSpPr>
            <p:grpSpPr>
              <a:xfrm>
                <a:off x="9286315" y="4787848"/>
                <a:ext cx="2735151" cy="1411315"/>
                <a:chOff x="9296567" y="4910411"/>
                <a:chExt cx="2735151" cy="1411315"/>
              </a:xfrm>
            </p:grpSpPr>
            <p:sp>
              <p:nvSpPr>
                <p:cNvPr id="109" name="Rectangle 108">
                  <a:extLst>
                    <a:ext uri="{FF2B5EF4-FFF2-40B4-BE49-F238E27FC236}">
                      <a16:creationId xmlns:a16="http://schemas.microsoft.com/office/drawing/2014/main" id="{6537BD58-CBB5-7F41-82A2-9C59DD1ECC9B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141131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  <p:sp>
              <p:nvSpPr>
                <p:cNvPr id="110" name="TextBox 109">
                  <a:extLst>
                    <a:ext uri="{FF2B5EF4-FFF2-40B4-BE49-F238E27FC236}">
                      <a16:creationId xmlns:a16="http://schemas.microsoft.com/office/drawing/2014/main" id="{024B268F-6F8C-AA41-8AA3-0A1E8AA1D2C3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8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hange Image</a:t>
                  </a:r>
                </a:p>
              </p:txBody>
            </p:sp>
            <p:pic>
              <p:nvPicPr>
                <p:cNvPr id="111" name="Graphic 110">
                  <a:extLst>
                    <a:ext uri="{FF2B5EF4-FFF2-40B4-BE49-F238E27FC236}">
                      <a16:creationId xmlns:a16="http://schemas.microsoft.com/office/drawing/2014/main" id="{DEF9DC04-8A49-834C-AA26-47113075C4C7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112" name="TextBox 111">
                  <a:extLst>
                    <a:ext uri="{FF2B5EF4-FFF2-40B4-BE49-F238E27FC236}">
                      <a16:creationId xmlns:a16="http://schemas.microsoft.com/office/drawing/2014/main" id="{80748D19-55BA-2B4E-BFA4-0FB8976B8E5C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619194"/>
                  <a:ext cx="2422981" cy="37394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01204" lvl="1" indent="-98822" algn="l" defTabSz="6858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225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Deleting the image may bring the image placeholder to the top layer. Right-click on the placeholder and choose “Send to Back”.</a:t>
                  </a:r>
                </a:p>
              </p:txBody>
            </p:sp>
            <p:sp>
              <p:nvSpPr>
                <p:cNvPr id="113" name="TextBox 112">
                  <a:extLst>
                    <a:ext uri="{FF2B5EF4-FFF2-40B4-BE49-F238E27FC236}">
                      <a16:creationId xmlns:a16="http://schemas.microsoft.com/office/drawing/2014/main" id="{7567C1EC-FF55-6347-9457-1757BD693A38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300350"/>
                  <a:ext cx="2422981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685800" rtl="0" eaLnBrk="1" latinLnBrk="0" hangingPunct="1">
                    <a:spcBef>
                      <a:spcPts val="150"/>
                    </a:spcBef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First, delete the existing image to reset the photo placeholder functionality.</a:t>
                  </a:r>
                </a:p>
              </p:txBody>
            </p:sp>
            <p:sp>
              <p:nvSpPr>
                <p:cNvPr id="114" name="TextBox 113">
                  <a:extLst>
                    <a:ext uri="{FF2B5EF4-FFF2-40B4-BE49-F238E27FC236}">
                      <a16:creationId xmlns:a16="http://schemas.microsoft.com/office/drawing/2014/main" id="{9CF6FC20-54A1-454F-9632-6A6B5E03EE28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068871"/>
                  <a:ext cx="2422981" cy="138500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685800" rtl="0" eaLnBrk="1" latinLnBrk="0" hangingPunct="1">
                    <a:spcBef>
                      <a:spcPts val="150"/>
                    </a:spcBef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You can now add a new image as normal.</a:t>
                  </a:r>
                </a:p>
              </p:txBody>
            </p:sp>
          </p:grpSp>
          <p:grpSp>
            <p:nvGrpSpPr>
              <p:cNvPr id="95" name="Group 94">
                <a:extLst>
                  <a:ext uri="{FF2B5EF4-FFF2-40B4-BE49-F238E27FC236}">
                    <a16:creationId xmlns:a16="http://schemas.microsoft.com/office/drawing/2014/main" id="{9EE783D9-2C22-A54E-AB84-273433871D1C}"/>
                  </a:ext>
                </a:extLst>
              </p:cNvPr>
              <p:cNvGrpSpPr/>
              <p:nvPr userDrawn="1"/>
            </p:nvGrpSpPr>
            <p:grpSpPr>
              <a:xfrm>
                <a:off x="9286315" y="3431192"/>
                <a:ext cx="2735151" cy="1280928"/>
                <a:chOff x="9286315" y="6976989"/>
                <a:chExt cx="2735151" cy="1280928"/>
              </a:xfrm>
            </p:grpSpPr>
            <p:sp>
              <p:nvSpPr>
                <p:cNvPr id="104" name="Rectangle 103">
                  <a:extLst>
                    <a:ext uri="{FF2B5EF4-FFF2-40B4-BE49-F238E27FC236}">
                      <a16:creationId xmlns:a16="http://schemas.microsoft.com/office/drawing/2014/main" id="{D7552A1D-16DF-ED43-B2B8-3427B3C8781C}"/>
                    </a:ext>
                  </a:extLst>
                </p:cNvPr>
                <p:cNvSpPr/>
                <p:nvPr userDrawn="1"/>
              </p:nvSpPr>
              <p:spPr>
                <a:xfrm>
                  <a:off x="9286315" y="6976989"/>
                  <a:ext cx="2735151" cy="1280928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  <p:sp>
              <p:nvSpPr>
                <p:cNvPr id="105" name="TextBox 104">
                  <a:extLst>
                    <a:ext uri="{FF2B5EF4-FFF2-40B4-BE49-F238E27FC236}">
                      <a16:creationId xmlns:a16="http://schemas.microsoft.com/office/drawing/2014/main" id="{104B3E05-A7DF-D444-AF59-6E11D17D4788}"/>
                    </a:ext>
                  </a:extLst>
                </p:cNvPr>
                <p:cNvSpPr txBox="1"/>
                <p:nvPr userDrawn="1"/>
              </p:nvSpPr>
              <p:spPr>
                <a:xfrm>
                  <a:off x="9652506" y="7105788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8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rop Image</a:t>
                  </a:r>
                </a:p>
              </p:txBody>
            </p:sp>
            <p:pic>
              <p:nvPicPr>
                <p:cNvPr id="106" name="Graphic 105">
                  <a:extLst>
                    <a:ext uri="{FF2B5EF4-FFF2-40B4-BE49-F238E27FC236}">
                      <a16:creationId xmlns:a16="http://schemas.microsoft.com/office/drawing/2014/main" id="{931F958A-80B4-7143-AB27-6F74DF73F529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46538" y="7116071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107" name="TextBox 106">
                  <a:extLst>
                    <a:ext uri="{FF2B5EF4-FFF2-40B4-BE49-F238E27FC236}">
                      <a16:creationId xmlns:a16="http://schemas.microsoft.com/office/drawing/2014/main" id="{562857C1-DA49-9C40-876C-CE3E7A60A30D}"/>
                    </a:ext>
                  </a:extLst>
                </p:cNvPr>
                <p:cNvSpPr txBox="1"/>
                <p:nvPr userDrawn="1"/>
              </p:nvSpPr>
              <p:spPr>
                <a:xfrm>
                  <a:off x="9446538" y="7369972"/>
                  <a:ext cx="2384904" cy="777136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Right-click on the image.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Choose “Crop” from the menu. (       )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Adjust the size and position of the image.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Press Esc or click outside the image area to exit the cropping mode.</a:t>
                  </a:r>
                </a:p>
              </p:txBody>
            </p:sp>
            <p:pic>
              <p:nvPicPr>
                <p:cNvPr id="108" name="Picture 107">
                  <a:extLst>
                    <a:ext uri="{FF2B5EF4-FFF2-40B4-BE49-F238E27FC236}">
                      <a16:creationId xmlns:a16="http://schemas.microsoft.com/office/drawing/2014/main" id="{4959277C-CED2-434C-88B2-9FAA87DF5D1D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 rotWithShape="1">
                <a:blip r:embed="rId4"/>
                <a:srcRect l="33684" t="12097" r="43371" b="20368"/>
                <a:stretch/>
              </p:blipFill>
              <p:spPr>
                <a:xfrm>
                  <a:off x="11243541" y="7454405"/>
                  <a:ext cx="136897" cy="213643"/>
                </a:xfrm>
                <a:prstGeom prst="rect">
                  <a:avLst/>
                </a:prstGeom>
                <a:ln w="19050">
                  <a:solidFill>
                    <a:schemeClr val="accent3">
                      <a:lumMod val="60000"/>
                      <a:lumOff val="40000"/>
                    </a:schemeClr>
                  </a:solidFill>
                </a:ln>
              </p:spPr>
            </p:pic>
          </p:grpSp>
          <p:grpSp>
            <p:nvGrpSpPr>
              <p:cNvPr id="96" name="Group 95">
                <a:extLst>
                  <a:ext uri="{FF2B5EF4-FFF2-40B4-BE49-F238E27FC236}">
                    <a16:creationId xmlns:a16="http://schemas.microsoft.com/office/drawing/2014/main" id="{141A0029-6405-3B4B-83F9-A4F9A487D704}"/>
                  </a:ext>
                </a:extLst>
              </p:cNvPr>
              <p:cNvGrpSpPr/>
              <p:nvPr userDrawn="1"/>
            </p:nvGrpSpPr>
            <p:grpSpPr>
              <a:xfrm>
                <a:off x="9266651" y="510458"/>
                <a:ext cx="2617883" cy="707288"/>
                <a:chOff x="12352022" y="513115"/>
                <a:chExt cx="2617883" cy="707288"/>
              </a:xfrm>
            </p:grpSpPr>
            <p:sp>
              <p:nvSpPr>
                <p:cNvPr id="101" name="TextBox 100">
                  <a:extLst>
                    <a:ext uri="{FF2B5EF4-FFF2-40B4-BE49-F238E27FC236}">
                      <a16:creationId xmlns:a16="http://schemas.microsoft.com/office/drawing/2014/main" id="{A178244F-2239-7745-B8B4-292832D49736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375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102" name="TextBox 101">
                  <a:extLst>
                    <a:ext uri="{FF2B5EF4-FFF2-40B4-BE49-F238E27FC236}">
                      <a16:creationId xmlns:a16="http://schemas.microsoft.com/office/drawing/2014/main" id="{01E5AD18-29D7-DA40-B00E-DAAB91464CDE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1033696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375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2</a:t>
                  </a:r>
                </a:p>
              </p:txBody>
            </p:sp>
            <p:sp>
              <p:nvSpPr>
                <p:cNvPr id="103" name="TextBox 102">
                  <a:extLst>
                    <a:ext uri="{FF2B5EF4-FFF2-40B4-BE49-F238E27FC236}">
                      <a16:creationId xmlns:a16="http://schemas.microsoft.com/office/drawing/2014/main" id="{C19C5FDC-EF08-4D4F-B09B-D904B9D740FB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453290" cy="70728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sz="788"/>
                    <a:t>Select and download images from the Marketing Resource Database.</a:t>
                  </a:r>
                </a:p>
                <a:p>
                  <a:pPr lvl="0"/>
                  <a:r>
                    <a:rPr lang="en-US" sz="788"/>
                    <a:t>Add the image to the placeholder.</a:t>
                  </a:r>
                </a:p>
              </p:txBody>
            </p:sp>
          </p:grpSp>
          <p:sp>
            <p:nvSpPr>
              <p:cNvPr id="97" name="TextBox 96">
                <a:extLst>
                  <a:ext uri="{FF2B5EF4-FFF2-40B4-BE49-F238E27FC236}">
                    <a16:creationId xmlns:a16="http://schemas.microsoft.com/office/drawing/2014/main" id="{797082B9-EF68-E740-B2D3-2495F712D156}"/>
                  </a:ext>
                </a:extLst>
              </p:cNvPr>
              <p:cNvSpPr txBox="1"/>
              <p:nvPr userDrawn="1"/>
            </p:nvSpPr>
            <p:spPr>
              <a:xfrm>
                <a:off x="9419085" y="1529570"/>
                <a:ext cx="2374733" cy="32316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/>
                  <a:t>Note: If there are multiple image placeholders on the slide, select the intended placeholder before dragging in the image to let PowerPoint know where you want it.</a:t>
                </a:r>
              </a:p>
            </p:txBody>
          </p:sp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E7FF31FB-D280-A342-A9A6-BDF19D46ACE5}"/>
                  </a:ext>
                </a:extLst>
              </p:cNvPr>
              <p:cNvSpPr txBox="1"/>
              <p:nvPr userDrawn="1"/>
            </p:nvSpPr>
            <p:spPr>
              <a:xfrm>
                <a:off x="9431244" y="1944827"/>
                <a:ext cx="2297338" cy="63145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/>
                  <a:t>Method 2: </a:t>
                </a:r>
                <a:r>
                  <a:rPr lang="en-US" sz="450" b="0"/>
                  <a:t>Paste from clipboard</a:t>
                </a:r>
              </a:p>
              <a:p>
                <a:pPr lvl="1">
                  <a:buNone/>
                </a:pPr>
                <a:r>
                  <a:rPr lang="en-US" sz="788"/>
                  <a:t>Select the image placeholder.</a:t>
                </a:r>
              </a:p>
              <a:p>
                <a:pPr lvl="1">
                  <a:buNone/>
                </a:pPr>
                <a:r>
                  <a:rPr lang="en-US" sz="788"/>
                  <a:t>Right-click or use keyboard shortcuts to paste the image.</a:t>
                </a:r>
              </a:p>
            </p:txBody>
          </p:sp>
          <p:sp>
            <p:nvSpPr>
              <p:cNvPr id="99" name="TextBox 98">
                <a:extLst>
                  <a:ext uri="{FF2B5EF4-FFF2-40B4-BE49-F238E27FC236}">
                    <a16:creationId xmlns:a16="http://schemas.microsoft.com/office/drawing/2014/main" id="{383A2422-39E9-674D-B3BB-200CCA34A58D}"/>
                  </a:ext>
                </a:extLst>
              </p:cNvPr>
              <p:cNvSpPr txBox="1"/>
              <p:nvPr userDrawn="1"/>
            </p:nvSpPr>
            <p:spPr>
              <a:xfrm>
                <a:off x="9431244" y="2664917"/>
                <a:ext cx="2297338" cy="4346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/>
                  <a:t>Method 3: </a:t>
                </a:r>
                <a:r>
                  <a:rPr lang="en-US" sz="450" b="0"/>
                  <a:t>Placeholder icon</a:t>
                </a:r>
              </a:p>
              <a:p>
                <a:pPr lvl="1">
                  <a:buNone/>
                </a:pPr>
                <a:r>
                  <a:rPr lang="en-US" sz="788"/>
                  <a:t>Click the image icon inside the placeholder to browse for an image.</a:t>
                </a:r>
              </a:p>
            </p:txBody>
          </p:sp>
          <p:sp>
            <p:nvSpPr>
              <p:cNvPr id="100" name="TextBox 99">
                <a:extLst>
                  <a:ext uri="{FF2B5EF4-FFF2-40B4-BE49-F238E27FC236}">
                    <a16:creationId xmlns:a16="http://schemas.microsoft.com/office/drawing/2014/main" id="{36B72675-39F1-A14B-907E-15B0263BADC8}"/>
                  </a:ext>
                </a:extLst>
              </p:cNvPr>
              <p:cNvSpPr txBox="1"/>
              <p:nvPr userDrawn="1"/>
            </p:nvSpPr>
            <p:spPr>
              <a:xfrm>
                <a:off x="9419085" y="3095481"/>
                <a:ext cx="2374733" cy="21544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/>
                  <a:t>Note: This icon may be covered by another element.</a:t>
                </a:r>
                <a:br>
                  <a:rPr lang="en-US" sz="525"/>
                </a:br>
                <a:r>
                  <a:rPr lang="en-US" sz="525"/>
                  <a:t>In this case use one of the other methods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751066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DBF7CE65-A49E-3C40-A08E-4922AF1EE55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9144001" cy="5143501"/>
          </a:xfrm>
          <a:custGeom>
            <a:avLst/>
            <a:gdLst>
              <a:gd name="connsiteX0" fmla="*/ 8545320 w 9144001"/>
              <a:gd name="connsiteY0" fmla="*/ 6577275 h 6858001"/>
              <a:gd name="connsiteX1" fmla="*/ 8554630 w 9144001"/>
              <a:gd name="connsiteY1" fmla="*/ 6577275 h 6858001"/>
              <a:gd name="connsiteX2" fmla="*/ 8572756 w 9144001"/>
              <a:gd name="connsiteY2" fmla="*/ 6592564 h 6858001"/>
              <a:gd name="connsiteX3" fmla="*/ 8552840 w 9144001"/>
              <a:gd name="connsiteY3" fmla="*/ 6608587 h 6858001"/>
              <a:gd name="connsiteX4" fmla="*/ 8552840 w 9144001"/>
              <a:gd name="connsiteY4" fmla="*/ 6608474 h 6858001"/>
              <a:gd name="connsiteX5" fmla="*/ 8545320 w 9144001"/>
              <a:gd name="connsiteY5" fmla="*/ 6608474 h 6858001"/>
              <a:gd name="connsiteX6" fmla="*/ 8440531 w 9144001"/>
              <a:gd name="connsiteY6" fmla="*/ 6576165 h 6858001"/>
              <a:gd name="connsiteX7" fmla="*/ 8450869 w 9144001"/>
              <a:gd name="connsiteY7" fmla="*/ 6576165 h 6858001"/>
              <a:gd name="connsiteX8" fmla="*/ 8486566 w 9144001"/>
              <a:gd name="connsiteY8" fmla="*/ 6607214 h 6858001"/>
              <a:gd name="connsiteX9" fmla="*/ 8452487 w 9144001"/>
              <a:gd name="connsiteY9" fmla="*/ 6640295 h 6858001"/>
              <a:gd name="connsiteX10" fmla="*/ 8440531 w 9144001"/>
              <a:gd name="connsiteY10" fmla="*/ 6640295 h 6858001"/>
              <a:gd name="connsiteX11" fmla="*/ 8359312 w 9144001"/>
              <a:gd name="connsiteY11" fmla="*/ 6554745 h 6858001"/>
              <a:gd name="connsiteX12" fmla="*/ 8357846 w 9144001"/>
              <a:gd name="connsiteY12" fmla="*/ 6557848 h 6858001"/>
              <a:gd name="connsiteX13" fmla="*/ 8338065 w 9144001"/>
              <a:gd name="connsiteY13" fmla="*/ 6599654 h 6858001"/>
              <a:gd name="connsiteX14" fmla="*/ 8338065 w 9144001"/>
              <a:gd name="connsiteY14" fmla="*/ 6661565 h 6858001"/>
              <a:gd name="connsiteX15" fmla="*/ 8406528 w 9144001"/>
              <a:gd name="connsiteY15" fmla="*/ 6661565 h 6858001"/>
              <a:gd name="connsiteX16" fmla="*/ 8406528 w 9144001"/>
              <a:gd name="connsiteY16" fmla="*/ 6638978 h 6858001"/>
              <a:gd name="connsiteX17" fmla="*/ 8363158 w 9144001"/>
              <a:gd name="connsiteY17" fmla="*/ 6638978 h 6858001"/>
              <a:gd name="connsiteX18" fmla="*/ 8363158 w 9144001"/>
              <a:gd name="connsiteY18" fmla="*/ 6618141 h 6858001"/>
              <a:gd name="connsiteX19" fmla="*/ 8402682 w 9144001"/>
              <a:gd name="connsiteY19" fmla="*/ 6618141 h 6858001"/>
              <a:gd name="connsiteX20" fmla="*/ 8402682 w 9144001"/>
              <a:gd name="connsiteY20" fmla="*/ 6596570 h 6858001"/>
              <a:gd name="connsiteX21" fmla="*/ 8363158 w 9144001"/>
              <a:gd name="connsiteY21" fmla="*/ 6596570 h 6858001"/>
              <a:gd name="connsiteX22" fmla="*/ 8363158 w 9144001"/>
              <a:gd name="connsiteY22" fmla="*/ 6577482 h 6858001"/>
              <a:gd name="connsiteX23" fmla="*/ 8406528 w 9144001"/>
              <a:gd name="connsiteY23" fmla="*/ 6577482 h 6858001"/>
              <a:gd name="connsiteX24" fmla="*/ 8406528 w 9144001"/>
              <a:gd name="connsiteY24" fmla="*/ 6554745 h 6858001"/>
              <a:gd name="connsiteX25" fmla="*/ 8245575 w 9144001"/>
              <a:gd name="connsiteY25" fmla="*/ 6554726 h 6858001"/>
              <a:gd name="connsiteX26" fmla="*/ 8262082 w 9144001"/>
              <a:gd name="connsiteY26" fmla="*/ 6589123 h 6858001"/>
              <a:gd name="connsiteX27" fmla="*/ 8288526 w 9144001"/>
              <a:gd name="connsiteY27" fmla="*/ 6589123 h 6858001"/>
              <a:gd name="connsiteX28" fmla="*/ 8273962 w 9144001"/>
              <a:gd name="connsiteY28" fmla="*/ 6554726 h 6858001"/>
              <a:gd name="connsiteX29" fmla="*/ 8520246 w 9144001"/>
              <a:gd name="connsiteY29" fmla="*/ 6554707 h 6858001"/>
              <a:gd name="connsiteX30" fmla="*/ 8520246 w 9144001"/>
              <a:gd name="connsiteY30" fmla="*/ 6661564 h 6858001"/>
              <a:gd name="connsiteX31" fmla="*/ 8545320 w 9144001"/>
              <a:gd name="connsiteY31" fmla="*/ 6661564 h 6858001"/>
              <a:gd name="connsiteX32" fmla="*/ 8545320 w 9144001"/>
              <a:gd name="connsiteY32" fmla="*/ 6629932 h 6858001"/>
              <a:gd name="connsiteX33" fmla="*/ 8554630 w 9144001"/>
              <a:gd name="connsiteY33" fmla="*/ 6629932 h 6858001"/>
              <a:gd name="connsiteX34" fmla="*/ 8598420 w 9144001"/>
              <a:gd name="connsiteY34" fmla="*/ 6592019 h 6858001"/>
              <a:gd name="connsiteX35" fmla="*/ 8550346 w 9144001"/>
              <a:gd name="connsiteY35" fmla="*/ 6554707 h 6858001"/>
              <a:gd name="connsiteX36" fmla="*/ 8415495 w 9144001"/>
              <a:gd name="connsiteY36" fmla="*/ 6554707 h 6858001"/>
              <a:gd name="connsiteX37" fmla="*/ 8415495 w 9144001"/>
              <a:gd name="connsiteY37" fmla="*/ 6661470 h 6858001"/>
              <a:gd name="connsiteX38" fmla="*/ 8448546 w 9144001"/>
              <a:gd name="connsiteY38" fmla="*/ 6661583 h 6858001"/>
              <a:gd name="connsiteX39" fmla="*/ 8513278 w 9144001"/>
              <a:gd name="connsiteY39" fmla="*/ 6607214 h 6858001"/>
              <a:gd name="connsiteX40" fmla="*/ 8447461 w 9144001"/>
              <a:gd name="connsiteY40" fmla="*/ 6554745 h 6858001"/>
              <a:gd name="connsiteX41" fmla="*/ 8447499 w 9144001"/>
              <a:gd name="connsiteY41" fmla="*/ 6554707 h 6858001"/>
              <a:gd name="connsiteX42" fmla="*/ 8415495 w 9144001"/>
              <a:gd name="connsiteY42" fmla="*/ 6554707 h 6858001"/>
              <a:gd name="connsiteX43" fmla="*/ 8323900 w 9144001"/>
              <a:gd name="connsiteY43" fmla="*/ 6554707 h 6858001"/>
              <a:gd name="connsiteX44" fmla="*/ 8298693 w 9144001"/>
              <a:gd name="connsiteY44" fmla="*/ 6612649 h 6858001"/>
              <a:gd name="connsiteX45" fmla="*/ 8291858 w 9144001"/>
              <a:gd name="connsiteY45" fmla="*/ 6596645 h 6858001"/>
              <a:gd name="connsiteX46" fmla="*/ 8265623 w 9144001"/>
              <a:gd name="connsiteY46" fmla="*/ 6596645 h 6858001"/>
              <a:gd name="connsiteX47" fmla="*/ 8296942 w 9144001"/>
              <a:gd name="connsiteY47" fmla="*/ 6661978 h 6858001"/>
              <a:gd name="connsiteX48" fmla="*/ 8299855 w 9144001"/>
              <a:gd name="connsiteY48" fmla="*/ 6661978 h 6858001"/>
              <a:gd name="connsiteX49" fmla="*/ 8350593 w 9144001"/>
              <a:gd name="connsiteY49" fmla="*/ 6554707 h 6858001"/>
              <a:gd name="connsiteX50" fmla="*/ 8704282 w 9144001"/>
              <a:gd name="connsiteY50" fmla="*/ 6516148 h 6858001"/>
              <a:gd name="connsiteX51" fmla="*/ 8704282 w 9144001"/>
              <a:gd name="connsiteY51" fmla="*/ 6690773 h 6858001"/>
              <a:gd name="connsiteX52" fmla="*/ 8723671 w 9144001"/>
              <a:gd name="connsiteY52" fmla="*/ 6690773 h 6858001"/>
              <a:gd name="connsiteX53" fmla="*/ 8723671 w 9144001"/>
              <a:gd name="connsiteY53" fmla="*/ 6516148 h 6858001"/>
              <a:gd name="connsiteX54" fmla="*/ 0 w 9144001"/>
              <a:gd name="connsiteY54" fmla="*/ 0 h 6858001"/>
              <a:gd name="connsiteX55" fmla="*/ 9144001 w 9144001"/>
              <a:gd name="connsiteY55" fmla="*/ 0 h 6858001"/>
              <a:gd name="connsiteX56" fmla="*/ 9144001 w 9144001"/>
              <a:gd name="connsiteY56" fmla="*/ 6858001 h 6858001"/>
              <a:gd name="connsiteX57" fmla="*/ 0 w 9144001"/>
              <a:gd name="connsiteY57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9144001" h="6858001">
                <a:moveTo>
                  <a:pt x="8545320" y="6577275"/>
                </a:moveTo>
                <a:lnTo>
                  <a:pt x="8554630" y="6577275"/>
                </a:lnTo>
                <a:cubicBezTo>
                  <a:pt x="8567006" y="6577275"/>
                  <a:pt x="8572756" y="6583970"/>
                  <a:pt x="8572756" y="6592564"/>
                </a:cubicBezTo>
                <a:cubicBezTo>
                  <a:pt x="8572756" y="6602908"/>
                  <a:pt x="8566130" y="6608587"/>
                  <a:pt x="8552840" y="6608587"/>
                </a:cubicBezTo>
                <a:lnTo>
                  <a:pt x="8552840" y="6608474"/>
                </a:lnTo>
                <a:lnTo>
                  <a:pt x="8545320" y="6608474"/>
                </a:lnTo>
                <a:close/>
                <a:moveTo>
                  <a:pt x="8440531" y="6576165"/>
                </a:moveTo>
                <a:lnTo>
                  <a:pt x="8450869" y="6576165"/>
                </a:lnTo>
                <a:cubicBezTo>
                  <a:pt x="8474172" y="6576165"/>
                  <a:pt x="8486566" y="6587825"/>
                  <a:pt x="8486566" y="6607214"/>
                </a:cubicBezTo>
                <a:cubicBezTo>
                  <a:pt x="8486566" y="6627187"/>
                  <a:pt x="8476095" y="6640295"/>
                  <a:pt x="8452487" y="6640295"/>
                </a:cubicBezTo>
                <a:lnTo>
                  <a:pt x="8440531" y="6640295"/>
                </a:lnTo>
                <a:close/>
                <a:moveTo>
                  <a:pt x="8359312" y="6554745"/>
                </a:moveTo>
                <a:lnTo>
                  <a:pt x="8357846" y="6557848"/>
                </a:lnTo>
                <a:lnTo>
                  <a:pt x="8338065" y="6599654"/>
                </a:lnTo>
                <a:lnTo>
                  <a:pt x="8338065" y="6661565"/>
                </a:lnTo>
                <a:lnTo>
                  <a:pt x="8406528" y="6661565"/>
                </a:lnTo>
                <a:lnTo>
                  <a:pt x="8406528" y="6638978"/>
                </a:lnTo>
                <a:lnTo>
                  <a:pt x="8363158" y="6638978"/>
                </a:lnTo>
                <a:lnTo>
                  <a:pt x="8363158" y="6618141"/>
                </a:lnTo>
                <a:lnTo>
                  <a:pt x="8402682" y="6618141"/>
                </a:lnTo>
                <a:lnTo>
                  <a:pt x="8402682" y="6596570"/>
                </a:lnTo>
                <a:lnTo>
                  <a:pt x="8363158" y="6596570"/>
                </a:lnTo>
                <a:lnTo>
                  <a:pt x="8363158" y="6577482"/>
                </a:lnTo>
                <a:lnTo>
                  <a:pt x="8406528" y="6577482"/>
                </a:lnTo>
                <a:lnTo>
                  <a:pt x="8406528" y="6554745"/>
                </a:lnTo>
                <a:close/>
                <a:moveTo>
                  <a:pt x="8245575" y="6554726"/>
                </a:moveTo>
                <a:lnTo>
                  <a:pt x="8262082" y="6589123"/>
                </a:lnTo>
                <a:lnTo>
                  <a:pt x="8288526" y="6589123"/>
                </a:lnTo>
                <a:lnTo>
                  <a:pt x="8273962" y="6554726"/>
                </a:lnTo>
                <a:close/>
                <a:moveTo>
                  <a:pt x="8520246" y="6554707"/>
                </a:moveTo>
                <a:lnTo>
                  <a:pt x="8520246" y="6661564"/>
                </a:lnTo>
                <a:lnTo>
                  <a:pt x="8545320" y="6661564"/>
                </a:lnTo>
                <a:lnTo>
                  <a:pt x="8545320" y="6629932"/>
                </a:lnTo>
                <a:lnTo>
                  <a:pt x="8554630" y="6629932"/>
                </a:lnTo>
                <a:cubicBezTo>
                  <a:pt x="8583189" y="6629932"/>
                  <a:pt x="8598420" y="6614041"/>
                  <a:pt x="8598420" y="6592019"/>
                </a:cubicBezTo>
                <a:cubicBezTo>
                  <a:pt x="8598439" y="6570486"/>
                  <a:pt x="8581628" y="6554707"/>
                  <a:pt x="8550346" y="6554707"/>
                </a:cubicBezTo>
                <a:close/>
                <a:moveTo>
                  <a:pt x="8415495" y="6554707"/>
                </a:moveTo>
                <a:lnTo>
                  <a:pt x="8415495" y="6661470"/>
                </a:lnTo>
                <a:cubicBezTo>
                  <a:pt x="8415495" y="6661470"/>
                  <a:pt x="8435866" y="6661583"/>
                  <a:pt x="8448546" y="6661583"/>
                </a:cubicBezTo>
                <a:cubicBezTo>
                  <a:pt x="8493382" y="6661583"/>
                  <a:pt x="8513278" y="6638696"/>
                  <a:pt x="8513278" y="6607214"/>
                </a:cubicBezTo>
                <a:cubicBezTo>
                  <a:pt x="8513278" y="6577124"/>
                  <a:pt x="8492335" y="6554745"/>
                  <a:pt x="8447461" y="6554745"/>
                </a:cubicBezTo>
                <a:lnTo>
                  <a:pt x="8447499" y="6554707"/>
                </a:lnTo>
                <a:cubicBezTo>
                  <a:pt x="8436742" y="6554707"/>
                  <a:pt x="8415495" y="6554707"/>
                  <a:pt x="8415495" y="6554707"/>
                </a:cubicBezTo>
                <a:close/>
                <a:moveTo>
                  <a:pt x="8323900" y="6554707"/>
                </a:moveTo>
                <a:lnTo>
                  <a:pt x="8298693" y="6612649"/>
                </a:lnTo>
                <a:lnTo>
                  <a:pt x="8291858" y="6596645"/>
                </a:lnTo>
                <a:lnTo>
                  <a:pt x="8265623" y="6596645"/>
                </a:lnTo>
                <a:lnTo>
                  <a:pt x="8296942" y="6661978"/>
                </a:lnTo>
                <a:lnTo>
                  <a:pt x="8299855" y="6661978"/>
                </a:lnTo>
                <a:lnTo>
                  <a:pt x="8350593" y="6554707"/>
                </a:lnTo>
                <a:close/>
                <a:moveTo>
                  <a:pt x="8704282" y="6516148"/>
                </a:moveTo>
                <a:lnTo>
                  <a:pt x="8704282" y="6690773"/>
                </a:lnTo>
                <a:lnTo>
                  <a:pt x="8723671" y="6690773"/>
                </a:lnTo>
                <a:lnTo>
                  <a:pt x="8723671" y="6516148"/>
                </a:lnTo>
                <a:close/>
                <a:moveTo>
                  <a:pt x="0" y="0"/>
                </a:moveTo>
                <a:lnTo>
                  <a:pt x="9144001" y="0"/>
                </a:lnTo>
                <a:lnTo>
                  <a:pt x="9144001" y="6858001"/>
                </a:lnTo>
                <a:lnTo>
                  <a:pt x="0" y="685800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rIns="43200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1pPr>
          </a:lstStyle>
          <a:p>
            <a:r>
              <a:rPr lang="en-US"/>
              <a:t>Drag image onto slide to add photo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82C3A686-EFBE-6E4D-8020-4014DF4E8E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5960284" cy="5143499"/>
          </a:xfrm>
          <a:custGeom>
            <a:avLst/>
            <a:gdLst>
              <a:gd name="connsiteX0" fmla="*/ 0 w 5960284"/>
              <a:gd name="connsiteY0" fmla="*/ 0 h 6857999"/>
              <a:gd name="connsiteX1" fmla="*/ 2705820 w 5960284"/>
              <a:gd name="connsiteY1" fmla="*/ 0 h 6857999"/>
              <a:gd name="connsiteX2" fmla="*/ 5960284 w 5960284"/>
              <a:gd name="connsiteY2" fmla="*/ 6857999 h 6857999"/>
              <a:gd name="connsiteX3" fmla="*/ 0 w 5960284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60284" h="6857999">
                <a:moveTo>
                  <a:pt x="0" y="0"/>
                </a:moveTo>
                <a:lnTo>
                  <a:pt x="2705820" y="0"/>
                </a:lnTo>
                <a:lnTo>
                  <a:pt x="5960284" y="6857999"/>
                </a:lnTo>
                <a:lnTo>
                  <a:pt x="0" y="6857999"/>
                </a:lnTo>
                <a:close/>
              </a:path>
            </a:pathLst>
          </a:custGeom>
          <a:gradFill>
            <a:gsLst>
              <a:gs pos="0">
                <a:schemeClr val="accent1">
                  <a:alpha val="95000"/>
                </a:schemeClr>
              </a:gs>
              <a:gs pos="97000">
                <a:schemeClr val="accent1">
                  <a:alpha val="80000"/>
                </a:schemeClr>
              </a:gs>
            </a:gsLst>
            <a:lin ang="5400000" scaled="0"/>
          </a:gradFill>
        </p:spPr>
        <p:txBody>
          <a:bodyPr wrap="square" lIns="432000" tIns="360000" rIns="1080000" bIns="612000" anchor="b">
            <a:noAutofit/>
          </a:bodyPr>
          <a:lstStyle>
            <a:lvl1pPr>
              <a:defRPr sz="2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ection title.</a:t>
            </a:r>
            <a:br>
              <a:rPr lang="en-US"/>
            </a:br>
            <a:r>
              <a:rPr lang="en-US"/>
              <a:t>3 lines max.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EF91C03-68D7-6C4C-845D-95A60CCDC888}"/>
              </a:ext>
            </a:extLst>
          </p:cNvPr>
          <p:cNvGrpSpPr/>
          <p:nvPr userDrawn="1"/>
        </p:nvGrpSpPr>
        <p:grpSpPr>
          <a:xfrm>
            <a:off x="-256964" y="3597862"/>
            <a:ext cx="251461" cy="1023800"/>
            <a:chOff x="-256404" y="360363"/>
            <a:chExt cx="251461" cy="692152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0D7A67AD-A78D-1040-A099-19C73D75FADD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11" name="Straight Connector 10">
                <a:extLst>
                  <a:ext uri="{FF2B5EF4-FFF2-40B4-BE49-F238E27FC236}">
                    <a16:creationId xmlns:a16="http://schemas.microsoft.com/office/drawing/2014/main" id="{B4B5A1AF-9A26-A642-816C-7E1E37992AA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12">
                <a:extLst>
                  <a:ext uri="{FF2B5EF4-FFF2-40B4-BE49-F238E27FC236}">
                    <a16:creationId xmlns:a16="http://schemas.microsoft.com/office/drawing/2014/main" id="{ADBBC9F7-B424-1643-B930-EEF94712EBD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E56CBC82-1BDE-F540-BF3F-712FAD884E18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282B5F3-F5C3-DB4C-B743-A8A59CFF7D42}"/>
                </a:ext>
              </a:extLst>
            </p:cNvPr>
            <p:cNvSpPr txBox="1"/>
            <p:nvPr userDrawn="1"/>
          </p:nvSpPr>
          <p:spPr>
            <a:xfrm rot="16200000">
              <a:off x="-192989" y="662666"/>
              <a:ext cx="124629" cy="80791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ITLE</a:t>
              </a: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9798FF58-E26B-3647-BDDF-EC266BEA7328}"/>
              </a:ext>
            </a:extLst>
          </p:cNvPr>
          <p:cNvGrpSpPr/>
          <p:nvPr userDrawn="1"/>
        </p:nvGrpSpPr>
        <p:grpSpPr>
          <a:xfrm>
            <a:off x="9399182" y="-1"/>
            <a:ext cx="2874210" cy="5143501"/>
            <a:chOff x="9144000" y="-1"/>
            <a:chExt cx="2874210" cy="6858001"/>
          </a:xfrm>
        </p:grpSpPr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88580BD2-46D4-6B43-BEB1-7D93D1D56918}"/>
                </a:ext>
              </a:extLst>
            </p:cNvPr>
            <p:cNvSpPr/>
            <p:nvPr userDrawn="1"/>
          </p:nvSpPr>
          <p:spPr>
            <a:xfrm>
              <a:off x="9144000" y="-1"/>
              <a:ext cx="2798651" cy="6858001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050"/>
            </a:p>
          </p:txBody>
        </p: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9A61082E-FFDB-C440-87DC-6022E4E82893}"/>
                </a:ext>
              </a:extLst>
            </p:cNvPr>
            <p:cNvGrpSpPr/>
            <p:nvPr userDrawn="1"/>
          </p:nvGrpSpPr>
          <p:grpSpPr>
            <a:xfrm>
              <a:off x="9263395" y="150289"/>
              <a:ext cx="2754815" cy="6013825"/>
              <a:chOff x="9266651" y="185338"/>
              <a:chExt cx="2754815" cy="6013825"/>
            </a:xfrm>
          </p:grpSpPr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FD97C5F9-1BA0-4346-8BA5-61CA34B0EB56}"/>
                  </a:ext>
                </a:extLst>
              </p:cNvPr>
              <p:cNvSpPr txBox="1"/>
              <p:nvPr userDrawn="1"/>
            </p:nvSpPr>
            <p:spPr>
              <a:xfrm>
                <a:off x="9303325" y="185338"/>
                <a:ext cx="1231106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sz="825">
                    <a:solidFill>
                      <a:schemeClr val="bg1"/>
                    </a:solidFill>
                  </a:rPr>
                  <a:t>HOW TO ADD AN IMAGE</a:t>
                </a:r>
              </a:p>
            </p:txBody>
          </p:sp>
          <p:cxnSp>
            <p:nvCxnSpPr>
              <p:cNvPr id="59" name="Straight Connector 58">
                <a:extLst>
                  <a:ext uri="{FF2B5EF4-FFF2-40B4-BE49-F238E27FC236}">
                    <a16:creationId xmlns:a16="http://schemas.microsoft.com/office/drawing/2014/main" id="{FF29B610-1229-CE4A-AF80-53A2FAABF0E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303325" y="38795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179FAF10-6C7D-2144-8C5C-BFA813F68506}"/>
                  </a:ext>
                </a:extLst>
              </p:cNvPr>
              <p:cNvSpPr txBox="1"/>
              <p:nvPr userDrawn="1"/>
            </p:nvSpPr>
            <p:spPr>
              <a:xfrm>
                <a:off x="9431244" y="1246265"/>
                <a:ext cx="2297338" cy="28913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 b="1"/>
                  <a:t>Method 1: </a:t>
                </a:r>
                <a:r>
                  <a:rPr lang="en-US" sz="450" b="0"/>
                  <a:t>from file browser</a:t>
                </a:r>
              </a:p>
              <a:p>
                <a:pPr lvl="1">
                  <a:buNone/>
                </a:pPr>
                <a:r>
                  <a:rPr lang="en-US" sz="788"/>
                  <a:t>Drag the image onto the slide.</a:t>
                </a:r>
              </a:p>
            </p:txBody>
          </p:sp>
          <p:grpSp>
            <p:nvGrpSpPr>
              <p:cNvPr id="76" name="Group 75">
                <a:extLst>
                  <a:ext uri="{FF2B5EF4-FFF2-40B4-BE49-F238E27FC236}">
                    <a16:creationId xmlns:a16="http://schemas.microsoft.com/office/drawing/2014/main" id="{08A50BC6-41D4-CB43-B615-0CB5C5D8CB2E}"/>
                  </a:ext>
                </a:extLst>
              </p:cNvPr>
              <p:cNvGrpSpPr/>
              <p:nvPr userDrawn="1"/>
            </p:nvGrpSpPr>
            <p:grpSpPr>
              <a:xfrm>
                <a:off x="9286315" y="4787848"/>
                <a:ext cx="2735151" cy="1411315"/>
                <a:chOff x="9296567" y="4910411"/>
                <a:chExt cx="2735151" cy="1411315"/>
              </a:xfrm>
            </p:grpSpPr>
            <p:sp>
              <p:nvSpPr>
                <p:cNvPr id="78" name="Rectangle 77">
                  <a:extLst>
                    <a:ext uri="{FF2B5EF4-FFF2-40B4-BE49-F238E27FC236}">
                      <a16:creationId xmlns:a16="http://schemas.microsoft.com/office/drawing/2014/main" id="{AAF32C62-18B0-5A46-A72E-AB5C72B617B1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141131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  <p:sp>
              <p:nvSpPr>
                <p:cNvPr id="79" name="TextBox 78">
                  <a:extLst>
                    <a:ext uri="{FF2B5EF4-FFF2-40B4-BE49-F238E27FC236}">
                      <a16:creationId xmlns:a16="http://schemas.microsoft.com/office/drawing/2014/main" id="{3A949284-8769-7C4A-BDA9-47BF5046975F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8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hange Image</a:t>
                  </a:r>
                </a:p>
              </p:txBody>
            </p:sp>
            <p:pic>
              <p:nvPicPr>
                <p:cNvPr id="80" name="Graphic 79">
                  <a:extLst>
                    <a:ext uri="{FF2B5EF4-FFF2-40B4-BE49-F238E27FC236}">
                      <a16:creationId xmlns:a16="http://schemas.microsoft.com/office/drawing/2014/main" id="{8963D7C6-F2C5-E849-BB93-9E88B87AA573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81" name="TextBox 80">
                  <a:extLst>
                    <a:ext uri="{FF2B5EF4-FFF2-40B4-BE49-F238E27FC236}">
                      <a16:creationId xmlns:a16="http://schemas.microsoft.com/office/drawing/2014/main" id="{85DB30AD-2EC9-DB48-BA60-31491FAC1195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619194"/>
                  <a:ext cx="2422981" cy="37394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01204" lvl="1" indent="-98822" algn="l" defTabSz="6858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225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Deleting the image may bring the image placeholder to the top layer. Right-click on the placeholder and choose “Send to Back”.</a:t>
                  </a:r>
                </a:p>
              </p:txBody>
            </p:sp>
            <p:sp>
              <p:nvSpPr>
                <p:cNvPr id="82" name="TextBox 81">
                  <a:extLst>
                    <a:ext uri="{FF2B5EF4-FFF2-40B4-BE49-F238E27FC236}">
                      <a16:creationId xmlns:a16="http://schemas.microsoft.com/office/drawing/2014/main" id="{17B40A71-5ED2-4847-B0DF-8C7122BB42A3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300350"/>
                  <a:ext cx="2422981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685800" rtl="0" eaLnBrk="1" latinLnBrk="0" hangingPunct="1">
                    <a:spcBef>
                      <a:spcPts val="150"/>
                    </a:spcBef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First, delete the existing image to reset the photo placeholder functionality.</a:t>
                  </a:r>
                </a:p>
              </p:txBody>
            </p:sp>
            <p:sp>
              <p:nvSpPr>
                <p:cNvPr id="83" name="TextBox 82">
                  <a:extLst>
                    <a:ext uri="{FF2B5EF4-FFF2-40B4-BE49-F238E27FC236}">
                      <a16:creationId xmlns:a16="http://schemas.microsoft.com/office/drawing/2014/main" id="{224A2BA9-4F1F-074F-AEA1-D6E43A8250E8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068871"/>
                  <a:ext cx="2422981" cy="138500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685800" rtl="0" eaLnBrk="1" latinLnBrk="0" hangingPunct="1">
                    <a:spcBef>
                      <a:spcPts val="150"/>
                    </a:spcBef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You can now add a new image as normal.</a:t>
                  </a:r>
                </a:p>
              </p:txBody>
            </p:sp>
          </p:grpSp>
          <p:grpSp>
            <p:nvGrpSpPr>
              <p:cNvPr id="62" name="Group 61">
                <a:extLst>
                  <a:ext uri="{FF2B5EF4-FFF2-40B4-BE49-F238E27FC236}">
                    <a16:creationId xmlns:a16="http://schemas.microsoft.com/office/drawing/2014/main" id="{0F4A1271-3D8B-3C49-A3EA-8521CBDB4AF1}"/>
                  </a:ext>
                </a:extLst>
              </p:cNvPr>
              <p:cNvGrpSpPr/>
              <p:nvPr userDrawn="1"/>
            </p:nvGrpSpPr>
            <p:grpSpPr>
              <a:xfrm>
                <a:off x="9286315" y="3431192"/>
                <a:ext cx="2735151" cy="1280928"/>
                <a:chOff x="9286315" y="6976989"/>
                <a:chExt cx="2735151" cy="1280928"/>
              </a:xfrm>
            </p:grpSpPr>
            <p:sp>
              <p:nvSpPr>
                <p:cNvPr id="71" name="Rectangle 70">
                  <a:extLst>
                    <a:ext uri="{FF2B5EF4-FFF2-40B4-BE49-F238E27FC236}">
                      <a16:creationId xmlns:a16="http://schemas.microsoft.com/office/drawing/2014/main" id="{C6145E2A-AB77-D243-85C2-139861D4876E}"/>
                    </a:ext>
                  </a:extLst>
                </p:cNvPr>
                <p:cNvSpPr/>
                <p:nvPr userDrawn="1"/>
              </p:nvSpPr>
              <p:spPr>
                <a:xfrm>
                  <a:off x="9286315" y="6976989"/>
                  <a:ext cx="2735151" cy="1280928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  <p:sp>
              <p:nvSpPr>
                <p:cNvPr id="72" name="TextBox 71">
                  <a:extLst>
                    <a:ext uri="{FF2B5EF4-FFF2-40B4-BE49-F238E27FC236}">
                      <a16:creationId xmlns:a16="http://schemas.microsoft.com/office/drawing/2014/main" id="{FC6A7522-6011-3549-8AE8-F95DA5F999B9}"/>
                    </a:ext>
                  </a:extLst>
                </p:cNvPr>
                <p:cNvSpPr txBox="1"/>
                <p:nvPr userDrawn="1"/>
              </p:nvSpPr>
              <p:spPr>
                <a:xfrm>
                  <a:off x="9652506" y="7105788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8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rop Image</a:t>
                  </a:r>
                </a:p>
              </p:txBody>
            </p:sp>
            <p:pic>
              <p:nvPicPr>
                <p:cNvPr id="73" name="Graphic 72">
                  <a:extLst>
                    <a:ext uri="{FF2B5EF4-FFF2-40B4-BE49-F238E27FC236}">
                      <a16:creationId xmlns:a16="http://schemas.microsoft.com/office/drawing/2014/main" id="{0766D4F4-795E-5245-BF49-8D06B73BD8EC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46538" y="7116071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74" name="TextBox 73">
                  <a:extLst>
                    <a:ext uri="{FF2B5EF4-FFF2-40B4-BE49-F238E27FC236}">
                      <a16:creationId xmlns:a16="http://schemas.microsoft.com/office/drawing/2014/main" id="{4BA13E32-1D69-6744-97E0-5693B3DE481A}"/>
                    </a:ext>
                  </a:extLst>
                </p:cNvPr>
                <p:cNvSpPr txBox="1"/>
                <p:nvPr userDrawn="1"/>
              </p:nvSpPr>
              <p:spPr>
                <a:xfrm>
                  <a:off x="9446538" y="7369972"/>
                  <a:ext cx="2384904" cy="777136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Right-click on the image.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Choose “Crop” from the menu. (       )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Adjust the size and position of the image.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Press Esc or click outside the image area to exit the cropping mode.</a:t>
                  </a:r>
                </a:p>
              </p:txBody>
            </p:sp>
            <p:pic>
              <p:nvPicPr>
                <p:cNvPr id="75" name="Picture 74">
                  <a:extLst>
                    <a:ext uri="{FF2B5EF4-FFF2-40B4-BE49-F238E27FC236}">
                      <a16:creationId xmlns:a16="http://schemas.microsoft.com/office/drawing/2014/main" id="{62C33A3E-B57A-5249-A736-062C612AFDE5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 rotWithShape="1">
                <a:blip r:embed="rId3"/>
                <a:srcRect l="33684" t="12097" r="43371" b="20368"/>
                <a:stretch/>
              </p:blipFill>
              <p:spPr>
                <a:xfrm>
                  <a:off x="11243541" y="7454405"/>
                  <a:ext cx="136897" cy="213643"/>
                </a:xfrm>
                <a:prstGeom prst="rect">
                  <a:avLst/>
                </a:prstGeom>
                <a:ln w="19050">
                  <a:solidFill>
                    <a:schemeClr val="accent3">
                      <a:lumMod val="60000"/>
                      <a:lumOff val="40000"/>
                    </a:schemeClr>
                  </a:solidFill>
                </a:ln>
              </p:spPr>
            </p:pic>
          </p:grpSp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46CE5CB7-4357-AA46-858D-4971B106CB68}"/>
                  </a:ext>
                </a:extLst>
              </p:cNvPr>
              <p:cNvGrpSpPr/>
              <p:nvPr userDrawn="1"/>
            </p:nvGrpSpPr>
            <p:grpSpPr>
              <a:xfrm>
                <a:off x="9266651" y="510458"/>
                <a:ext cx="2617883" cy="707288"/>
                <a:chOff x="12352022" y="513115"/>
                <a:chExt cx="2617883" cy="707288"/>
              </a:xfrm>
            </p:grpSpPr>
            <p:sp>
              <p:nvSpPr>
                <p:cNvPr id="68" name="TextBox 67">
                  <a:extLst>
                    <a:ext uri="{FF2B5EF4-FFF2-40B4-BE49-F238E27FC236}">
                      <a16:creationId xmlns:a16="http://schemas.microsoft.com/office/drawing/2014/main" id="{42CF36A7-43B8-6C4C-86FD-1CD17D708735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375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69" name="TextBox 68">
                  <a:extLst>
                    <a:ext uri="{FF2B5EF4-FFF2-40B4-BE49-F238E27FC236}">
                      <a16:creationId xmlns:a16="http://schemas.microsoft.com/office/drawing/2014/main" id="{1A6C5B3E-7B6D-A148-861C-6ACAA92D6CA7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1033696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375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2</a:t>
                  </a:r>
                </a:p>
              </p:txBody>
            </p:sp>
            <p:sp>
              <p:nvSpPr>
                <p:cNvPr id="70" name="TextBox 69">
                  <a:extLst>
                    <a:ext uri="{FF2B5EF4-FFF2-40B4-BE49-F238E27FC236}">
                      <a16:creationId xmlns:a16="http://schemas.microsoft.com/office/drawing/2014/main" id="{35B6B6EB-9B89-1347-8F1C-C198506B65AC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453290" cy="70728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sz="788"/>
                    <a:t>Select and download images from the Marketing Resource Database.</a:t>
                  </a:r>
                </a:p>
                <a:p>
                  <a:pPr lvl="0"/>
                  <a:r>
                    <a:rPr lang="en-US" sz="788"/>
                    <a:t>Add the image to the placeholder.</a:t>
                  </a:r>
                </a:p>
              </p:txBody>
            </p:sp>
          </p:grp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86D606E1-D70D-CF4E-8378-6DE1F7A17FDF}"/>
                  </a:ext>
                </a:extLst>
              </p:cNvPr>
              <p:cNvSpPr txBox="1"/>
              <p:nvPr userDrawn="1"/>
            </p:nvSpPr>
            <p:spPr>
              <a:xfrm>
                <a:off x="9419085" y="1529570"/>
                <a:ext cx="2374733" cy="32316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/>
                  <a:t>Note: If there are multiple image placeholders on the slide, select the intended placeholder before dragging in the image to let PowerPoint know where you want it.</a:t>
                </a:r>
              </a:p>
            </p:txBody>
          </p:sp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1AB01998-6407-F04E-89B6-207E3B4416D9}"/>
                  </a:ext>
                </a:extLst>
              </p:cNvPr>
              <p:cNvSpPr txBox="1"/>
              <p:nvPr userDrawn="1"/>
            </p:nvSpPr>
            <p:spPr>
              <a:xfrm>
                <a:off x="9431244" y="1944827"/>
                <a:ext cx="2297338" cy="63145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/>
                  <a:t>Method 2: </a:t>
                </a:r>
                <a:r>
                  <a:rPr lang="en-US" sz="450" b="0"/>
                  <a:t>Paste from clipboard</a:t>
                </a:r>
              </a:p>
              <a:p>
                <a:pPr lvl="1">
                  <a:buNone/>
                </a:pPr>
                <a:r>
                  <a:rPr lang="en-US" sz="788"/>
                  <a:t>Select the image placeholder.</a:t>
                </a:r>
              </a:p>
              <a:p>
                <a:pPr lvl="1">
                  <a:buNone/>
                </a:pPr>
                <a:r>
                  <a:rPr lang="en-US" sz="788"/>
                  <a:t>Right-click or use keyboard shortcuts to paste the image.</a:t>
                </a:r>
              </a:p>
            </p:txBody>
          </p:sp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BF601082-8B9E-E948-93FC-DD6E8E5CABC4}"/>
                  </a:ext>
                </a:extLst>
              </p:cNvPr>
              <p:cNvSpPr txBox="1"/>
              <p:nvPr userDrawn="1"/>
            </p:nvSpPr>
            <p:spPr>
              <a:xfrm>
                <a:off x="9431244" y="2664917"/>
                <a:ext cx="2297338" cy="4346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/>
                  <a:t>Method 3: </a:t>
                </a:r>
                <a:r>
                  <a:rPr lang="en-US" sz="450" b="0"/>
                  <a:t>Placeholder icon</a:t>
                </a:r>
              </a:p>
              <a:p>
                <a:pPr lvl="1">
                  <a:buNone/>
                </a:pPr>
                <a:r>
                  <a:rPr lang="en-US" sz="788"/>
                  <a:t>Click the image icon inside the placeholder to browse for an image.</a:t>
                </a:r>
              </a:p>
            </p:txBody>
          </p:sp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713FBF07-5E2E-9142-A30C-27DB2C07E4EE}"/>
                  </a:ext>
                </a:extLst>
              </p:cNvPr>
              <p:cNvSpPr txBox="1"/>
              <p:nvPr userDrawn="1"/>
            </p:nvSpPr>
            <p:spPr>
              <a:xfrm>
                <a:off x="9419085" y="3095481"/>
                <a:ext cx="2374733" cy="21544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/>
                  <a:t>Note: This icon may be covered by another element.</a:t>
                </a:r>
                <a:br>
                  <a:rPr lang="en-US" sz="525"/>
                </a:br>
                <a:r>
                  <a:rPr lang="en-US" sz="525"/>
                  <a:t>In this case use one of the other methods.</a:t>
                </a:r>
              </a:p>
            </p:txBody>
          </p:sp>
        </p:grpSp>
      </p:grpSp>
      <p:sp>
        <p:nvSpPr>
          <p:cNvPr id="500" name="Caption">
            <a:extLst>
              <a:ext uri="{FF2B5EF4-FFF2-40B4-BE49-F238E27FC236}">
                <a16:creationId xmlns:a16="http://schemas.microsoft.com/office/drawing/2014/main" id="{FBAAECF8-548A-DF48-864C-7FFAC7CE7E0F}"/>
              </a:ext>
            </a:extLst>
          </p:cNvPr>
          <p:cNvSpPr>
            <a:spLocks noGrp="1"/>
          </p:cNvSpPr>
          <p:nvPr>
            <p:ph type="body" sz="quarter" idx="500" hasCustomPrompt="1"/>
          </p:nvPr>
        </p:nvSpPr>
        <p:spPr>
          <a:xfrm>
            <a:off x="5960285" y="4650582"/>
            <a:ext cx="2742875" cy="114262"/>
          </a:xfrm>
          <a:effectLst/>
        </p:spPr>
        <p:txBody>
          <a:bodyPr wrap="square" anchor="b">
            <a:sp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 b="0">
                <a:solidFill>
                  <a:schemeClr val="bg1"/>
                </a:solidFill>
                <a:effectLst/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photo caption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CE27FEE-18EA-A346-B26F-D333D09B927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A4E954B-AA54-CB4A-BB91-65FA9943249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BB10A8-70DC-DE4D-92FA-36863B35ABB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9525"/>
            <a:fld id="{078C017C-E1B9-8443-B047-B08AAA027B45}" type="slidenum">
              <a:rPr lang="en-US" smtClean="0"/>
              <a:pPr marL="9525"/>
              <a:t>‹#›</a:t>
            </a:fld>
            <a:endParaRPr lang="en-US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9F6510D4-5C14-4C49-9E12-FE70AD2BF8B5}"/>
              </a:ext>
            </a:extLst>
          </p:cNvPr>
          <p:cNvGrpSpPr/>
          <p:nvPr userDrawn="1"/>
        </p:nvGrpSpPr>
        <p:grpSpPr>
          <a:xfrm>
            <a:off x="431241" y="-185200"/>
            <a:ext cx="8280400" cy="5510478"/>
            <a:chOff x="431240" y="-246933"/>
            <a:chExt cx="8280400" cy="7347304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7065C18E-D64F-7245-813C-B6B447EDB421}"/>
                </a:ext>
              </a:extLst>
            </p:cNvPr>
            <p:cNvGrpSpPr/>
            <p:nvPr userDrawn="1"/>
          </p:nvGrpSpPr>
          <p:grpSpPr>
            <a:xfrm>
              <a:off x="431242" y="6864579"/>
              <a:ext cx="8280398" cy="235792"/>
              <a:chOff x="431801" y="-235792"/>
              <a:chExt cx="4400550" cy="235792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0395E244-87CF-F140-BD60-3FFD9A25D3E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B59353F5-2397-5A4B-9D6C-2A5B3826216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6A29AC13-8431-6247-9605-4DE6AC19757E}"/>
                </a:ext>
              </a:extLst>
            </p:cNvPr>
            <p:cNvGrpSpPr/>
            <p:nvPr userDrawn="1"/>
          </p:nvGrpSpPr>
          <p:grpSpPr>
            <a:xfrm>
              <a:off x="431240" y="-246933"/>
              <a:ext cx="8280400" cy="235792"/>
              <a:chOff x="431800" y="-240735"/>
              <a:chExt cx="8280400" cy="235792"/>
            </a:xfrm>
          </p:grpSpPr>
          <p:grpSp>
            <p:nvGrpSpPr>
              <p:cNvPr id="50" name="Group 49">
                <a:extLst>
                  <a:ext uri="{FF2B5EF4-FFF2-40B4-BE49-F238E27FC236}">
                    <a16:creationId xmlns:a16="http://schemas.microsoft.com/office/drawing/2014/main" id="{91174909-64CA-EF47-A0A7-204423290ECC}"/>
                  </a:ext>
                </a:extLst>
              </p:cNvPr>
              <p:cNvGrpSpPr/>
              <p:nvPr userDrawn="1"/>
            </p:nvGrpSpPr>
            <p:grpSpPr>
              <a:xfrm>
                <a:off x="431800" y="-240735"/>
                <a:ext cx="8280400" cy="235792"/>
                <a:chOff x="431800" y="-235792"/>
                <a:chExt cx="4400551" cy="235792"/>
              </a:xfrm>
            </p:grpSpPr>
            <p:cxnSp>
              <p:nvCxnSpPr>
                <p:cNvPr id="54" name="Straight Connector 53">
                  <a:extLst>
                    <a:ext uri="{FF2B5EF4-FFF2-40B4-BE49-F238E27FC236}">
                      <a16:creationId xmlns:a16="http://schemas.microsoft.com/office/drawing/2014/main" id="{34D91FED-26CC-F144-8BF9-DB64124B41B7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5" name="Straight Connector 84">
                  <a:extLst>
                    <a:ext uri="{FF2B5EF4-FFF2-40B4-BE49-F238E27FC236}">
                      <a16:creationId xmlns:a16="http://schemas.microsoft.com/office/drawing/2014/main" id="{97B6B19F-FF08-ED4B-9CCD-CAFF7BF049B6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6" name="Rectangle 85">
                  <a:extLst>
                    <a:ext uri="{FF2B5EF4-FFF2-40B4-BE49-F238E27FC236}">
                      <a16:creationId xmlns:a16="http://schemas.microsoft.com/office/drawing/2014/main" id="{1D02FAC6-DC5B-A746-8EF4-D6DB84FFA3D9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</p:grp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20F36343-BBC2-4349-A0F2-4B2E7BBD79F8}"/>
                  </a:ext>
                </a:extLst>
              </p:cNvPr>
              <p:cNvSpPr txBox="1"/>
              <p:nvPr userDrawn="1"/>
            </p:nvSpPr>
            <p:spPr>
              <a:xfrm>
                <a:off x="3883466" y="-176700"/>
                <a:ext cx="1377081" cy="107721"/>
              </a:xfrm>
              <a:prstGeom prst="rect">
                <a:avLst/>
              </a:prstGeom>
            </p:spPr>
            <p:txBody>
              <a:bodyPr vert="horz" wrap="none" lIns="108000" tIns="0" rIns="108000" bIns="0" rtlCol="0" anchor="ctr">
                <a:spAutoFit/>
              </a:bodyPr>
              <a:lstStyle/>
              <a:p>
                <a:pPr algn="ctr"/>
                <a:r>
                  <a:rPr lang="en-US" sz="5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KEEP CONTENT WITHIN THIS AREA</a:t>
                </a:r>
              </a:p>
            </p:txBody>
          </p:sp>
          <p:cxnSp>
            <p:nvCxnSpPr>
              <p:cNvPr id="52" name="Straight Arrow Connector 51">
                <a:extLst>
                  <a:ext uri="{FF2B5EF4-FFF2-40B4-BE49-F238E27FC236}">
                    <a16:creationId xmlns:a16="http://schemas.microsoft.com/office/drawing/2014/main" id="{BCE10A83-4DF9-CA4C-8F3D-16220DA1460D}"/>
                  </a:ext>
                </a:extLst>
              </p:cNvPr>
              <p:cNvCxnSpPr>
                <a:cxnSpLocks/>
                <a:stCxn id="51" idx="1"/>
                <a:endCxn id="86" idx="2"/>
              </p:cNvCxnSpPr>
              <p:nvPr userDrawn="1"/>
            </p:nvCxnSpPr>
            <p:spPr>
              <a:xfrm flipH="1">
                <a:off x="431800" y="-122839"/>
                <a:ext cx="3451666" cy="1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Arrow Connector 52">
                <a:extLst>
                  <a:ext uri="{FF2B5EF4-FFF2-40B4-BE49-F238E27FC236}">
                    <a16:creationId xmlns:a16="http://schemas.microsoft.com/office/drawing/2014/main" id="{0A539B45-3509-C647-A3C5-4AB4B3F91D32}"/>
                  </a:ext>
                </a:extLst>
              </p:cNvPr>
              <p:cNvCxnSpPr>
                <a:cxnSpLocks/>
                <a:stCxn id="51" idx="3"/>
                <a:endCxn id="86" idx="0"/>
              </p:cNvCxnSpPr>
              <p:nvPr userDrawn="1"/>
            </p:nvCxnSpPr>
            <p:spPr>
              <a:xfrm>
                <a:off x="5260547" y="-122839"/>
                <a:ext cx="3451653" cy="0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8678028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First Content Placeholder">
            <a:extLst>
              <a:ext uri="{FF2B5EF4-FFF2-40B4-BE49-F238E27FC236}">
                <a16:creationId xmlns:a16="http://schemas.microsoft.com/office/drawing/2014/main" id="{D7070C02-8D3D-AA4B-B6D3-432E3D380E3C}"/>
              </a:ext>
            </a:extLst>
          </p:cNvPr>
          <p:cNvSpPr>
            <a:spLocks noGrp="1"/>
          </p:cNvSpPr>
          <p:nvPr>
            <p:ph sz="quarter" idx="200" hasCustomPrompt="1"/>
          </p:nvPr>
        </p:nvSpPr>
        <p:spPr>
          <a:xfrm>
            <a:off x="431800" y="925117"/>
            <a:ext cx="8280400" cy="3699272"/>
          </a:xfrm>
        </p:spPr>
        <p:txBody>
          <a:bodyPr/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add text, or use the icon to add a table</a:t>
            </a:r>
          </a:p>
          <a:p>
            <a:pPr lvl="1"/>
            <a:r>
              <a:rPr lang="en-US"/>
              <a:t>Body text (second level)</a:t>
            </a:r>
          </a:p>
          <a:p>
            <a:pPr lvl="2"/>
            <a:r>
              <a:rPr lang="en-US"/>
              <a:t>Square bullet (third level)</a:t>
            </a:r>
          </a:p>
          <a:p>
            <a:pPr lvl="3"/>
            <a:r>
              <a:rPr lang="en-US"/>
              <a:t>Dashed bullet (fourth level)</a:t>
            </a:r>
          </a:p>
          <a:p>
            <a:pPr lvl="4"/>
            <a:r>
              <a:rPr lang="en-US"/>
              <a:t>Dashed bullet (fifth level)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A3E7C59C-7AB2-FD4B-9D3E-CA7E0D8CB2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Slide TITLE. ALL CAPS. TWO LINES max.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73A7EDA7-F3CC-FE4B-8FF2-546BF052CA2D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800" y="4650581"/>
            <a:ext cx="7440613" cy="379131"/>
          </a:xfrm>
        </p:spPr>
        <p:txBody>
          <a:bodyPr bIns="0" anchor="b"/>
          <a:lstStyle>
            <a:lvl1pPr marL="4763" indent="-1191">
              <a:spcBef>
                <a:spcPts val="56"/>
              </a:spcBef>
              <a:spcAft>
                <a:spcPts val="56"/>
              </a:spcAft>
              <a:buSzPct val="100000"/>
              <a:buFontTx/>
              <a:buNone/>
              <a:tabLst/>
              <a:defRPr sz="825" b="0">
                <a:solidFill>
                  <a:schemeClr val="tx1"/>
                </a:solidFill>
              </a:defRPr>
            </a:lvl1pPr>
            <a:lvl2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¹"/>
              <a:tabLst/>
              <a:defRPr sz="825" b="0" i="0">
                <a:solidFill>
                  <a:schemeClr val="tx1"/>
                </a:solidFill>
              </a:defRPr>
            </a:lvl2pPr>
            <a:lvl3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²"/>
              <a:tabLst/>
              <a:defRPr sz="825">
                <a:solidFill>
                  <a:schemeClr val="tx1"/>
                </a:solidFill>
              </a:defRPr>
            </a:lvl3pPr>
            <a:lvl4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³"/>
              <a:tabLst/>
              <a:defRPr sz="825">
                <a:solidFill>
                  <a:schemeClr val="tx1"/>
                </a:solidFill>
              </a:defRPr>
            </a:lvl4pPr>
            <a:lvl5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⁴"/>
              <a:tabLst/>
              <a:defRPr sz="825">
                <a:solidFill>
                  <a:schemeClr val="tx1"/>
                </a:solidFill>
              </a:defRPr>
            </a:lvl5pPr>
            <a:lvl6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⁵"/>
              <a:tabLst/>
              <a:defRPr sz="825">
                <a:solidFill>
                  <a:schemeClr val="tx1"/>
                </a:solidFill>
              </a:defRPr>
            </a:lvl6pPr>
            <a:lvl7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⁶"/>
              <a:tabLst/>
              <a:defRPr sz="825">
                <a:solidFill>
                  <a:schemeClr val="tx1"/>
                </a:solidFill>
              </a:defRPr>
            </a:lvl7pPr>
            <a:lvl8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⁷"/>
              <a:tabLst/>
              <a:defRPr sz="825">
                <a:solidFill>
                  <a:schemeClr val="tx1"/>
                </a:solidFill>
              </a:defRPr>
            </a:lvl8pPr>
            <a:lvl9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⁸"/>
              <a:tabLst/>
              <a:defRPr sz="825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/>
              <a:t>Footnotes – Levels 2-9</a:t>
            </a:r>
          </a:p>
        </p:txBody>
      </p:sp>
      <p:sp>
        <p:nvSpPr>
          <p:cNvPr id="32" name="Date Placeholder 31">
            <a:extLst>
              <a:ext uri="{FF2B5EF4-FFF2-40B4-BE49-F238E27FC236}">
                <a16:creationId xmlns:a16="http://schemas.microsoft.com/office/drawing/2014/main" id="{063A222F-451A-4B49-AAE6-41BBAA48AC75}"/>
              </a:ext>
            </a:extLst>
          </p:cNvPr>
          <p:cNvSpPr>
            <a:spLocks noGrp="1"/>
          </p:cNvSpPr>
          <p:nvPr userDrawn="1">
            <p:ph type="dt" sz="half" idx="10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3" name="Footer Placeholder 32">
            <a:extLst>
              <a:ext uri="{FF2B5EF4-FFF2-40B4-BE49-F238E27FC236}">
                <a16:creationId xmlns:a16="http://schemas.microsoft.com/office/drawing/2014/main" id="{7182972C-B32C-5242-9660-1F857E08362B}"/>
              </a:ext>
            </a:extLst>
          </p:cNvPr>
          <p:cNvSpPr>
            <a:spLocks noGrp="1"/>
          </p:cNvSpPr>
          <p:nvPr userDrawn="1">
            <p:ph type="ftr" sz="quarter" idx="10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Slide Number Placeholder 38">
            <a:extLst>
              <a:ext uri="{FF2B5EF4-FFF2-40B4-BE49-F238E27FC236}">
                <a16:creationId xmlns:a16="http://schemas.microsoft.com/office/drawing/2014/main" id="{702F905D-B5C6-604B-A8D6-931CBE08DB32}"/>
              </a:ext>
            </a:extLst>
          </p:cNvPr>
          <p:cNvSpPr>
            <a:spLocks noGrp="1"/>
          </p:cNvSpPr>
          <p:nvPr userDrawn="1">
            <p:ph type="sldNum" sz="quarter" idx="107"/>
          </p:nvPr>
        </p:nvSpPr>
        <p:spPr/>
        <p:txBody>
          <a:bodyPr/>
          <a:lstStyle/>
          <a:p>
            <a:pPr marL="9525"/>
            <a:fld id="{078C017C-E1B9-8443-B047-B08AAA027B45}" type="slidenum">
              <a:rPr lang="en-US" smtClean="0"/>
              <a:pPr marL="9525"/>
              <a:t>‹#›</a:t>
            </a:fld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377C8CE-D482-6D47-A000-443568B2C375}"/>
              </a:ext>
            </a:extLst>
          </p:cNvPr>
          <p:cNvGrpSpPr/>
          <p:nvPr userDrawn="1"/>
        </p:nvGrpSpPr>
        <p:grpSpPr>
          <a:xfrm>
            <a:off x="9399182" y="1"/>
            <a:ext cx="2974470" cy="5143496"/>
            <a:chOff x="9399182" y="0"/>
            <a:chExt cx="2974470" cy="6857995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B624552C-B575-AE4E-B90E-80386DFFD747}"/>
                </a:ext>
              </a:extLst>
            </p:cNvPr>
            <p:cNvSpPr/>
            <p:nvPr userDrawn="1"/>
          </p:nvSpPr>
          <p:spPr>
            <a:xfrm>
              <a:off x="9399182" y="0"/>
              <a:ext cx="2798651" cy="685799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050"/>
            </a:p>
          </p:txBody>
        </p:sp>
        <p:pic>
          <p:nvPicPr>
            <p:cNvPr id="70" name="Picture 69">
              <a:extLst>
                <a:ext uri="{FF2B5EF4-FFF2-40B4-BE49-F238E27FC236}">
                  <a16:creationId xmlns:a16="http://schemas.microsoft.com/office/drawing/2014/main" id="{72577E3C-2575-9A49-8EA5-9CA05A2E3D3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41694"/>
            <a:stretch/>
          </p:blipFill>
          <p:spPr>
            <a:xfrm>
              <a:off x="9558506" y="1322104"/>
              <a:ext cx="2639328" cy="995540"/>
            </a:xfrm>
            <a:prstGeom prst="rect">
              <a:avLst/>
            </a:prstGeom>
          </p:spPr>
        </p:pic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4E2D26DA-696F-D345-B831-DB4BCF3B6E31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5C3AAD8B-698C-7A43-ABDF-294888239CF2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2D824FCF-53BC-444C-88D6-38033E97AEDF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1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B83CA71E-B1B7-6946-92A5-BFD00A4291EB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BDFE6C8C-E609-C848-9C4A-7DCBDF10FCCB}"/>
                </a:ext>
              </a:extLst>
            </p:cNvPr>
            <p:cNvGrpSpPr/>
            <p:nvPr userDrawn="1"/>
          </p:nvGrpSpPr>
          <p:grpSpPr>
            <a:xfrm>
              <a:off x="9558507" y="1119891"/>
              <a:ext cx="2639328" cy="202617"/>
              <a:chOff x="9303325" y="149270"/>
              <a:chExt cx="2639328" cy="202617"/>
            </a:xfrm>
          </p:grpSpPr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5459E50A-7290-8345-AB63-DF07B151FCBA}"/>
                  </a:ext>
                </a:extLst>
              </p:cNvPr>
              <p:cNvSpPr txBox="1"/>
              <p:nvPr userDrawn="1"/>
            </p:nvSpPr>
            <p:spPr>
              <a:xfrm>
                <a:off x="9303325" y="149270"/>
                <a:ext cx="1670329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sz="825">
                    <a:solidFill>
                      <a:schemeClr val="bg1"/>
                    </a:solidFill>
                  </a:rPr>
                  <a:t>TEXT FORMATS IN THIS LAYOUT</a:t>
                </a:r>
              </a:p>
            </p:txBody>
          </p: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877E185E-D403-494F-AEBA-AEAB2A57C11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303325" y="351887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2707A63D-0ED3-2649-8C74-DDC556FCF5A9}"/>
                </a:ext>
              </a:extLst>
            </p:cNvPr>
            <p:cNvGrpSpPr/>
            <p:nvPr userDrawn="1"/>
          </p:nvGrpSpPr>
          <p:grpSpPr>
            <a:xfrm>
              <a:off x="9554253" y="3678850"/>
              <a:ext cx="2735151" cy="2655095"/>
              <a:chOff x="9541497" y="2555080"/>
              <a:chExt cx="2735151" cy="2655095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97646D57-86DD-CC45-AF75-033441DEAEBB}"/>
                  </a:ext>
                </a:extLst>
              </p:cNvPr>
              <p:cNvGrpSpPr/>
              <p:nvPr userDrawn="1"/>
            </p:nvGrpSpPr>
            <p:grpSpPr>
              <a:xfrm>
                <a:off x="9541497" y="2555080"/>
                <a:ext cx="2735151" cy="2655095"/>
                <a:chOff x="9296567" y="4910411"/>
                <a:chExt cx="2735151" cy="2655095"/>
              </a:xfrm>
            </p:grpSpPr>
            <p:sp>
              <p:nvSpPr>
                <p:cNvPr id="22" name="Rectangle 21">
                  <a:extLst>
                    <a:ext uri="{FF2B5EF4-FFF2-40B4-BE49-F238E27FC236}">
                      <a16:creationId xmlns:a16="http://schemas.microsoft.com/office/drawing/2014/main" id="{88B63AE3-654D-E346-84F1-DE1585D68864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265509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  <p:sp>
              <p:nvSpPr>
                <p:cNvPr id="23" name="TextBox 22">
                  <a:extLst>
                    <a:ext uri="{FF2B5EF4-FFF2-40B4-BE49-F238E27FC236}">
                      <a16:creationId xmlns:a16="http://schemas.microsoft.com/office/drawing/2014/main" id="{73FF8F45-C686-3D4E-9541-1D8727406BA0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8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Automatic paragraph spacing</a:t>
                  </a:r>
                </a:p>
              </p:txBody>
            </p:sp>
            <p:pic>
              <p:nvPicPr>
                <p:cNvPr id="24" name="Graphic 23">
                  <a:extLst>
                    <a:ext uri="{FF2B5EF4-FFF2-40B4-BE49-F238E27FC236}">
                      <a16:creationId xmlns:a16="http://schemas.microsoft.com/office/drawing/2014/main" id="{CB005880-BCA3-A74D-BFE6-ECE18F5208A0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25" name="TextBox 24">
                  <a:extLst>
                    <a:ext uri="{FF2B5EF4-FFF2-40B4-BE49-F238E27FC236}">
                      <a16:creationId xmlns:a16="http://schemas.microsoft.com/office/drawing/2014/main" id="{6D7CFF09-C588-D946-9376-69CEAE13234B}"/>
                    </a:ext>
                  </a:extLst>
                </p:cNvPr>
                <p:cNvSpPr txBox="1"/>
                <p:nvPr userDrawn="1"/>
              </p:nvSpPr>
              <p:spPr>
                <a:xfrm>
                  <a:off x="9471806" y="5300350"/>
                  <a:ext cx="2271204" cy="55399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>
                    <a:spcBef>
                      <a:spcPts val="200"/>
                    </a:spcBef>
                    <a:defRPr sz="9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49225" lvl="1" indent="-149225">
                    <a:spcBef>
                      <a:spcPts val="200"/>
                    </a:spcBef>
                    <a:spcAft>
                      <a:spcPts val="0"/>
                    </a:spcAft>
                    <a:defRPr sz="9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</a:lstStyle>
                <a:p>
                  <a:r>
                    <a:rPr lang="en-US" sz="675"/>
                    <a:t>This template automatically adds paragraph spacing between first-level text paragraphs. When pasting in content, remember to delete any extra blank lines from your text.</a:t>
                  </a:r>
                </a:p>
              </p:txBody>
            </p:sp>
          </p:grpSp>
          <p:grpSp>
            <p:nvGrpSpPr>
              <p:cNvPr id="49" name="Group 48">
                <a:extLst>
                  <a:ext uri="{FF2B5EF4-FFF2-40B4-BE49-F238E27FC236}">
                    <a16:creationId xmlns:a16="http://schemas.microsoft.com/office/drawing/2014/main" id="{942737E0-D794-DF4D-B7C0-6CAEC1A43DF9}"/>
                  </a:ext>
                </a:extLst>
              </p:cNvPr>
              <p:cNvGrpSpPr/>
              <p:nvPr userDrawn="1"/>
            </p:nvGrpSpPr>
            <p:grpSpPr>
              <a:xfrm>
                <a:off x="9833052" y="3569700"/>
                <a:ext cx="2073198" cy="1627918"/>
                <a:chOff x="9833052" y="3617325"/>
                <a:chExt cx="2073198" cy="1627918"/>
              </a:xfrm>
            </p:grpSpPr>
            <p:pic>
              <p:nvPicPr>
                <p:cNvPr id="42" name="Picture 41">
                  <a:extLst>
                    <a:ext uri="{FF2B5EF4-FFF2-40B4-BE49-F238E27FC236}">
                      <a16:creationId xmlns:a16="http://schemas.microsoft.com/office/drawing/2014/main" id="{06E7651E-8190-B943-9721-400134189D67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10075660" y="3617325"/>
                  <a:ext cx="1830590" cy="1627918"/>
                </a:xfrm>
                <a:prstGeom prst="rect">
                  <a:avLst/>
                </a:prstGeom>
              </p:spPr>
            </p:pic>
            <p:cxnSp>
              <p:nvCxnSpPr>
                <p:cNvPr id="44" name="Straight Connector 43">
                  <a:extLst>
                    <a:ext uri="{FF2B5EF4-FFF2-40B4-BE49-F238E27FC236}">
                      <a16:creationId xmlns:a16="http://schemas.microsoft.com/office/drawing/2014/main" id="{6A6779F1-2A60-A14F-9868-14C42F8A7876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0147060" y="3825943"/>
                  <a:ext cx="0" cy="186966"/>
                </a:xfrm>
                <a:prstGeom prst="line">
                  <a:avLst/>
                </a:prstGeom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" name="Straight Connector 45">
                  <a:extLst>
                    <a:ext uri="{FF2B5EF4-FFF2-40B4-BE49-F238E27FC236}">
                      <a16:creationId xmlns:a16="http://schemas.microsoft.com/office/drawing/2014/main" id="{04D2FEFE-94D7-2F4D-B902-718C10873F5D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0147060" y="4714218"/>
                  <a:ext cx="0" cy="186966"/>
                </a:xfrm>
                <a:prstGeom prst="line">
                  <a:avLst/>
                </a:prstGeom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7" name="TextBox 46">
                  <a:extLst>
                    <a:ext uri="{FF2B5EF4-FFF2-40B4-BE49-F238E27FC236}">
                      <a16:creationId xmlns:a16="http://schemas.microsoft.com/office/drawing/2014/main" id="{BFD489AF-FA3E-5644-86FC-3A5B05E7B94F}"/>
                    </a:ext>
                  </a:extLst>
                </p:cNvPr>
                <p:cNvSpPr txBox="1"/>
                <p:nvPr userDrawn="1"/>
              </p:nvSpPr>
              <p:spPr>
                <a:xfrm>
                  <a:off x="9833052" y="3828242"/>
                  <a:ext cx="256480" cy="184665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t">
                  <a:spAutoFit/>
                </a:bodyPr>
                <a:lstStyle/>
                <a:p>
                  <a:pPr algn="r"/>
                  <a:r>
                    <a:rPr lang="en-US" sz="4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Automatic</a:t>
                  </a:r>
                  <a:br>
                    <a:rPr lang="en-US" sz="4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</a:br>
                  <a:r>
                    <a:rPr lang="en-US" sz="4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space</a:t>
                  </a:r>
                </a:p>
              </p:txBody>
            </p:sp>
            <p:sp>
              <p:nvSpPr>
                <p:cNvPr id="48" name="TextBox 47">
                  <a:extLst>
                    <a:ext uri="{FF2B5EF4-FFF2-40B4-BE49-F238E27FC236}">
                      <a16:creationId xmlns:a16="http://schemas.microsoft.com/office/drawing/2014/main" id="{B0708852-B6D4-5043-86A8-0181B47AF502}"/>
                    </a:ext>
                  </a:extLst>
                </p:cNvPr>
                <p:cNvSpPr txBox="1"/>
                <p:nvPr userDrawn="1"/>
              </p:nvSpPr>
              <p:spPr>
                <a:xfrm>
                  <a:off x="9833052" y="4721741"/>
                  <a:ext cx="256480" cy="184665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t">
                  <a:spAutoFit/>
                </a:bodyPr>
                <a:lstStyle/>
                <a:p>
                  <a:pPr algn="r"/>
                  <a:r>
                    <a:rPr lang="en-US" sz="4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Automatic</a:t>
                  </a:r>
                  <a:br>
                    <a:rPr lang="en-US" sz="4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</a:br>
                  <a:r>
                    <a:rPr lang="en-US" sz="4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space</a:t>
                  </a:r>
                </a:p>
              </p:txBody>
            </p:sp>
          </p:grp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D90F7566-5DFC-224D-B550-F17C772A4956}"/>
                </a:ext>
              </a:extLst>
            </p:cNvPr>
            <p:cNvGrpSpPr/>
            <p:nvPr userDrawn="1"/>
          </p:nvGrpSpPr>
          <p:grpSpPr>
            <a:xfrm>
              <a:off x="9558506" y="2409506"/>
              <a:ext cx="2639327" cy="684608"/>
              <a:chOff x="9558506" y="2476806"/>
              <a:chExt cx="2639327" cy="684608"/>
            </a:xfrm>
          </p:grpSpPr>
          <p:pic>
            <p:nvPicPr>
              <p:cNvPr id="3" name="Picture 2">
                <a:extLst>
                  <a:ext uri="{FF2B5EF4-FFF2-40B4-BE49-F238E27FC236}">
                    <a16:creationId xmlns:a16="http://schemas.microsoft.com/office/drawing/2014/main" id="{740B4C7C-60B8-0147-B275-9FA9F934BCF0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6"/>
              <a:srcRect r="23484"/>
              <a:stretch/>
            </p:blipFill>
            <p:spPr>
              <a:xfrm>
                <a:off x="10441172" y="2476806"/>
                <a:ext cx="1756661" cy="684608"/>
              </a:xfrm>
              <a:prstGeom prst="rect">
                <a:avLst/>
              </a:prstGeom>
            </p:spPr>
          </p:pic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F0185F31-1C0F-C84F-82F7-CDE92D5E8462}"/>
                  </a:ext>
                </a:extLst>
              </p:cNvPr>
              <p:cNvSpPr/>
              <p:nvPr userDrawn="1"/>
            </p:nvSpPr>
            <p:spPr>
              <a:xfrm>
                <a:off x="9558506" y="2476806"/>
                <a:ext cx="882666" cy="684608"/>
              </a:xfrm>
              <a:prstGeom prst="rect">
                <a:avLst/>
              </a:prstGeom>
              <a:solidFill>
                <a:schemeClr val="bg2">
                  <a:alpha val="17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AD7D6324-A232-CF4B-A35D-7883E63DC01B}"/>
                  </a:ext>
                </a:extLst>
              </p:cNvPr>
              <p:cNvSpPr txBox="1"/>
              <p:nvPr userDrawn="1"/>
            </p:nvSpPr>
            <p:spPr>
              <a:xfrm>
                <a:off x="9635558" y="2549805"/>
                <a:ext cx="676269" cy="43088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0"/>
                <a:r>
                  <a:rPr lang="en-US" sz="525" kern="120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rPr>
                  <a:t>Note: </a:t>
                </a:r>
                <a:br>
                  <a:rPr lang="en-US" sz="525" kern="120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rPr>
                </a:br>
                <a:r>
                  <a:rPr lang="en-US" sz="525" kern="120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rPr>
                  <a:t>For numbered lists, see the most up-to-date Asset File.</a:t>
                </a:r>
              </a:p>
            </p:txBody>
          </p:sp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0DACB142-1234-41D1-A255-A168CB3FBFEC}"/>
                </a:ext>
              </a:extLst>
            </p:cNvPr>
            <p:cNvGrpSpPr/>
            <p:nvPr userDrawn="1"/>
          </p:nvGrpSpPr>
          <p:grpSpPr>
            <a:xfrm>
              <a:off x="9554253" y="2414886"/>
              <a:ext cx="2819399" cy="1181890"/>
              <a:chOff x="9541498" y="3352649"/>
              <a:chExt cx="2819399" cy="1181890"/>
            </a:xfrm>
          </p:grpSpPr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68589F60-2D66-4B46-AE58-9B3DF45E0D04}"/>
                  </a:ext>
                </a:extLst>
              </p:cNvPr>
              <p:cNvGrpSpPr/>
              <p:nvPr userDrawn="1"/>
            </p:nvGrpSpPr>
            <p:grpSpPr>
              <a:xfrm>
                <a:off x="9541498" y="3352649"/>
                <a:ext cx="2735150" cy="1181890"/>
                <a:chOff x="9541498" y="3751132"/>
                <a:chExt cx="2735150" cy="1181890"/>
              </a:xfrm>
            </p:grpSpPr>
            <p:grpSp>
              <p:nvGrpSpPr>
                <p:cNvPr id="35" name="Group 34">
                  <a:extLst>
                    <a:ext uri="{FF2B5EF4-FFF2-40B4-BE49-F238E27FC236}">
                      <a16:creationId xmlns:a16="http://schemas.microsoft.com/office/drawing/2014/main" id="{2FD0186C-A219-4155-8D46-C05A3751B2ED}"/>
                    </a:ext>
                  </a:extLst>
                </p:cNvPr>
                <p:cNvGrpSpPr/>
                <p:nvPr userDrawn="1"/>
              </p:nvGrpSpPr>
              <p:grpSpPr>
                <a:xfrm>
                  <a:off x="9541498" y="3751132"/>
                  <a:ext cx="2735150" cy="1181890"/>
                  <a:chOff x="9296568" y="4910411"/>
                  <a:chExt cx="2735150" cy="1181890"/>
                </a:xfrm>
              </p:grpSpPr>
              <p:sp>
                <p:nvSpPr>
                  <p:cNvPr id="37" name="Rectangle 36">
                    <a:extLst>
                      <a:ext uri="{FF2B5EF4-FFF2-40B4-BE49-F238E27FC236}">
                        <a16:creationId xmlns:a16="http://schemas.microsoft.com/office/drawing/2014/main" id="{5F54F593-ABB9-4B7D-9C12-B4429591BE5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9296568" y="4910411"/>
                    <a:ext cx="2735150" cy="1181890"/>
                  </a:xfrm>
                  <a:prstGeom prst="rect">
                    <a:avLst/>
                  </a:prstGeom>
                  <a:solidFill>
                    <a:srgbClr val="FFFADF"/>
                  </a:solidFill>
                  <a:ln w="25400">
                    <a:solidFill>
                      <a:schemeClr val="tx1">
                        <a:lumMod val="65000"/>
                        <a:lumOff val="3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50"/>
                  </a:p>
                </p:txBody>
              </p:sp>
              <p:sp>
                <p:nvSpPr>
                  <p:cNvPr id="38" name="TextBox 37">
                    <a:extLst>
                      <a:ext uri="{FF2B5EF4-FFF2-40B4-BE49-F238E27FC236}">
                        <a16:creationId xmlns:a16="http://schemas.microsoft.com/office/drawing/2014/main" id="{A62EE7AD-C4E7-4E65-AECC-33E75355E5A7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662758" y="5046087"/>
                    <a:ext cx="2211394" cy="16927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 algn="l"/>
                    <a:r>
                      <a:rPr lang="en-US" sz="825">
                        <a:solidFill>
                          <a:schemeClr val="accent2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Numbered lists</a:t>
                    </a:r>
                  </a:p>
                </p:txBody>
              </p:sp>
              <p:sp>
                <p:nvSpPr>
                  <p:cNvPr id="40" name="TextBox 39">
                    <a:extLst>
                      <a:ext uri="{FF2B5EF4-FFF2-40B4-BE49-F238E27FC236}">
                        <a16:creationId xmlns:a16="http://schemas.microsoft.com/office/drawing/2014/main" id="{93DB76AE-3F4F-4A19-B966-91F70FF0FAD9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471806" y="5300350"/>
                    <a:ext cx="964050" cy="553998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>
                      <a:spcBef>
                        <a:spcPts val="150"/>
                      </a:spcBef>
                    </a:pPr>
                    <a:r>
                      <a:rPr lang="en-US" sz="675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For instruction on formatting numbered lists, see the most up-to-date Asset File.</a:t>
                    </a:r>
                  </a:p>
                </p:txBody>
              </p:sp>
            </p:grpSp>
            <p:pic>
              <p:nvPicPr>
                <p:cNvPr id="36" name="Graphic 35">
                  <a:extLst>
                    <a:ext uri="{FF2B5EF4-FFF2-40B4-BE49-F238E27FC236}">
                      <a16:creationId xmlns:a16="http://schemas.microsoft.com/office/drawing/2014/main" id="{32568DFB-2F01-47B2-BE59-F2DE9D01499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686425" y="3891259"/>
                  <a:ext cx="170340" cy="170340"/>
                </a:xfrm>
                <a:prstGeom prst="rect">
                  <a:avLst/>
                </a:prstGeom>
              </p:spPr>
            </p:pic>
          </p:grpSp>
          <p:pic>
            <p:nvPicPr>
              <p:cNvPr id="41" name="Picture 40">
                <a:extLst>
                  <a:ext uri="{FF2B5EF4-FFF2-40B4-BE49-F238E27FC236}">
                    <a16:creationId xmlns:a16="http://schemas.microsoft.com/office/drawing/2014/main" id="{29414905-E52D-4947-8B5C-2CE4F2F3689A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6"/>
              <a:srcRect r="30584"/>
              <a:stretch/>
            </p:blipFill>
            <p:spPr>
              <a:xfrm>
                <a:off x="10767220" y="3758285"/>
                <a:ext cx="1593677" cy="684608"/>
              </a:xfrm>
              <a:prstGeom prst="rect">
                <a:avLst/>
              </a:prstGeom>
              <a:solidFill>
                <a:srgbClr val="FFFADF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40919819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Half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A3E7C59C-7AB2-FD4B-9D3E-CA7E0D8CB2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Slide TITLE. ALL CAPS. TWO LINES max.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D7070C02-8D3D-AA4B-B6D3-432E3D380E3C}"/>
              </a:ext>
            </a:extLst>
          </p:cNvPr>
          <p:cNvSpPr>
            <a:spLocks noGrp="1"/>
          </p:cNvSpPr>
          <p:nvPr>
            <p:ph sz="quarter" idx="104" hasCustomPrompt="1"/>
          </p:nvPr>
        </p:nvSpPr>
        <p:spPr>
          <a:xfrm>
            <a:off x="431802" y="925117"/>
            <a:ext cx="4008676" cy="3699272"/>
          </a:xfrm>
        </p:spPr>
        <p:txBody>
          <a:bodyPr/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add text, or use the icon to add a table</a:t>
            </a:r>
          </a:p>
          <a:p>
            <a:pPr lvl="1"/>
            <a:r>
              <a:rPr lang="en-US"/>
              <a:t>Body text (second level)</a:t>
            </a:r>
          </a:p>
          <a:p>
            <a:pPr lvl="2"/>
            <a:r>
              <a:rPr lang="en-US"/>
              <a:t>Square bullet (third level)</a:t>
            </a:r>
          </a:p>
          <a:p>
            <a:pPr lvl="3"/>
            <a:r>
              <a:rPr lang="en-US"/>
              <a:t>Dashed bullet (fourth level)</a:t>
            </a:r>
          </a:p>
          <a:p>
            <a:pPr lvl="4"/>
            <a:r>
              <a:rPr lang="en-US"/>
              <a:t>Dashed bullet (fifth level)</a:t>
            </a:r>
          </a:p>
        </p:txBody>
      </p:sp>
      <p:sp>
        <p:nvSpPr>
          <p:cNvPr id="6" name="Content Placeholder 13">
            <a:extLst>
              <a:ext uri="{FF2B5EF4-FFF2-40B4-BE49-F238E27FC236}">
                <a16:creationId xmlns:a16="http://schemas.microsoft.com/office/drawing/2014/main" id="{D893719C-09E6-8446-95C5-B4FC163CB027}"/>
              </a:ext>
            </a:extLst>
          </p:cNvPr>
          <p:cNvSpPr>
            <a:spLocks noGrp="1"/>
          </p:cNvSpPr>
          <p:nvPr>
            <p:ph sz="quarter" idx="105" hasCustomPrompt="1"/>
          </p:nvPr>
        </p:nvSpPr>
        <p:spPr>
          <a:xfrm>
            <a:off x="4703522" y="925117"/>
            <a:ext cx="4008676" cy="3699272"/>
          </a:xfrm>
        </p:spPr>
        <p:txBody>
          <a:bodyPr/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add text, or use the icon to add a table</a:t>
            </a:r>
          </a:p>
          <a:p>
            <a:pPr lvl="1"/>
            <a:r>
              <a:rPr lang="en-US"/>
              <a:t>Body text (second level)</a:t>
            </a:r>
          </a:p>
          <a:p>
            <a:pPr lvl="2"/>
            <a:r>
              <a:rPr lang="en-US"/>
              <a:t>Square bullet (third level)</a:t>
            </a:r>
          </a:p>
          <a:p>
            <a:pPr lvl="3"/>
            <a:r>
              <a:rPr lang="en-US"/>
              <a:t>Dashed bullet (fourth level)</a:t>
            </a:r>
          </a:p>
          <a:p>
            <a:pPr lvl="4"/>
            <a:r>
              <a:rPr lang="en-US"/>
              <a:t>Dashed bullet (fifth level)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7E28BACC-E012-5845-9150-E5A3C25B9534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800" y="4650581"/>
            <a:ext cx="7440613" cy="379131"/>
          </a:xfrm>
        </p:spPr>
        <p:txBody>
          <a:bodyPr bIns="0" anchor="b"/>
          <a:lstStyle>
            <a:lvl1pPr marL="4763" indent="-1191">
              <a:spcBef>
                <a:spcPts val="56"/>
              </a:spcBef>
              <a:spcAft>
                <a:spcPts val="56"/>
              </a:spcAft>
              <a:buSzPct val="100000"/>
              <a:buFontTx/>
              <a:buNone/>
              <a:tabLst/>
              <a:defRPr sz="825" b="0">
                <a:solidFill>
                  <a:schemeClr val="tx1"/>
                </a:solidFill>
              </a:defRPr>
            </a:lvl1pPr>
            <a:lvl2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¹"/>
              <a:tabLst/>
              <a:defRPr sz="825" b="0" i="0">
                <a:solidFill>
                  <a:schemeClr val="tx1"/>
                </a:solidFill>
              </a:defRPr>
            </a:lvl2pPr>
            <a:lvl3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²"/>
              <a:tabLst/>
              <a:defRPr sz="825">
                <a:solidFill>
                  <a:schemeClr val="tx1"/>
                </a:solidFill>
              </a:defRPr>
            </a:lvl3pPr>
            <a:lvl4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³"/>
              <a:tabLst/>
              <a:defRPr sz="825">
                <a:solidFill>
                  <a:schemeClr val="tx1"/>
                </a:solidFill>
              </a:defRPr>
            </a:lvl4pPr>
            <a:lvl5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⁴"/>
              <a:tabLst/>
              <a:defRPr sz="825">
                <a:solidFill>
                  <a:schemeClr val="tx1"/>
                </a:solidFill>
              </a:defRPr>
            </a:lvl5pPr>
            <a:lvl6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⁵"/>
              <a:tabLst/>
              <a:defRPr sz="825">
                <a:solidFill>
                  <a:schemeClr val="tx1"/>
                </a:solidFill>
              </a:defRPr>
            </a:lvl6pPr>
            <a:lvl7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⁶"/>
              <a:tabLst/>
              <a:defRPr sz="825">
                <a:solidFill>
                  <a:schemeClr val="tx1"/>
                </a:solidFill>
              </a:defRPr>
            </a:lvl7pPr>
            <a:lvl8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⁷"/>
              <a:tabLst/>
              <a:defRPr sz="825">
                <a:solidFill>
                  <a:schemeClr val="tx1"/>
                </a:solidFill>
              </a:defRPr>
            </a:lvl8pPr>
            <a:lvl9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⁸"/>
              <a:tabLst/>
              <a:defRPr sz="825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/>
              <a:t>Footnotes – Levels 2-9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AB1449A-BA8C-D548-BDE3-4E5DB13EB4C8}"/>
              </a:ext>
            </a:extLst>
          </p:cNvPr>
          <p:cNvSpPr>
            <a:spLocks noGrp="1"/>
          </p:cNvSpPr>
          <p:nvPr userDrawn="1">
            <p:ph type="dt" sz="half" idx="10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94ECBB0-4C58-4248-88F3-5F92A8649EA9}"/>
              </a:ext>
            </a:extLst>
          </p:cNvPr>
          <p:cNvSpPr>
            <a:spLocks noGrp="1"/>
          </p:cNvSpPr>
          <p:nvPr userDrawn="1">
            <p:ph type="ftr" sz="quarter" idx="10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4418348-A4D7-7641-8A84-204A8DF8E9D7}"/>
              </a:ext>
            </a:extLst>
          </p:cNvPr>
          <p:cNvSpPr>
            <a:spLocks noGrp="1"/>
          </p:cNvSpPr>
          <p:nvPr userDrawn="1">
            <p:ph type="sldNum" sz="quarter" idx="108"/>
          </p:nvPr>
        </p:nvSpPr>
        <p:spPr/>
        <p:txBody>
          <a:bodyPr/>
          <a:lstStyle/>
          <a:p>
            <a:pPr marL="9525"/>
            <a:fld id="{078C017C-E1B9-8443-B047-B08AAA027B45}" type="slidenum">
              <a:rPr lang="en-US" smtClean="0"/>
              <a:pPr marL="9525"/>
              <a:t>‹#›</a:t>
            </a:fld>
            <a:endParaRPr lang="en-US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BC7FC7CE-B15F-F745-8154-60A1C696F9B7}"/>
              </a:ext>
            </a:extLst>
          </p:cNvPr>
          <p:cNvGrpSpPr/>
          <p:nvPr userDrawn="1"/>
        </p:nvGrpSpPr>
        <p:grpSpPr>
          <a:xfrm>
            <a:off x="9399182" y="1"/>
            <a:ext cx="2974470" cy="5143496"/>
            <a:chOff x="9399182" y="0"/>
            <a:chExt cx="2974470" cy="6857995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8A847F87-2150-EA49-BACD-C88E74E36228}"/>
                </a:ext>
              </a:extLst>
            </p:cNvPr>
            <p:cNvSpPr/>
            <p:nvPr userDrawn="1"/>
          </p:nvSpPr>
          <p:spPr>
            <a:xfrm>
              <a:off x="9399182" y="0"/>
              <a:ext cx="2798651" cy="685799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050"/>
            </a:p>
          </p:txBody>
        </p:sp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B84786FF-44DA-8942-AB70-199CB8C73FB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41694"/>
            <a:stretch/>
          </p:blipFill>
          <p:spPr>
            <a:xfrm>
              <a:off x="9558506" y="1322104"/>
              <a:ext cx="2639328" cy="995540"/>
            </a:xfrm>
            <a:prstGeom prst="rect">
              <a:avLst/>
            </a:prstGeom>
          </p:spPr>
        </p:pic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1246D9CC-B5D1-9141-A99F-B466C0533950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3EE65CCC-707A-BC48-BAF5-F4FFCCAB75FD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4A238499-0695-AA45-AE43-E6D4AD9610FC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1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94" name="Picture 93">
                <a:extLst>
                  <a:ext uri="{FF2B5EF4-FFF2-40B4-BE49-F238E27FC236}">
                    <a16:creationId xmlns:a16="http://schemas.microsoft.com/office/drawing/2014/main" id="{981EAC90-1E7B-0348-8A3C-9AD9FAF0B4B1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23779B09-2A6B-C747-8C57-F1F407A4B659}"/>
                </a:ext>
              </a:extLst>
            </p:cNvPr>
            <p:cNvGrpSpPr/>
            <p:nvPr userDrawn="1"/>
          </p:nvGrpSpPr>
          <p:grpSpPr>
            <a:xfrm>
              <a:off x="9558507" y="1119891"/>
              <a:ext cx="2639328" cy="202617"/>
              <a:chOff x="9303325" y="149270"/>
              <a:chExt cx="2639328" cy="202617"/>
            </a:xfrm>
          </p:grpSpPr>
          <p:sp>
            <p:nvSpPr>
              <p:cNvPr id="90" name="TextBox 89">
                <a:extLst>
                  <a:ext uri="{FF2B5EF4-FFF2-40B4-BE49-F238E27FC236}">
                    <a16:creationId xmlns:a16="http://schemas.microsoft.com/office/drawing/2014/main" id="{87C1A6A5-EE75-EB45-8D57-7B217603478E}"/>
                  </a:ext>
                </a:extLst>
              </p:cNvPr>
              <p:cNvSpPr txBox="1"/>
              <p:nvPr userDrawn="1"/>
            </p:nvSpPr>
            <p:spPr>
              <a:xfrm>
                <a:off x="9303325" y="149270"/>
                <a:ext cx="1670329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sz="825">
                    <a:solidFill>
                      <a:schemeClr val="bg1"/>
                    </a:solidFill>
                  </a:rPr>
                  <a:t>TEXT FORMATS IN THIS LAYOUT</a:t>
                </a:r>
              </a:p>
            </p:txBody>
          </p: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38172E64-DDB3-014D-9BB1-603E952617C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303325" y="351887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ECEE6EB4-DE30-514B-B6A3-3CF197624EFC}"/>
                </a:ext>
              </a:extLst>
            </p:cNvPr>
            <p:cNvGrpSpPr/>
            <p:nvPr userDrawn="1"/>
          </p:nvGrpSpPr>
          <p:grpSpPr>
            <a:xfrm>
              <a:off x="9554253" y="3678850"/>
              <a:ext cx="2735151" cy="2655095"/>
              <a:chOff x="9541497" y="2555080"/>
              <a:chExt cx="2735151" cy="2655095"/>
            </a:xfrm>
          </p:grpSpPr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E539A361-27B7-D34B-A5DC-F58AB8141554}"/>
                  </a:ext>
                </a:extLst>
              </p:cNvPr>
              <p:cNvGrpSpPr/>
              <p:nvPr userDrawn="1"/>
            </p:nvGrpSpPr>
            <p:grpSpPr>
              <a:xfrm>
                <a:off x="9541497" y="2555080"/>
                <a:ext cx="2735151" cy="2655095"/>
                <a:chOff x="9296567" y="4910411"/>
                <a:chExt cx="2735151" cy="2655095"/>
              </a:xfrm>
            </p:grpSpPr>
            <p:sp>
              <p:nvSpPr>
                <p:cNvPr id="86" name="Rectangle 85">
                  <a:extLst>
                    <a:ext uri="{FF2B5EF4-FFF2-40B4-BE49-F238E27FC236}">
                      <a16:creationId xmlns:a16="http://schemas.microsoft.com/office/drawing/2014/main" id="{E44AAA1A-A914-804E-98F6-7D89DE0BB22D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265509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  <p:sp>
              <p:nvSpPr>
                <p:cNvPr id="87" name="TextBox 86">
                  <a:extLst>
                    <a:ext uri="{FF2B5EF4-FFF2-40B4-BE49-F238E27FC236}">
                      <a16:creationId xmlns:a16="http://schemas.microsoft.com/office/drawing/2014/main" id="{C0F5BD81-802D-0E4D-A7B0-7F7C27BE43B6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8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Automatic paragraph spacing</a:t>
                  </a:r>
                </a:p>
              </p:txBody>
            </p:sp>
            <p:pic>
              <p:nvPicPr>
                <p:cNvPr id="88" name="Graphic 87">
                  <a:extLst>
                    <a:ext uri="{FF2B5EF4-FFF2-40B4-BE49-F238E27FC236}">
                      <a16:creationId xmlns:a16="http://schemas.microsoft.com/office/drawing/2014/main" id="{A7FCA15E-0B61-1A42-A94F-23368608B9D4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89" name="TextBox 88">
                  <a:extLst>
                    <a:ext uri="{FF2B5EF4-FFF2-40B4-BE49-F238E27FC236}">
                      <a16:creationId xmlns:a16="http://schemas.microsoft.com/office/drawing/2014/main" id="{A7EA1EAA-12F2-004D-A670-BFF2541E281C}"/>
                    </a:ext>
                  </a:extLst>
                </p:cNvPr>
                <p:cNvSpPr txBox="1"/>
                <p:nvPr userDrawn="1"/>
              </p:nvSpPr>
              <p:spPr>
                <a:xfrm>
                  <a:off x="9471806" y="5300350"/>
                  <a:ext cx="2271204" cy="55399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>
                    <a:spcBef>
                      <a:spcPts val="200"/>
                    </a:spcBef>
                    <a:defRPr sz="9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49225" lvl="1" indent="-149225">
                    <a:spcBef>
                      <a:spcPts val="200"/>
                    </a:spcBef>
                    <a:spcAft>
                      <a:spcPts val="0"/>
                    </a:spcAft>
                    <a:defRPr sz="9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</a:lstStyle>
                <a:p>
                  <a:r>
                    <a:rPr lang="en-US" sz="675"/>
                    <a:t>This template automatically adds paragraph spacing between first-level text paragraphs. When pasting in content, remember to delete any extra blank lines from your text.</a:t>
                  </a:r>
                </a:p>
              </p:txBody>
            </p:sp>
          </p:grpSp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6E685023-D799-A446-B8B0-A1B4CC6EBF17}"/>
                  </a:ext>
                </a:extLst>
              </p:cNvPr>
              <p:cNvGrpSpPr/>
              <p:nvPr userDrawn="1"/>
            </p:nvGrpSpPr>
            <p:grpSpPr>
              <a:xfrm>
                <a:off x="9833052" y="3569700"/>
                <a:ext cx="2073198" cy="1627918"/>
                <a:chOff x="9833052" y="3617325"/>
                <a:chExt cx="2073198" cy="1627918"/>
              </a:xfrm>
            </p:grpSpPr>
            <p:pic>
              <p:nvPicPr>
                <p:cNvPr id="55" name="Picture 54">
                  <a:extLst>
                    <a:ext uri="{FF2B5EF4-FFF2-40B4-BE49-F238E27FC236}">
                      <a16:creationId xmlns:a16="http://schemas.microsoft.com/office/drawing/2014/main" id="{014C2F62-0D18-A443-8AAC-9A6BAC77A72E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10075660" y="3617325"/>
                  <a:ext cx="1830590" cy="1627918"/>
                </a:xfrm>
                <a:prstGeom prst="rect">
                  <a:avLst/>
                </a:prstGeom>
              </p:spPr>
            </p:pic>
            <p:cxnSp>
              <p:nvCxnSpPr>
                <p:cNvPr id="56" name="Straight Connector 55">
                  <a:extLst>
                    <a:ext uri="{FF2B5EF4-FFF2-40B4-BE49-F238E27FC236}">
                      <a16:creationId xmlns:a16="http://schemas.microsoft.com/office/drawing/2014/main" id="{89C34461-EDC8-EB46-B055-2D682CC58AE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0147060" y="3825943"/>
                  <a:ext cx="0" cy="186966"/>
                </a:xfrm>
                <a:prstGeom prst="line">
                  <a:avLst/>
                </a:prstGeom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3" name="Straight Connector 82">
                  <a:extLst>
                    <a:ext uri="{FF2B5EF4-FFF2-40B4-BE49-F238E27FC236}">
                      <a16:creationId xmlns:a16="http://schemas.microsoft.com/office/drawing/2014/main" id="{1763CD67-A109-A648-846D-0CBD5489CFB0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0147060" y="4714218"/>
                  <a:ext cx="0" cy="186966"/>
                </a:xfrm>
                <a:prstGeom prst="line">
                  <a:avLst/>
                </a:prstGeom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4" name="TextBox 83">
                  <a:extLst>
                    <a:ext uri="{FF2B5EF4-FFF2-40B4-BE49-F238E27FC236}">
                      <a16:creationId xmlns:a16="http://schemas.microsoft.com/office/drawing/2014/main" id="{5332DBA4-4E50-364A-B42D-7EDC1A5B2469}"/>
                    </a:ext>
                  </a:extLst>
                </p:cNvPr>
                <p:cNvSpPr txBox="1"/>
                <p:nvPr userDrawn="1"/>
              </p:nvSpPr>
              <p:spPr>
                <a:xfrm>
                  <a:off x="9833052" y="3828242"/>
                  <a:ext cx="256480" cy="184665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t">
                  <a:spAutoFit/>
                </a:bodyPr>
                <a:lstStyle/>
                <a:p>
                  <a:pPr algn="r"/>
                  <a:r>
                    <a:rPr lang="en-US" sz="4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Automatic</a:t>
                  </a:r>
                  <a:br>
                    <a:rPr lang="en-US" sz="4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</a:br>
                  <a:r>
                    <a:rPr lang="en-US" sz="4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space</a:t>
                  </a:r>
                </a:p>
              </p:txBody>
            </p:sp>
            <p:sp>
              <p:nvSpPr>
                <p:cNvPr id="85" name="TextBox 84">
                  <a:extLst>
                    <a:ext uri="{FF2B5EF4-FFF2-40B4-BE49-F238E27FC236}">
                      <a16:creationId xmlns:a16="http://schemas.microsoft.com/office/drawing/2014/main" id="{DFDB09D6-5413-4249-98C0-1E8BC9A27D29}"/>
                    </a:ext>
                  </a:extLst>
                </p:cNvPr>
                <p:cNvSpPr txBox="1"/>
                <p:nvPr userDrawn="1"/>
              </p:nvSpPr>
              <p:spPr>
                <a:xfrm>
                  <a:off x="9833052" y="4721741"/>
                  <a:ext cx="256480" cy="184665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t">
                  <a:spAutoFit/>
                </a:bodyPr>
                <a:lstStyle/>
                <a:p>
                  <a:pPr algn="r"/>
                  <a:r>
                    <a:rPr lang="en-US" sz="4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Automatic</a:t>
                  </a:r>
                  <a:br>
                    <a:rPr lang="en-US" sz="4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</a:br>
                  <a:r>
                    <a:rPr lang="en-US" sz="4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space</a:t>
                  </a:r>
                </a:p>
              </p:txBody>
            </p:sp>
          </p:grp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99F8CE38-B0AB-984C-BF06-16DD7A8FA458}"/>
                </a:ext>
              </a:extLst>
            </p:cNvPr>
            <p:cNvGrpSpPr/>
            <p:nvPr userDrawn="1"/>
          </p:nvGrpSpPr>
          <p:grpSpPr>
            <a:xfrm>
              <a:off x="9558506" y="2409506"/>
              <a:ext cx="2639327" cy="684608"/>
              <a:chOff x="9558506" y="2476806"/>
              <a:chExt cx="2639327" cy="684608"/>
            </a:xfrm>
          </p:grpSpPr>
          <p:pic>
            <p:nvPicPr>
              <p:cNvPr id="50" name="Picture 49">
                <a:extLst>
                  <a:ext uri="{FF2B5EF4-FFF2-40B4-BE49-F238E27FC236}">
                    <a16:creationId xmlns:a16="http://schemas.microsoft.com/office/drawing/2014/main" id="{F61BB896-8775-B54F-BD43-80E54D657CF3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6"/>
              <a:srcRect r="23484"/>
              <a:stretch/>
            </p:blipFill>
            <p:spPr>
              <a:xfrm>
                <a:off x="10441172" y="2476806"/>
                <a:ext cx="1756661" cy="684608"/>
              </a:xfrm>
              <a:prstGeom prst="rect">
                <a:avLst/>
              </a:prstGeom>
            </p:spPr>
          </p:pic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77532585-4CE3-144A-AC32-AC8F9F388B1F}"/>
                  </a:ext>
                </a:extLst>
              </p:cNvPr>
              <p:cNvSpPr/>
              <p:nvPr userDrawn="1"/>
            </p:nvSpPr>
            <p:spPr>
              <a:xfrm>
                <a:off x="9558506" y="2476806"/>
                <a:ext cx="882666" cy="684608"/>
              </a:xfrm>
              <a:prstGeom prst="rect">
                <a:avLst/>
              </a:prstGeom>
              <a:solidFill>
                <a:schemeClr val="bg2">
                  <a:alpha val="17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20A5AF3B-C55E-884F-BD62-37B268182CF4}"/>
                  </a:ext>
                </a:extLst>
              </p:cNvPr>
              <p:cNvSpPr txBox="1"/>
              <p:nvPr userDrawn="1"/>
            </p:nvSpPr>
            <p:spPr>
              <a:xfrm>
                <a:off x="9635558" y="2549805"/>
                <a:ext cx="676269" cy="43088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0"/>
                <a:r>
                  <a:rPr lang="en-US" sz="525" kern="120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rPr>
                  <a:t>Note: </a:t>
                </a:r>
                <a:br>
                  <a:rPr lang="en-US" sz="525" kern="120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rPr>
                </a:br>
                <a:r>
                  <a:rPr lang="en-US" sz="525" kern="120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rPr>
                  <a:t>For numbered lists, see the most up-to-date Asset File.</a:t>
                </a:r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EF138706-C32E-8B49-8A86-C08263C6034E}"/>
                </a:ext>
              </a:extLst>
            </p:cNvPr>
            <p:cNvGrpSpPr/>
            <p:nvPr userDrawn="1"/>
          </p:nvGrpSpPr>
          <p:grpSpPr>
            <a:xfrm>
              <a:off x="9554253" y="2414886"/>
              <a:ext cx="2819399" cy="1181890"/>
              <a:chOff x="9541498" y="3352649"/>
              <a:chExt cx="2819399" cy="1181890"/>
            </a:xfrm>
          </p:grpSpPr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C3A738B4-E773-1349-ACD6-77F632243404}"/>
                  </a:ext>
                </a:extLst>
              </p:cNvPr>
              <p:cNvGrpSpPr/>
              <p:nvPr userDrawn="1"/>
            </p:nvGrpSpPr>
            <p:grpSpPr>
              <a:xfrm>
                <a:off x="9541498" y="3352649"/>
                <a:ext cx="2735150" cy="1181890"/>
                <a:chOff x="9541498" y="3751132"/>
                <a:chExt cx="2735150" cy="1181890"/>
              </a:xfrm>
            </p:grpSpPr>
            <p:grpSp>
              <p:nvGrpSpPr>
                <p:cNvPr id="45" name="Group 44">
                  <a:extLst>
                    <a:ext uri="{FF2B5EF4-FFF2-40B4-BE49-F238E27FC236}">
                      <a16:creationId xmlns:a16="http://schemas.microsoft.com/office/drawing/2014/main" id="{EB49EA4A-5705-D54A-B343-E9468BB70060}"/>
                    </a:ext>
                  </a:extLst>
                </p:cNvPr>
                <p:cNvGrpSpPr/>
                <p:nvPr userDrawn="1"/>
              </p:nvGrpSpPr>
              <p:grpSpPr>
                <a:xfrm>
                  <a:off x="9541498" y="3751132"/>
                  <a:ext cx="2735150" cy="1181890"/>
                  <a:chOff x="9296568" y="4910411"/>
                  <a:chExt cx="2735150" cy="1181890"/>
                </a:xfrm>
              </p:grpSpPr>
              <p:sp>
                <p:nvSpPr>
                  <p:cNvPr id="47" name="Rectangle 46">
                    <a:extLst>
                      <a:ext uri="{FF2B5EF4-FFF2-40B4-BE49-F238E27FC236}">
                        <a16:creationId xmlns:a16="http://schemas.microsoft.com/office/drawing/2014/main" id="{7034A0E3-E3C6-D747-A54F-AB0BDA44AF9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9296568" y="4910411"/>
                    <a:ext cx="2735150" cy="1181890"/>
                  </a:xfrm>
                  <a:prstGeom prst="rect">
                    <a:avLst/>
                  </a:prstGeom>
                  <a:solidFill>
                    <a:srgbClr val="FFFADF"/>
                  </a:solidFill>
                  <a:ln w="25400">
                    <a:solidFill>
                      <a:schemeClr val="tx1">
                        <a:lumMod val="65000"/>
                        <a:lumOff val="3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50"/>
                  </a:p>
                </p:txBody>
              </p:sp>
              <p:sp>
                <p:nvSpPr>
                  <p:cNvPr id="48" name="TextBox 47">
                    <a:extLst>
                      <a:ext uri="{FF2B5EF4-FFF2-40B4-BE49-F238E27FC236}">
                        <a16:creationId xmlns:a16="http://schemas.microsoft.com/office/drawing/2014/main" id="{E4772BEC-83FF-0347-84F5-613E17F42F3F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662758" y="5046087"/>
                    <a:ext cx="2211394" cy="16927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 algn="l"/>
                    <a:r>
                      <a:rPr lang="en-US" sz="825">
                        <a:solidFill>
                          <a:schemeClr val="accent2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Numbered lists</a:t>
                    </a:r>
                  </a:p>
                </p:txBody>
              </p:sp>
              <p:sp>
                <p:nvSpPr>
                  <p:cNvPr id="49" name="TextBox 48">
                    <a:extLst>
                      <a:ext uri="{FF2B5EF4-FFF2-40B4-BE49-F238E27FC236}">
                        <a16:creationId xmlns:a16="http://schemas.microsoft.com/office/drawing/2014/main" id="{71AC6B17-22B5-BE49-9E2E-28CC5DEC0748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471806" y="5300350"/>
                    <a:ext cx="964050" cy="553998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>
                      <a:spcBef>
                        <a:spcPts val="150"/>
                      </a:spcBef>
                    </a:pPr>
                    <a:r>
                      <a:rPr lang="en-US" sz="675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For instruction on formatting numbered lists, see the most up-to-date Asset File.</a:t>
                    </a:r>
                  </a:p>
                </p:txBody>
              </p:sp>
            </p:grpSp>
            <p:pic>
              <p:nvPicPr>
                <p:cNvPr id="46" name="Graphic 45">
                  <a:extLst>
                    <a:ext uri="{FF2B5EF4-FFF2-40B4-BE49-F238E27FC236}">
                      <a16:creationId xmlns:a16="http://schemas.microsoft.com/office/drawing/2014/main" id="{10C7229D-CD30-0341-A496-C567041270E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686425" y="3891259"/>
                  <a:ext cx="170340" cy="170340"/>
                </a:xfrm>
                <a:prstGeom prst="rect">
                  <a:avLst/>
                </a:prstGeom>
              </p:spPr>
            </p:pic>
          </p:grpSp>
          <p:pic>
            <p:nvPicPr>
              <p:cNvPr id="44" name="Picture 43">
                <a:extLst>
                  <a:ext uri="{FF2B5EF4-FFF2-40B4-BE49-F238E27FC236}">
                    <a16:creationId xmlns:a16="http://schemas.microsoft.com/office/drawing/2014/main" id="{BA66D612-22B5-4045-8D31-CFB640573F91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6"/>
              <a:srcRect r="30584"/>
              <a:stretch/>
            </p:blipFill>
            <p:spPr>
              <a:xfrm>
                <a:off x="10767220" y="3758285"/>
                <a:ext cx="1593677" cy="684608"/>
              </a:xfrm>
              <a:prstGeom prst="rect">
                <a:avLst/>
              </a:prstGeom>
              <a:solidFill>
                <a:srgbClr val="FFFADF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40521308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1/3 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A3E7C59C-7AB2-FD4B-9D3E-CA7E0D8CB2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Slide TITLE. ALL CAPS. TWO LINES max.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D7070C02-8D3D-AA4B-B6D3-432E3D380E3C}"/>
              </a:ext>
            </a:extLst>
          </p:cNvPr>
          <p:cNvSpPr>
            <a:spLocks noGrp="1"/>
          </p:cNvSpPr>
          <p:nvPr>
            <p:ph sz="quarter" idx="104" hasCustomPrompt="1"/>
          </p:nvPr>
        </p:nvSpPr>
        <p:spPr>
          <a:xfrm>
            <a:off x="431782" y="925117"/>
            <a:ext cx="2624396" cy="3699272"/>
          </a:xfrm>
        </p:spPr>
        <p:txBody>
          <a:bodyPr/>
          <a:lstStyle/>
          <a:p>
            <a:pPr lvl="0"/>
            <a:r>
              <a:rPr lang="en-US"/>
              <a:t>Click to add text, or use the icon to add a table</a:t>
            </a:r>
          </a:p>
          <a:p>
            <a:pPr lvl="1"/>
            <a:r>
              <a:rPr lang="en-US"/>
              <a:t>Body text (second level)</a:t>
            </a:r>
          </a:p>
          <a:p>
            <a:pPr lvl="2"/>
            <a:r>
              <a:rPr lang="en-US"/>
              <a:t>Square bullet (third level)</a:t>
            </a:r>
          </a:p>
          <a:p>
            <a:pPr lvl="3"/>
            <a:r>
              <a:rPr lang="en-US"/>
              <a:t>Dashed bullet (fourth level)</a:t>
            </a:r>
          </a:p>
          <a:p>
            <a:pPr lvl="4"/>
            <a:r>
              <a:rPr lang="en-US"/>
              <a:t>Dashed bullet (fifth level)</a:t>
            </a:r>
          </a:p>
        </p:txBody>
      </p:sp>
      <p:sp>
        <p:nvSpPr>
          <p:cNvPr id="6" name="Content Placeholder 13">
            <a:extLst>
              <a:ext uri="{FF2B5EF4-FFF2-40B4-BE49-F238E27FC236}">
                <a16:creationId xmlns:a16="http://schemas.microsoft.com/office/drawing/2014/main" id="{D893719C-09E6-8446-95C5-B4FC163CB027}"/>
              </a:ext>
            </a:extLst>
          </p:cNvPr>
          <p:cNvSpPr>
            <a:spLocks noGrp="1"/>
          </p:cNvSpPr>
          <p:nvPr>
            <p:ph sz="quarter" idx="105" hasCustomPrompt="1"/>
          </p:nvPr>
        </p:nvSpPr>
        <p:spPr>
          <a:xfrm>
            <a:off x="3319222" y="925117"/>
            <a:ext cx="5392978" cy="3699272"/>
          </a:xfrm>
        </p:spPr>
        <p:txBody>
          <a:bodyPr/>
          <a:lstStyle/>
          <a:p>
            <a:pPr lvl="0"/>
            <a:r>
              <a:rPr lang="en-US"/>
              <a:t>Click to add text, or use the icon to add a table</a:t>
            </a:r>
          </a:p>
          <a:p>
            <a:pPr lvl="1"/>
            <a:r>
              <a:rPr lang="en-US"/>
              <a:t>Body text (second level)</a:t>
            </a:r>
          </a:p>
          <a:p>
            <a:pPr lvl="2"/>
            <a:r>
              <a:rPr lang="en-US"/>
              <a:t>Square bullet (third level)</a:t>
            </a:r>
          </a:p>
          <a:p>
            <a:pPr lvl="3"/>
            <a:r>
              <a:rPr lang="en-US"/>
              <a:t>Dashed bullet (fourth level)</a:t>
            </a:r>
          </a:p>
          <a:p>
            <a:pPr lvl="4"/>
            <a:r>
              <a:rPr lang="en-US"/>
              <a:t>Dashed bullet (fifth level)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62E1D57E-789F-C049-AE21-2FFE596AF372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800" y="4650581"/>
            <a:ext cx="7440613" cy="379131"/>
          </a:xfrm>
        </p:spPr>
        <p:txBody>
          <a:bodyPr bIns="0" anchor="b"/>
          <a:lstStyle>
            <a:lvl1pPr marL="4763" indent="-1191">
              <a:spcBef>
                <a:spcPts val="56"/>
              </a:spcBef>
              <a:spcAft>
                <a:spcPts val="56"/>
              </a:spcAft>
              <a:buSzPct val="100000"/>
              <a:buFontTx/>
              <a:buNone/>
              <a:tabLst/>
              <a:defRPr sz="825" b="0">
                <a:solidFill>
                  <a:schemeClr val="tx1"/>
                </a:solidFill>
              </a:defRPr>
            </a:lvl1pPr>
            <a:lvl2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¹"/>
              <a:tabLst/>
              <a:defRPr sz="825" b="0" i="0">
                <a:solidFill>
                  <a:schemeClr val="tx1"/>
                </a:solidFill>
              </a:defRPr>
            </a:lvl2pPr>
            <a:lvl3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²"/>
              <a:tabLst/>
              <a:defRPr sz="825">
                <a:solidFill>
                  <a:schemeClr val="tx1"/>
                </a:solidFill>
              </a:defRPr>
            </a:lvl3pPr>
            <a:lvl4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³"/>
              <a:tabLst/>
              <a:defRPr sz="825">
                <a:solidFill>
                  <a:schemeClr val="tx1"/>
                </a:solidFill>
              </a:defRPr>
            </a:lvl4pPr>
            <a:lvl5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⁴"/>
              <a:tabLst/>
              <a:defRPr sz="825">
                <a:solidFill>
                  <a:schemeClr val="tx1"/>
                </a:solidFill>
              </a:defRPr>
            </a:lvl5pPr>
            <a:lvl6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⁵"/>
              <a:tabLst/>
              <a:defRPr sz="825">
                <a:solidFill>
                  <a:schemeClr val="tx1"/>
                </a:solidFill>
              </a:defRPr>
            </a:lvl6pPr>
            <a:lvl7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⁶"/>
              <a:tabLst/>
              <a:defRPr sz="825">
                <a:solidFill>
                  <a:schemeClr val="tx1"/>
                </a:solidFill>
              </a:defRPr>
            </a:lvl7pPr>
            <a:lvl8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⁷"/>
              <a:tabLst/>
              <a:defRPr sz="825">
                <a:solidFill>
                  <a:schemeClr val="tx1"/>
                </a:solidFill>
              </a:defRPr>
            </a:lvl8pPr>
            <a:lvl9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⁸"/>
              <a:tabLst/>
              <a:defRPr sz="825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/>
              <a:t>Footnotes – Levels 2-9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52187D9-7A64-FD43-ADB5-4358998A306C}"/>
              </a:ext>
            </a:extLst>
          </p:cNvPr>
          <p:cNvSpPr>
            <a:spLocks noGrp="1"/>
          </p:cNvSpPr>
          <p:nvPr>
            <p:ph type="dt" sz="half" idx="10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8C3426B-A824-D843-A346-B1AED40F1EE6}"/>
              </a:ext>
            </a:extLst>
          </p:cNvPr>
          <p:cNvSpPr>
            <a:spLocks noGrp="1"/>
          </p:cNvSpPr>
          <p:nvPr>
            <p:ph type="ftr" sz="quarter" idx="10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9EF4742-1840-4A4C-9C79-0ABDE7122DD2}"/>
              </a:ext>
            </a:extLst>
          </p:cNvPr>
          <p:cNvSpPr>
            <a:spLocks noGrp="1"/>
          </p:cNvSpPr>
          <p:nvPr>
            <p:ph type="sldNum" sz="quarter" idx="108"/>
          </p:nvPr>
        </p:nvSpPr>
        <p:spPr/>
        <p:txBody>
          <a:bodyPr/>
          <a:lstStyle/>
          <a:p>
            <a:pPr marL="9525"/>
            <a:fld id="{078C017C-E1B9-8443-B047-B08AAA027B45}" type="slidenum">
              <a:rPr lang="en-US" smtClean="0"/>
              <a:pPr marL="9525"/>
              <a:t>‹#›</a:t>
            </a:fld>
            <a:endParaRPr lang="en-US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902E2498-FF17-AD4D-A16F-D0555843F7FF}"/>
              </a:ext>
            </a:extLst>
          </p:cNvPr>
          <p:cNvGrpSpPr/>
          <p:nvPr userDrawn="1"/>
        </p:nvGrpSpPr>
        <p:grpSpPr>
          <a:xfrm>
            <a:off x="9399182" y="1"/>
            <a:ext cx="2974470" cy="5143496"/>
            <a:chOff x="9399182" y="0"/>
            <a:chExt cx="2974470" cy="6857995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F5F50887-8E70-CC4F-AFF3-470F73E7BC52}"/>
                </a:ext>
              </a:extLst>
            </p:cNvPr>
            <p:cNvSpPr/>
            <p:nvPr userDrawn="1"/>
          </p:nvSpPr>
          <p:spPr>
            <a:xfrm>
              <a:off x="9399182" y="0"/>
              <a:ext cx="2798651" cy="685799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050"/>
            </a:p>
          </p:txBody>
        </p:sp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FC0C9224-1E37-2F47-BE66-AAF75896A7C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41694"/>
            <a:stretch/>
          </p:blipFill>
          <p:spPr>
            <a:xfrm>
              <a:off x="9558506" y="1322104"/>
              <a:ext cx="2639328" cy="995540"/>
            </a:xfrm>
            <a:prstGeom prst="rect">
              <a:avLst/>
            </a:prstGeom>
          </p:spPr>
        </p:pic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6FD959D5-EFA2-5E49-83C2-CEDE37065FA6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5D2F6A44-5F00-9545-A4B1-A0061FAE7EC9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C1984AA3-39E3-1C43-94A9-34B5E13FF32E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1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94" name="Picture 93">
                <a:extLst>
                  <a:ext uri="{FF2B5EF4-FFF2-40B4-BE49-F238E27FC236}">
                    <a16:creationId xmlns:a16="http://schemas.microsoft.com/office/drawing/2014/main" id="{5235A41A-9B24-9F4B-BF59-14675BCD0599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A3477A72-0C5E-0043-8585-DDE93406C932}"/>
                </a:ext>
              </a:extLst>
            </p:cNvPr>
            <p:cNvGrpSpPr/>
            <p:nvPr userDrawn="1"/>
          </p:nvGrpSpPr>
          <p:grpSpPr>
            <a:xfrm>
              <a:off x="9558507" y="1119891"/>
              <a:ext cx="2639328" cy="202617"/>
              <a:chOff x="9303325" y="149270"/>
              <a:chExt cx="2639328" cy="202617"/>
            </a:xfrm>
          </p:grpSpPr>
          <p:sp>
            <p:nvSpPr>
              <p:cNvPr id="90" name="TextBox 89">
                <a:extLst>
                  <a:ext uri="{FF2B5EF4-FFF2-40B4-BE49-F238E27FC236}">
                    <a16:creationId xmlns:a16="http://schemas.microsoft.com/office/drawing/2014/main" id="{E62F6452-A2BE-7C46-A9CC-5C38489C5CE5}"/>
                  </a:ext>
                </a:extLst>
              </p:cNvPr>
              <p:cNvSpPr txBox="1"/>
              <p:nvPr userDrawn="1"/>
            </p:nvSpPr>
            <p:spPr>
              <a:xfrm>
                <a:off x="9303325" y="149270"/>
                <a:ext cx="1670329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sz="825">
                    <a:solidFill>
                      <a:schemeClr val="bg1"/>
                    </a:solidFill>
                  </a:rPr>
                  <a:t>TEXT FORMATS IN THIS LAYOUT</a:t>
                </a:r>
              </a:p>
            </p:txBody>
          </p: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18AD7F99-B11F-D249-9E19-51930334CF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303325" y="351887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9BE17943-B901-2F45-83EC-CAE55A3C5AB3}"/>
                </a:ext>
              </a:extLst>
            </p:cNvPr>
            <p:cNvGrpSpPr/>
            <p:nvPr userDrawn="1"/>
          </p:nvGrpSpPr>
          <p:grpSpPr>
            <a:xfrm>
              <a:off x="9554253" y="3678850"/>
              <a:ext cx="2735151" cy="2655095"/>
              <a:chOff x="9541497" y="2555080"/>
              <a:chExt cx="2735151" cy="2655095"/>
            </a:xfrm>
          </p:grpSpPr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3A282DBC-97A0-A74F-A322-83F38647E311}"/>
                  </a:ext>
                </a:extLst>
              </p:cNvPr>
              <p:cNvGrpSpPr/>
              <p:nvPr userDrawn="1"/>
            </p:nvGrpSpPr>
            <p:grpSpPr>
              <a:xfrm>
                <a:off x="9541497" y="2555080"/>
                <a:ext cx="2735151" cy="2655095"/>
                <a:chOff x="9296567" y="4910411"/>
                <a:chExt cx="2735151" cy="2655095"/>
              </a:xfrm>
            </p:grpSpPr>
            <p:sp>
              <p:nvSpPr>
                <p:cNvPr id="86" name="Rectangle 85">
                  <a:extLst>
                    <a:ext uri="{FF2B5EF4-FFF2-40B4-BE49-F238E27FC236}">
                      <a16:creationId xmlns:a16="http://schemas.microsoft.com/office/drawing/2014/main" id="{C6F30183-1D7E-1F46-8A9A-D436E42146F3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265509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  <p:sp>
              <p:nvSpPr>
                <p:cNvPr id="87" name="TextBox 86">
                  <a:extLst>
                    <a:ext uri="{FF2B5EF4-FFF2-40B4-BE49-F238E27FC236}">
                      <a16:creationId xmlns:a16="http://schemas.microsoft.com/office/drawing/2014/main" id="{6F8134E9-C165-374B-B2CC-DA494A389F22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8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Automatic paragraph spacing</a:t>
                  </a:r>
                </a:p>
              </p:txBody>
            </p:sp>
            <p:pic>
              <p:nvPicPr>
                <p:cNvPr id="88" name="Graphic 87">
                  <a:extLst>
                    <a:ext uri="{FF2B5EF4-FFF2-40B4-BE49-F238E27FC236}">
                      <a16:creationId xmlns:a16="http://schemas.microsoft.com/office/drawing/2014/main" id="{C0716B58-8AB2-BB4E-BF02-075C7AB5645F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89" name="TextBox 88">
                  <a:extLst>
                    <a:ext uri="{FF2B5EF4-FFF2-40B4-BE49-F238E27FC236}">
                      <a16:creationId xmlns:a16="http://schemas.microsoft.com/office/drawing/2014/main" id="{55F8E9FF-CF75-2441-B304-D1744649013E}"/>
                    </a:ext>
                  </a:extLst>
                </p:cNvPr>
                <p:cNvSpPr txBox="1"/>
                <p:nvPr userDrawn="1"/>
              </p:nvSpPr>
              <p:spPr>
                <a:xfrm>
                  <a:off x="9471806" y="5300350"/>
                  <a:ext cx="2271204" cy="55399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>
                    <a:spcBef>
                      <a:spcPts val="200"/>
                    </a:spcBef>
                    <a:defRPr sz="9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49225" lvl="1" indent="-149225">
                    <a:spcBef>
                      <a:spcPts val="200"/>
                    </a:spcBef>
                    <a:spcAft>
                      <a:spcPts val="0"/>
                    </a:spcAft>
                    <a:defRPr sz="9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</a:lstStyle>
                <a:p>
                  <a:r>
                    <a:rPr lang="en-US" sz="675"/>
                    <a:t>This template automatically adds paragraph spacing between first-level text paragraphs. When pasting in content, remember to delete any extra blank lines from your text.</a:t>
                  </a:r>
                </a:p>
              </p:txBody>
            </p:sp>
          </p:grpSp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2514B6E7-6F9E-A74E-B185-C746F5D312F2}"/>
                  </a:ext>
                </a:extLst>
              </p:cNvPr>
              <p:cNvGrpSpPr/>
              <p:nvPr userDrawn="1"/>
            </p:nvGrpSpPr>
            <p:grpSpPr>
              <a:xfrm>
                <a:off x="9833052" y="3569700"/>
                <a:ext cx="2073198" cy="1627918"/>
                <a:chOff x="9833052" y="3617325"/>
                <a:chExt cx="2073198" cy="1627918"/>
              </a:xfrm>
            </p:grpSpPr>
            <p:pic>
              <p:nvPicPr>
                <p:cNvPr id="55" name="Picture 54">
                  <a:extLst>
                    <a:ext uri="{FF2B5EF4-FFF2-40B4-BE49-F238E27FC236}">
                      <a16:creationId xmlns:a16="http://schemas.microsoft.com/office/drawing/2014/main" id="{2D8F5DB2-9D62-B645-815C-A05F1A64837F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10075660" y="3617325"/>
                  <a:ext cx="1830590" cy="1627918"/>
                </a:xfrm>
                <a:prstGeom prst="rect">
                  <a:avLst/>
                </a:prstGeom>
              </p:spPr>
            </p:pic>
            <p:cxnSp>
              <p:nvCxnSpPr>
                <p:cNvPr id="56" name="Straight Connector 55">
                  <a:extLst>
                    <a:ext uri="{FF2B5EF4-FFF2-40B4-BE49-F238E27FC236}">
                      <a16:creationId xmlns:a16="http://schemas.microsoft.com/office/drawing/2014/main" id="{A56B34A5-5FAB-1849-B932-0B65D3EFFC44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0147060" y="3825943"/>
                  <a:ext cx="0" cy="186966"/>
                </a:xfrm>
                <a:prstGeom prst="line">
                  <a:avLst/>
                </a:prstGeom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3" name="Straight Connector 82">
                  <a:extLst>
                    <a:ext uri="{FF2B5EF4-FFF2-40B4-BE49-F238E27FC236}">
                      <a16:creationId xmlns:a16="http://schemas.microsoft.com/office/drawing/2014/main" id="{CDAE0E52-76E3-E948-A240-86DD232545E2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0147060" y="4714218"/>
                  <a:ext cx="0" cy="186966"/>
                </a:xfrm>
                <a:prstGeom prst="line">
                  <a:avLst/>
                </a:prstGeom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4" name="TextBox 83">
                  <a:extLst>
                    <a:ext uri="{FF2B5EF4-FFF2-40B4-BE49-F238E27FC236}">
                      <a16:creationId xmlns:a16="http://schemas.microsoft.com/office/drawing/2014/main" id="{992960CE-C925-D541-B244-F39F12711B9D}"/>
                    </a:ext>
                  </a:extLst>
                </p:cNvPr>
                <p:cNvSpPr txBox="1"/>
                <p:nvPr userDrawn="1"/>
              </p:nvSpPr>
              <p:spPr>
                <a:xfrm>
                  <a:off x="9833052" y="3828242"/>
                  <a:ext cx="256480" cy="184665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t">
                  <a:spAutoFit/>
                </a:bodyPr>
                <a:lstStyle/>
                <a:p>
                  <a:pPr algn="r"/>
                  <a:r>
                    <a:rPr lang="en-US" sz="4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Automatic</a:t>
                  </a:r>
                  <a:br>
                    <a:rPr lang="en-US" sz="4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</a:br>
                  <a:r>
                    <a:rPr lang="en-US" sz="4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space</a:t>
                  </a:r>
                </a:p>
              </p:txBody>
            </p:sp>
            <p:sp>
              <p:nvSpPr>
                <p:cNvPr id="85" name="TextBox 84">
                  <a:extLst>
                    <a:ext uri="{FF2B5EF4-FFF2-40B4-BE49-F238E27FC236}">
                      <a16:creationId xmlns:a16="http://schemas.microsoft.com/office/drawing/2014/main" id="{7C97C986-8A69-3440-8F48-A9A0634AD1BF}"/>
                    </a:ext>
                  </a:extLst>
                </p:cNvPr>
                <p:cNvSpPr txBox="1"/>
                <p:nvPr userDrawn="1"/>
              </p:nvSpPr>
              <p:spPr>
                <a:xfrm>
                  <a:off x="9833052" y="4721741"/>
                  <a:ext cx="256480" cy="184665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t">
                  <a:spAutoFit/>
                </a:bodyPr>
                <a:lstStyle/>
                <a:p>
                  <a:pPr algn="r"/>
                  <a:r>
                    <a:rPr lang="en-US" sz="4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Automatic</a:t>
                  </a:r>
                  <a:br>
                    <a:rPr lang="en-US" sz="4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</a:br>
                  <a:r>
                    <a:rPr lang="en-US" sz="4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space</a:t>
                  </a:r>
                </a:p>
              </p:txBody>
            </p:sp>
          </p:grp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847F9F1F-5251-9246-AD4B-01B5FA9CC1BA}"/>
                </a:ext>
              </a:extLst>
            </p:cNvPr>
            <p:cNvGrpSpPr/>
            <p:nvPr userDrawn="1"/>
          </p:nvGrpSpPr>
          <p:grpSpPr>
            <a:xfrm>
              <a:off x="9558506" y="2409506"/>
              <a:ext cx="2639327" cy="684608"/>
              <a:chOff x="9558506" y="2476806"/>
              <a:chExt cx="2639327" cy="684608"/>
            </a:xfrm>
          </p:grpSpPr>
          <p:pic>
            <p:nvPicPr>
              <p:cNvPr id="50" name="Picture 49">
                <a:extLst>
                  <a:ext uri="{FF2B5EF4-FFF2-40B4-BE49-F238E27FC236}">
                    <a16:creationId xmlns:a16="http://schemas.microsoft.com/office/drawing/2014/main" id="{56B31BB5-7D6D-F54A-9773-EF4DBD16FF8F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6"/>
              <a:srcRect r="23484"/>
              <a:stretch/>
            </p:blipFill>
            <p:spPr>
              <a:xfrm>
                <a:off x="10441172" y="2476806"/>
                <a:ext cx="1756661" cy="684608"/>
              </a:xfrm>
              <a:prstGeom prst="rect">
                <a:avLst/>
              </a:prstGeom>
            </p:spPr>
          </p:pic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FE597D3D-3AFC-BB47-B8CF-8E6C98E82881}"/>
                  </a:ext>
                </a:extLst>
              </p:cNvPr>
              <p:cNvSpPr/>
              <p:nvPr userDrawn="1"/>
            </p:nvSpPr>
            <p:spPr>
              <a:xfrm>
                <a:off x="9558506" y="2476806"/>
                <a:ext cx="882666" cy="684608"/>
              </a:xfrm>
              <a:prstGeom prst="rect">
                <a:avLst/>
              </a:prstGeom>
              <a:solidFill>
                <a:schemeClr val="bg2">
                  <a:alpha val="17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403DA12D-0274-1F49-B336-BD4025C49C63}"/>
                  </a:ext>
                </a:extLst>
              </p:cNvPr>
              <p:cNvSpPr txBox="1"/>
              <p:nvPr userDrawn="1"/>
            </p:nvSpPr>
            <p:spPr>
              <a:xfrm>
                <a:off x="9635558" y="2549805"/>
                <a:ext cx="676269" cy="43088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0"/>
                <a:r>
                  <a:rPr lang="en-US" sz="525" kern="120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rPr>
                  <a:t>Note: </a:t>
                </a:r>
                <a:br>
                  <a:rPr lang="en-US" sz="525" kern="120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rPr>
                </a:br>
                <a:r>
                  <a:rPr lang="en-US" sz="525" kern="120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rPr>
                  <a:t>For numbered lists, see the most up-to-date Asset File.</a:t>
                </a:r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65FA5060-5E13-4543-9377-154ADBB0E82F}"/>
                </a:ext>
              </a:extLst>
            </p:cNvPr>
            <p:cNvGrpSpPr/>
            <p:nvPr userDrawn="1"/>
          </p:nvGrpSpPr>
          <p:grpSpPr>
            <a:xfrm>
              <a:off x="9554253" y="2414886"/>
              <a:ext cx="2819399" cy="1181890"/>
              <a:chOff x="9541498" y="3352649"/>
              <a:chExt cx="2819399" cy="1181890"/>
            </a:xfrm>
          </p:grpSpPr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4671AB2B-235C-C341-8881-9BBB69C9598E}"/>
                  </a:ext>
                </a:extLst>
              </p:cNvPr>
              <p:cNvGrpSpPr/>
              <p:nvPr userDrawn="1"/>
            </p:nvGrpSpPr>
            <p:grpSpPr>
              <a:xfrm>
                <a:off x="9541498" y="3352649"/>
                <a:ext cx="2735150" cy="1181890"/>
                <a:chOff x="9541498" y="3751132"/>
                <a:chExt cx="2735150" cy="1181890"/>
              </a:xfrm>
            </p:grpSpPr>
            <p:grpSp>
              <p:nvGrpSpPr>
                <p:cNvPr id="45" name="Group 44">
                  <a:extLst>
                    <a:ext uri="{FF2B5EF4-FFF2-40B4-BE49-F238E27FC236}">
                      <a16:creationId xmlns:a16="http://schemas.microsoft.com/office/drawing/2014/main" id="{4F1C356B-DB7D-4D4F-911D-77E8C771B88B}"/>
                    </a:ext>
                  </a:extLst>
                </p:cNvPr>
                <p:cNvGrpSpPr/>
                <p:nvPr userDrawn="1"/>
              </p:nvGrpSpPr>
              <p:grpSpPr>
                <a:xfrm>
                  <a:off x="9541498" y="3751132"/>
                  <a:ext cx="2735150" cy="1181890"/>
                  <a:chOff x="9296568" y="4910411"/>
                  <a:chExt cx="2735150" cy="1181890"/>
                </a:xfrm>
              </p:grpSpPr>
              <p:sp>
                <p:nvSpPr>
                  <p:cNvPr id="47" name="Rectangle 46">
                    <a:extLst>
                      <a:ext uri="{FF2B5EF4-FFF2-40B4-BE49-F238E27FC236}">
                        <a16:creationId xmlns:a16="http://schemas.microsoft.com/office/drawing/2014/main" id="{224311F3-D9B7-5B40-8F89-C14B83BC502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9296568" y="4910411"/>
                    <a:ext cx="2735150" cy="1181890"/>
                  </a:xfrm>
                  <a:prstGeom prst="rect">
                    <a:avLst/>
                  </a:prstGeom>
                  <a:solidFill>
                    <a:srgbClr val="FFFADF"/>
                  </a:solidFill>
                  <a:ln w="25400">
                    <a:solidFill>
                      <a:schemeClr val="tx1">
                        <a:lumMod val="65000"/>
                        <a:lumOff val="3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50"/>
                  </a:p>
                </p:txBody>
              </p:sp>
              <p:sp>
                <p:nvSpPr>
                  <p:cNvPr id="48" name="TextBox 47">
                    <a:extLst>
                      <a:ext uri="{FF2B5EF4-FFF2-40B4-BE49-F238E27FC236}">
                        <a16:creationId xmlns:a16="http://schemas.microsoft.com/office/drawing/2014/main" id="{C3DAD1A5-A5DD-A047-83FC-B9B82F152CD4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662758" y="5046087"/>
                    <a:ext cx="2211394" cy="16927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 algn="l"/>
                    <a:r>
                      <a:rPr lang="en-US" sz="825">
                        <a:solidFill>
                          <a:schemeClr val="accent2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Numbered lists</a:t>
                    </a:r>
                  </a:p>
                </p:txBody>
              </p:sp>
              <p:sp>
                <p:nvSpPr>
                  <p:cNvPr id="49" name="TextBox 48">
                    <a:extLst>
                      <a:ext uri="{FF2B5EF4-FFF2-40B4-BE49-F238E27FC236}">
                        <a16:creationId xmlns:a16="http://schemas.microsoft.com/office/drawing/2014/main" id="{7A43B794-8CF2-3241-85CE-3E267DC2FAF6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471806" y="5300350"/>
                    <a:ext cx="964050" cy="553998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>
                      <a:spcBef>
                        <a:spcPts val="150"/>
                      </a:spcBef>
                    </a:pPr>
                    <a:r>
                      <a:rPr lang="en-US" sz="675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For instruction on formatting numbered lists, see the most up-to-date Asset File.</a:t>
                    </a:r>
                  </a:p>
                </p:txBody>
              </p:sp>
            </p:grpSp>
            <p:pic>
              <p:nvPicPr>
                <p:cNvPr id="46" name="Graphic 45">
                  <a:extLst>
                    <a:ext uri="{FF2B5EF4-FFF2-40B4-BE49-F238E27FC236}">
                      <a16:creationId xmlns:a16="http://schemas.microsoft.com/office/drawing/2014/main" id="{ADA4F7D3-514B-1146-9B32-81A73DC6906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686425" y="3891259"/>
                  <a:ext cx="170340" cy="170340"/>
                </a:xfrm>
                <a:prstGeom prst="rect">
                  <a:avLst/>
                </a:prstGeom>
              </p:spPr>
            </p:pic>
          </p:grpSp>
          <p:pic>
            <p:nvPicPr>
              <p:cNvPr id="44" name="Picture 43">
                <a:extLst>
                  <a:ext uri="{FF2B5EF4-FFF2-40B4-BE49-F238E27FC236}">
                    <a16:creationId xmlns:a16="http://schemas.microsoft.com/office/drawing/2014/main" id="{D7DD7A1E-5F73-B04D-BD86-83D0E9226589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6"/>
              <a:srcRect r="30584"/>
              <a:stretch/>
            </p:blipFill>
            <p:spPr>
              <a:xfrm>
                <a:off x="10767220" y="3758285"/>
                <a:ext cx="1593677" cy="684608"/>
              </a:xfrm>
              <a:prstGeom prst="rect">
                <a:avLst/>
              </a:prstGeom>
              <a:solidFill>
                <a:srgbClr val="FFFADF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42628663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1/3 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D7070C02-8D3D-AA4B-B6D3-432E3D380E3C}"/>
              </a:ext>
            </a:extLst>
          </p:cNvPr>
          <p:cNvSpPr>
            <a:spLocks noGrp="1"/>
          </p:cNvSpPr>
          <p:nvPr>
            <p:ph sz="quarter" idx="104" hasCustomPrompt="1"/>
          </p:nvPr>
        </p:nvSpPr>
        <p:spPr>
          <a:xfrm>
            <a:off x="431800" y="925117"/>
            <a:ext cx="5392800" cy="3699272"/>
          </a:xfrm>
        </p:spPr>
        <p:txBody>
          <a:bodyPr/>
          <a:lstStyle/>
          <a:p>
            <a:pPr lvl="0"/>
            <a:r>
              <a:rPr lang="en-US"/>
              <a:t>Click to add text, or use the icon to add a table</a:t>
            </a:r>
          </a:p>
          <a:p>
            <a:pPr lvl="1"/>
            <a:r>
              <a:rPr lang="en-US"/>
              <a:t>Body text (second level)</a:t>
            </a:r>
          </a:p>
          <a:p>
            <a:pPr lvl="2"/>
            <a:r>
              <a:rPr lang="en-US"/>
              <a:t>Square bullet (third level)</a:t>
            </a:r>
          </a:p>
          <a:p>
            <a:pPr lvl="3"/>
            <a:r>
              <a:rPr lang="en-US"/>
              <a:t>Dashed bullet (fourth level)</a:t>
            </a:r>
          </a:p>
          <a:p>
            <a:pPr lvl="4"/>
            <a:r>
              <a:rPr lang="en-US"/>
              <a:t>Dashed bullet (fifth level)</a:t>
            </a:r>
          </a:p>
        </p:txBody>
      </p:sp>
      <p:sp>
        <p:nvSpPr>
          <p:cNvPr id="6" name="Content Placeholder 13">
            <a:extLst>
              <a:ext uri="{FF2B5EF4-FFF2-40B4-BE49-F238E27FC236}">
                <a16:creationId xmlns:a16="http://schemas.microsoft.com/office/drawing/2014/main" id="{D893719C-09E6-8446-95C5-B4FC163CB027}"/>
              </a:ext>
            </a:extLst>
          </p:cNvPr>
          <p:cNvSpPr>
            <a:spLocks noGrp="1"/>
          </p:cNvSpPr>
          <p:nvPr>
            <p:ph sz="quarter" idx="105" hasCustomPrompt="1"/>
          </p:nvPr>
        </p:nvSpPr>
        <p:spPr>
          <a:xfrm>
            <a:off x="6087800" y="925117"/>
            <a:ext cx="2624400" cy="3699272"/>
          </a:xfrm>
        </p:spPr>
        <p:txBody>
          <a:bodyPr/>
          <a:lstStyle/>
          <a:p>
            <a:pPr lvl="0"/>
            <a:r>
              <a:rPr lang="en-US"/>
              <a:t>Click to add text, or use the icon to add a table</a:t>
            </a:r>
          </a:p>
          <a:p>
            <a:pPr lvl="1"/>
            <a:r>
              <a:rPr lang="en-US"/>
              <a:t>Body text (second level)</a:t>
            </a:r>
          </a:p>
          <a:p>
            <a:pPr lvl="2"/>
            <a:r>
              <a:rPr lang="en-US"/>
              <a:t>Square bullet (third level)</a:t>
            </a:r>
          </a:p>
          <a:p>
            <a:pPr lvl="3"/>
            <a:r>
              <a:rPr lang="en-US"/>
              <a:t>Dashed bullet (fourth level)</a:t>
            </a:r>
          </a:p>
          <a:p>
            <a:pPr lvl="4"/>
            <a:r>
              <a:rPr lang="en-US"/>
              <a:t>Dashed bullet (fifth level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A06382-4F71-2D43-8F90-DF79864310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317278"/>
            <a:ext cx="8280400" cy="425546"/>
          </a:xfrm>
        </p:spPr>
        <p:txBody>
          <a:bodyPr/>
          <a:lstStyle/>
          <a:p>
            <a:r>
              <a:rPr lang="en-US"/>
              <a:t>CLICK TO ADD Slide TITLE. ALL CAPS. TWO LINES max.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E8C1E42E-F316-CC44-8C90-6889E7665123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800" y="4650581"/>
            <a:ext cx="7440613" cy="379131"/>
          </a:xfrm>
        </p:spPr>
        <p:txBody>
          <a:bodyPr bIns="0" anchor="b"/>
          <a:lstStyle>
            <a:lvl1pPr marL="4763" indent="-1191">
              <a:spcBef>
                <a:spcPts val="56"/>
              </a:spcBef>
              <a:spcAft>
                <a:spcPts val="56"/>
              </a:spcAft>
              <a:buSzPct val="100000"/>
              <a:buFontTx/>
              <a:buNone/>
              <a:tabLst/>
              <a:defRPr sz="825" b="0">
                <a:solidFill>
                  <a:schemeClr val="tx1"/>
                </a:solidFill>
              </a:defRPr>
            </a:lvl1pPr>
            <a:lvl2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¹"/>
              <a:tabLst/>
              <a:defRPr sz="825" b="0" i="0">
                <a:solidFill>
                  <a:schemeClr val="tx1"/>
                </a:solidFill>
              </a:defRPr>
            </a:lvl2pPr>
            <a:lvl3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²"/>
              <a:tabLst/>
              <a:defRPr sz="825">
                <a:solidFill>
                  <a:schemeClr val="tx1"/>
                </a:solidFill>
              </a:defRPr>
            </a:lvl3pPr>
            <a:lvl4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³"/>
              <a:tabLst/>
              <a:defRPr sz="825">
                <a:solidFill>
                  <a:schemeClr val="tx1"/>
                </a:solidFill>
              </a:defRPr>
            </a:lvl4pPr>
            <a:lvl5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⁴"/>
              <a:tabLst/>
              <a:defRPr sz="825">
                <a:solidFill>
                  <a:schemeClr val="tx1"/>
                </a:solidFill>
              </a:defRPr>
            </a:lvl5pPr>
            <a:lvl6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⁵"/>
              <a:tabLst/>
              <a:defRPr sz="825">
                <a:solidFill>
                  <a:schemeClr val="tx1"/>
                </a:solidFill>
              </a:defRPr>
            </a:lvl6pPr>
            <a:lvl7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⁶"/>
              <a:tabLst/>
              <a:defRPr sz="825">
                <a:solidFill>
                  <a:schemeClr val="tx1"/>
                </a:solidFill>
              </a:defRPr>
            </a:lvl7pPr>
            <a:lvl8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⁷"/>
              <a:tabLst/>
              <a:defRPr sz="825">
                <a:solidFill>
                  <a:schemeClr val="tx1"/>
                </a:solidFill>
              </a:defRPr>
            </a:lvl8pPr>
            <a:lvl9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⁸"/>
              <a:tabLst/>
              <a:defRPr sz="825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/>
              <a:t>Footnotes – Levels 2-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5F05EE9-0A3D-4749-B2F6-14D0C82A14DD}"/>
              </a:ext>
            </a:extLst>
          </p:cNvPr>
          <p:cNvSpPr>
            <a:spLocks noGrp="1"/>
          </p:cNvSpPr>
          <p:nvPr>
            <p:ph type="dt" sz="half" idx="10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71F5980-B10D-114E-B46C-229352D8D586}"/>
              </a:ext>
            </a:extLst>
          </p:cNvPr>
          <p:cNvSpPr>
            <a:spLocks noGrp="1"/>
          </p:cNvSpPr>
          <p:nvPr>
            <p:ph type="ftr" sz="quarter" idx="10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5D4DBE6-2175-B24F-A643-B8DBBCA00583}"/>
              </a:ext>
            </a:extLst>
          </p:cNvPr>
          <p:cNvSpPr>
            <a:spLocks noGrp="1"/>
          </p:cNvSpPr>
          <p:nvPr>
            <p:ph type="sldNum" sz="quarter" idx="108"/>
          </p:nvPr>
        </p:nvSpPr>
        <p:spPr/>
        <p:txBody>
          <a:bodyPr/>
          <a:lstStyle/>
          <a:p>
            <a:pPr marL="9525"/>
            <a:fld id="{078C017C-E1B9-8443-B047-B08AAA027B45}" type="slidenum">
              <a:rPr lang="en-US" smtClean="0"/>
              <a:pPr marL="9525"/>
              <a:t>‹#›</a:t>
            </a:fld>
            <a:endParaRPr lang="en-US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5C57F764-75F4-CB41-BEB8-84C2645F5FB5}"/>
              </a:ext>
            </a:extLst>
          </p:cNvPr>
          <p:cNvGrpSpPr/>
          <p:nvPr userDrawn="1"/>
        </p:nvGrpSpPr>
        <p:grpSpPr>
          <a:xfrm>
            <a:off x="9399182" y="1"/>
            <a:ext cx="2974470" cy="5143496"/>
            <a:chOff x="9399182" y="0"/>
            <a:chExt cx="2974470" cy="6857995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7D36F087-817A-684A-AB3B-76BDBCFE257F}"/>
                </a:ext>
              </a:extLst>
            </p:cNvPr>
            <p:cNvSpPr/>
            <p:nvPr userDrawn="1"/>
          </p:nvSpPr>
          <p:spPr>
            <a:xfrm>
              <a:off x="9399182" y="0"/>
              <a:ext cx="2798651" cy="685799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050"/>
            </a:p>
          </p:txBody>
        </p:sp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C828127C-A9D1-354F-8510-197876AAA7B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41694"/>
            <a:stretch/>
          </p:blipFill>
          <p:spPr>
            <a:xfrm>
              <a:off x="9558506" y="1322104"/>
              <a:ext cx="2639328" cy="995540"/>
            </a:xfrm>
            <a:prstGeom prst="rect">
              <a:avLst/>
            </a:prstGeom>
          </p:spPr>
        </p:pic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23C0B752-B659-F14D-9656-D25E78B5C3F2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66AD7EA4-AF8A-5347-A757-7E9A352EED38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55F5882A-2175-4A43-B444-2BF2F22F4BED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1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94" name="Picture 93">
                <a:extLst>
                  <a:ext uri="{FF2B5EF4-FFF2-40B4-BE49-F238E27FC236}">
                    <a16:creationId xmlns:a16="http://schemas.microsoft.com/office/drawing/2014/main" id="{CB69B195-59C0-0D4B-97BF-154377BD5A8E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8E499ACE-87E3-FC46-A481-D32CA8F2DFCF}"/>
                </a:ext>
              </a:extLst>
            </p:cNvPr>
            <p:cNvGrpSpPr/>
            <p:nvPr userDrawn="1"/>
          </p:nvGrpSpPr>
          <p:grpSpPr>
            <a:xfrm>
              <a:off x="9558507" y="1119891"/>
              <a:ext cx="2639328" cy="202617"/>
              <a:chOff x="9303325" y="149270"/>
              <a:chExt cx="2639328" cy="202617"/>
            </a:xfrm>
          </p:grpSpPr>
          <p:sp>
            <p:nvSpPr>
              <p:cNvPr id="90" name="TextBox 89">
                <a:extLst>
                  <a:ext uri="{FF2B5EF4-FFF2-40B4-BE49-F238E27FC236}">
                    <a16:creationId xmlns:a16="http://schemas.microsoft.com/office/drawing/2014/main" id="{8226064C-7D82-F047-9BD7-219F92F5ED1A}"/>
                  </a:ext>
                </a:extLst>
              </p:cNvPr>
              <p:cNvSpPr txBox="1"/>
              <p:nvPr userDrawn="1"/>
            </p:nvSpPr>
            <p:spPr>
              <a:xfrm>
                <a:off x="9303325" y="149270"/>
                <a:ext cx="1670329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sz="825">
                    <a:solidFill>
                      <a:schemeClr val="bg1"/>
                    </a:solidFill>
                  </a:rPr>
                  <a:t>TEXT FORMATS IN THIS LAYOUT</a:t>
                </a:r>
              </a:p>
            </p:txBody>
          </p: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BB238369-EA71-3742-8840-9462B586DE8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303325" y="351887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28621C79-5C28-CD4C-9CC6-788DF5AD31B8}"/>
                </a:ext>
              </a:extLst>
            </p:cNvPr>
            <p:cNvGrpSpPr/>
            <p:nvPr userDrawn="1"/>
          </p:nvGrpSpPr>
          <p:grpSpPr>
            <a:xfrm>
              <a:off x="9554253" y="3678850"/>
              <a:ext cx="2735151" cy="2655095"/>
              <a:chOff x="9541497" y="2555080"/>
              <a:chExt cx="2735151" cy="2655095"/>
            </a:xfrm>
          </p:grpSpPr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450E4076-2883-BA42-81BF-18827567A894}"/>
                  </a:ext>
                </a:extLst>
              </p:cNvPr>
              <p:cNvGrpSpPr/>
              <p:nvPr userDrawn="1"/>
            </p:nvGrpSpPr>
            <p:grpSpPr>
              <a:xfrm>
                <a:off x="9541497" y="2555080"/>
                <a:ext cx="2735151" cy="2655095"/>
                <a:chOff x="9296567" y="4910411"/>
                <a:chExt cx="2735151" cy="2655095"/>
              </a:xfrm>
            </p:grpSpPr>
            <p:sp>
              <p:nvSpPr>
                <p:cNvPr id="86" name="Rectangle 85">
                  <a:extLst>
                    <a:ext uri="{FF2B5EF4-FFF2-40B4-BE49-F238E27FC236}">
                      <a16:creationId xmlns:a16="http://schemas.microsoft.com/office/drawing/2014/main" id="{2CBF7FA1-24C1-1A47-A5B7-071E723219F8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265509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  <p:sp>
              <p:nvSpPr>
                <p:cNvPr id="87" name="TextBox 86">
                  <a:extLst>
                    <a:ext uri="{FF2B5EF4-FFF2-40B4-BE49-F238E27FC236}">
                      <a16:creationId xmlns:a16="http://schemas.microsoft.com/office/drawing/2014/main" id="{C39DC11C-0628-054E-A8B3-C3C8217A6CB3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8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Automatic paragraph spacing</a:t>
                  </a:r>
                </a:p>
              </p:txBody>
            </p:sp>
            <p:pic>
              <p:nvPicPr>
                <p:cNvPr id="88" name="Graphic 87">
                  <a:extLst>
                    <a:ext uri="{FF2B5EF4-FFF2-40B4-BE49-F238E27FC236}">
                      <a16:creationId xmlns:a16="http://schemas.microsoft.com/office/drawing/2014/main" id="{301F6881-300A-A146-99A9-BD99ACCB3DB5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89" name="TextBox 88">
                  <a:extLst>
                    <a:ext uri="{FF2B5EF4-FFF2-40B4-BE49-F238E27FC236}">
                      <a16:creationId xmlns:a16="http://schemas.microsoft.com/office/drawing/2014/main" id="{AC51286F-DEF1-2B4D-93DB-F3076A2611C0}"/>
                    </a:ext>
                  </a:extLst>
                </p:cNvPr>
                <p:cNvSpPr txBox="1"/>
                <p:nvPr userDrawn="1"/>
              </p:nvSpPr>
              <p:spPr>
                <a:xfrm>
                  <a:off x="9471806" y="5300350"/>
                  <a:ext cx="2271204" cy="55399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>
                    <a:spcBef>
                      <a:spcPts val="200"/>
                    </a:spcBef>
                    <a:defRPr sz="9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49225" lvl="1" indent="-149225">
                    <a:spcBef>
                      <a:spcPts val="200"/>
                    </a:spcBef>
                    <a:spcAft>
                      <a:spcPts val="0"/>
                    </a:spcAft>
                    <a:defRPr sz="9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</a:lstStyle>
                <a:p>
                  <a:r>
                    <a:rPr lang="en-US" sz="675"/>
                    <a:t>This template automatically adds paragraph spacing between first-level text paragraphs. When pasting in content, remember to delete any extra blank lines from your text.</a:t>
                  </a:r>
                </a:p>
              </p:txBody>
            </p:sp>
          </p:grpSp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3321F084-532D-124B-A03C-154D91D8F45F}"/>
                  </a:ext>
                </a:extLst>
              </p:cNvPr>
              <p:cNvGrpSpPr/>
              <p:nvPr userDrawn="1"/>
            </p:nvGrpSpPr>
            <p:grpSpPr>
              <a:xfrm>
                <a:off x="9833052" y="3569700"/>
                <a:ext cx="2073198" cy="1627918"/>
                <a:chOff x="9833052" y="3617325"/>
                <a:chExt cx="2073198" cy="1627918"/>
              </a:xfrm>
            </p:grpSpPr>
            <p:pic>
              <p:nvPicPr>
                <p:cNvPr id="55" name="Picture 54">
                  <a:extLst>
                    <a:ext uri="{FF2B5EF4-FFF2-40B4-BE49-F238E27FC236}">
                      <a16:creationId xmlns:a16="http://schemas.microsoft.com/office/drawing/2014/main" id="{BBFF6EA2-7DDD-534F-8411-25FCA9D0E1E8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10075660" y="3617325"/>
                  <a:ext cx="1830590" cy="1627918"/>
                </a:xfrm>
                <a:prstGeom prst="rect">
                  <a:avLst/>
                </a:prstGeom>
              </p:spPr>
            </p:pic>
            <p:cxnSp>
              <p:nvCxnSpPr>
                <p:cNvPr id="56" name="Straight Connector 55">
                  <a:extLst>
                    <a:ext uri="{FF2B5EF4-FFF2-40B4-BE49-F238E27FC236}">
                      <a16:creationId xmlns:a16="http://schemas.microsoft.com/office/drawing/2014/main" id="{0E34E07D-3DF6-3745-9646-0A46DDF96B0B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0147060" y="3825943"/>
                  <a:ext cx="0" cy="186966"/>
                </a:xfrm>
                <a:prstGeom prst="line">
                  <a:avLst/>
                </a:prstGeom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3" name="Straight Connector 82">
                  <a:extLst>
                    <a:ext uri="{FF2B5EF4-FFF2-40B4-BE49-F238E27FC236}">
                      <a16:creationId xmlns:a16="http://schemas.microsoft.com/office/drawing/2014/main" id="{8B1725E8-9C83-F844-A798-4509B80E08F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0147060" y="4714218"/>
                  <a:ext cx="0" cy="186966"/>
                </a:xfrm>
                <a:prstGeom prst="line">
                  <a:avLst/>
                </a:prstGeom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4" name="TextBox 83">
                  <a:extLst>
                    <a:ext uri="{FF2B5EF4-FFF2-40B4-BE49-F238E27FC236}">
                      <a16:creationId xmlns:a16="http://schemas.microsoft.com/office/drawing/2014/main" id="{1CB723A7-162A-F54C-BC8B-5F48D8109783}"/>
                    </a:ext>
                  </a:extLst>
                </p:cNvPr>
                <p:cNvSpPr txBox="1"/>
                <p:nvPr userDrawn="1"/>
              </p:nvSpPr>
              <p:spPr>
                <a:xfrm>
                  <a:off x="9833052" y="3828242"/>
                  <a:ext cx="256480" cy="184665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t">
                  <a:spAutoFit/>
                </a:bodyPr>
                <a:lstStyle/>
                <a:p>
                  <a:pPr algn="r"/>
                  <a:r>
                    <a:rPr lang="en-US" sz="4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Automatic</a:t>
                  </a:r>
                  <a:br>
                    <a:rPr lang="en-US" sz="4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</a:br>
                  <a:r>
                    <a:rPr lang="en-US" sz="4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space</a:t>
                  </a:r>
                </a:p>
              </p:txBody>
            </p:sp>
            <p:sp>
              <p:nvSpPr>
                <p:cNvPr id="85" name="TextBox 84">
                  <a:extLst>
                    <a:ext uri="{FF2B5EF4-FFF2-40B4-BE49-F238E27FC236}">
                      <a16:creationId xmlns:a16="http://schemas.microsoft.com/office/drawing/2014/main" id="{359BA5AE-3310-1847-9BF2-3A989E221789}"/>
                    </a:ext>
                  </a:extLst>
                </p:cNvPr>
                <p:cNvSpPr txBox="1"/>
                <p:nvPr userDrawn="1"/>
              </p:nvSpPr>
              <p:spPr>
                <a:xfrm>
                  <a:off x="9833052" y="4721741"/>
                  <a:ext cx="256480" cy="184665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t">
                  <a:spAutoFit/>
                </a:bodyPr>
                <a:lstStyle/>
                <a:p>
                  <a:pPr algn="r"/>
                  <a:r>
                    <a:rPr lang="en-US" sz="4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Automatic</a:t>
                  </a:r>
                  <a:br>
                    <a:rPr lang="en-US" sz="4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</a:br>
                  <a:r>
                    <a:rPr lang="en-US" sz="4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space</a:t>
                  </a:r>
                </a:p>
              </p:txBody>
            </p:sp>
          </p:grp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AA1C27C4-CD80-3246-98DD-15A2D88DC926}"/>
                </a:ext>
              </a:extLst>
            </p:cNvPr>
            <p:cNvGrpSpPr/>
            <p:nvPr userDrawn="1"/>
          </p:nvGrpSpPr>
          <p:grpSpPr>
            <a:xfrm>
              <a:off x="9558506" y="2409506"/>
              <a:ext cx="2639327" cy="684608"/>
              <a:chOff x="9558506" y="2476806"/>
              <a:chExt cx="2639327" cy="684608"/>
            </a:xfrm>
          </p:grpSpPr>
          <p:pic>
            <p:nvPicPr>
              <p:cNvPr id="50" name="Picture 49">
                <a:extLst>
                  <a:ext uri="{FF2B5EF4-FFF2-40B4-BE49-F238E27FC236}">
                    <a16:creationId xmlns:a16="http://schemas.microsoft.com/office/drawing/2014/main" id="{2593E019-CA82-1040-9996-4316BF793D51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6"/>
              <a:srcRect r="23484"/>
              <a:stretch/>
            </p:blipFill>
            <p:spPr>
              <a:xfrm>
                <a:off x="10441172" y="2476806"/>
                <a:ext cx="1756661" cy="684608"/>
              </a:xfrm>
              <a:prstGeom prst="rect">
                <a:avLst/>
              </a:prstGeom>
            </p:spPr>
          </p:pic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B3BC7102-822A-7D41-95D1-B0286E842E03}"/>
                  </a:ext>
                </a:extLst>
              </p:cNvPr>
              <p:cNvSpPr/>
              <p:nvPr userDrawn="1"/>
            </p:nvSpPr>
            <p:spPr>
              <a:xfrm>
                <a:off x="9558506" y="2476806"/>
                <a:ext cx="882666" cy="684608"/>
              </a:xfrm>
              <a:prstGeom prst="rect">
                <a:avLst/>
              </a:prstGeom>
              <a:solidFill>
                <a:schemeClr val="bg2">
                  <a:alpha val="17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A5628D1D-267F-294B-B368-A4FBEC0A170D}"/>
                  </a:ext>
                </a:extLst>
              </p:cNvPr>
              <p:cNvSpPr txBox="1"/>
              <p:nvPr userDrawn="1"/>
            </p:nvSpPr>
            <p:spPr>
              <a:xfrm>
                <a:off x="9635558" y="2549805"/>
                <a:ext cx="676269" cy="43088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0"/>
                <a:r>
                  <a:rPr lang="en-US" sz="525" kern="120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rPr>
                  <a:t>Note: </a:t>
                </a:r>
                <a:br>
                  <a:rPr lang="en-US" sz="525" kern="120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rPr>
                </a:br>
                <a:r>
                  <a:rPr lang="en-US" sz="525" kern="120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rPr>
                  <a:t>For numbered lists, see the most up-to-date Asset File.</a:t>
                </a:r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1250C1D0-82B5-D54D-8DCC-BA78579053DD}"/>
                </a:ext>
              </a:extLst>
            </p:cNvPr>
            <p:cNvGrpSpPr/>
            <p:nvPr userDrawn="1"/>
          </p:nvGrpSpPr>
          <p:grpSpPr>
            <a:xfrm>
              <a:off x="9554253" y="2414886"/>
              <a:ext cx="2819399" cy="1181890"/>
              <a:chOff x="9541498" y="3352649"/>
              <a:chExt cx="2819399" cy="1181890"/>
            </a:xfrm>
          </p:grpSpPr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A36D5FBC-C765-2B4D-88DB-68244F94A3DE}"/>
                  </a:ext>
                </a:extLst>
              </p:cNvPr>
              <p:cNvGrpSpPr/>
              <p:nvPr userDrawn="1"/>
            </p:nvGrpSpPr>
            <p:grpSpPr>
              <a:xfrm>
                <a:off x="9541498" y="3352649"/>
                <a:ext cx="2735150" cy="1181890"/>
                <a:chOff x="9541498" y="3751132"/>
                <a:chExt cx="2735150" cy="1181890"/>
              </a:xfrm>
            </p:grpSpPr>
            <p:grpSp>
              <p:nvGrpSpPr>
                <p:cNvPr id="45" name="Group 44">
                  <a:extLst>
                    <a:ext uri="{FF2B5EF4-FFF2-40B4-BE49-F238E27FC236}">
                      <a16:creationId xmlns:a16="http://schemas.microsoft.com/office/drawing/2014/main" id="{EA00EDAC-D16A-3A4C-888F-638F125A43EF}"/>
                    </a:ext>
                  </a:extLst>
                </p:cNvPr>
                <p:cNvGrpSpPr/>
                <p:nvPr userDrawn="1"/>
              </p:nvGrpSpPr>
              <p:grpSpPr>
                <a:xfrm>
                  <a:off x="9541498" y="3751132"/>
                  <a:ext cx="2735150" cy="1181890"/>
                  <a:chOff x="9296568" y="4910411"/>
                  <a:chExt cx="2735150" cy="1181890"/>
                </a:xfrm>
              </p:grpSpPr>
              <p:sp>
                <p:nvSpPr>
                  <p:cNvPr id="47" name="Rectangle 46">
                    <a:extLst>
                      <a:ext uri="{FF2B5EF4-FFF2-40B4-BE49-F238E27FC236}">
                        <a16:creationId xmlns:a16="http://schemas.microsoft.com/office/drawing/2014/main" id="{405BBDC5-B3B3-E149-B4C1-2245D126623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9296568" y="4910411"/>
                    <a:ext cx="2735150" cy="1181890"/>
                  </a:xfrm>
                  <a:prstGeom prst="rect">
                    <a:avLst/>
                  </a:prstGeom>
                  <a:solidFill>
                    <a:srgbClr val="FFFADF"/>
                  </a:solidFill>
                  <a:ln w="25400">
                    <a:solidFill>
                      <a:schemeClr val="tx1">
                        <a:lumMod val="65000"/>
                        <a:lumOff val="3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50"/>
                  </a:p>
                </p:txBody>
              </p:sp>
              <p:sp>
                <p:nvSpPr>
                  <p:cNvPr id="48" name="TextBox 47">
                    <a:extLst>
                      <a:ext uri="{FF2B5EF4-FFF2-40B4-BE49-F238E27FC236}">
                        <a16:creationId xmlns:a16="http://schemas.microsoft.com/office/drawing/2014/main" id="{E0171319-10F3-5B45-B320-E73A6292A6E6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662758" y="5046087"/>
                    <a:ext cx="2211394" cy="16927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 algn="l"/>
                    <a:r>
                      <a:rPr lang="en-US" sz="825">
                        <a:solidFill>
                          <a:schemeClr val="accent2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Numbered lists</a:t>
                    </a:r>
                  </a:p>
                </p:txBody>
              </p:sp>
              <p:sp>
                <p:nvSpPr>
                  <p:cNvPr id="49" name="TextBox 48">
                    <a:extLst>
                      <a:ext uri="{FF2B5EF4-FFF2-40B4-BE49-F238E27FC236}">
                        <a16:creationId xmlns:a16="http://schemas.microsoft.com/office/drawing/2014/main" id="{3E27D3AE-33D1-7D4E-9E3A-0EECAC2B2E50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471806" y="5300350"/>
                    <a:ext cx="964050" cy="553998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>
                      <a:spcBef>
                        <a:spcPts val="150"/>
                      </a:spcBef>
                    </a:pPr>
                    <a:r>
                      <a:rPr lang="en-US" sz="675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For instruction on formatting numbered lists, see the most up-to-date Asset File.</a:t>
                    </a:r>
                  </a:p>
                </p:txBody>
              </p:sp>
            </p:grpSp>
            <p:pic>
              <p:nvPicPr>
                <p:cNvPr id="46" name="Graphic 45">
                  <a:extLst>
                    <a:ext uri="{FF2B5EF4-FFF2-40B4-BE49-F238E27FC236}">
                      <a16:creationId xmlns:a16="http://schemas.microsoft.com/office/drawing/2014/main" id="{F5440D1A-C837-814E-91DD-BDB8325D434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686425" y="3891259"/>
                  <a:ext cx="170340" cy="170340"/>
                </a:xfrm>
                <a:prstGeom prst="rect">
                  <a:avLst/>
                </a:prstGeom>
              </p:spPr>
            </p:pic>
          </p:grpSp>
          <p:pic>
            <p:nvPicPr>
              <p:cNvPr id="44" name="Picture 43">
                <a:extLst>
                  <a:ext uri="{FF2B5EF4-FFF2-40B4-BE49-F238E27FC236}">
                    <a16:creationId xmlns:a16="http://schemas.microsoft.com/office/drawing/2014/main" id="{C081CC70-A1B7-FB4B-975F-E36A3BAEEF61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6"/>
              <a:srcRect r="30584"/>
              <a:stretch/>
            </p:blipFill>
            <p:spPr>
              <a:xfrm>
                <a:off x="10767220" y="3758285"/>
                <a:ext cx="1593677" cy="684608"/>
              </a:xfrm>
              <a:prstGeom prst="rect">
                <a:avLst/>
              </a:prstGeom>
              <a:solidFill>
                <a:srgbClr val="FFFADF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36349673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Stack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A3E7C59C-7AB2-FD4B-9D3E-CA7E0D8CB2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Slide TITLE. ALL CAPS. TWO LINES max.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D7070C02-8D3D-AA4B-B6D3-432E3D380E3C}"/>
              </a:ext>
            </a:extLst>
          </p:cNvPr>
          <p:cNvSpPr>
            <a:spLocks noGrp="1"/>
          </p:cNvSpPr>
          <p:nvPr>
            <p:ph sz="quarter" idx="104" hasCustomPrompt="1"/>
          </p:nvPr>
        </p:nvSpPr>
        <p:spPr>
          <a:xfrm>
            <a:off x="431802" y="925117"/>
            <a:ext cx="8280398" cy="1786124"/>
          </a:xfrm>
        </p:spPr>
        <p:txBody>
          <a:bodyPr/>
          <a:lstStyle/>
          <a:p>
            <a:pPr lvl="0"/>
            <a:r>
              <a:rPr lang="en-US"/>
              <a:t>Click to add text, or use the icon to add a table</a:t>
            </a:r>
          </a:p>
          <a:p>
            <a:pPr lvl="1"/>
            <a:r>
              <a:rPr lang="en-US"/>
              <a:t>Body text (second level)</a:t>
            </a:r>
          </a:p>
          <a:p>
            <a:pPr lvl="2"/>
            <a:r>
              <a:rPr lang="en-US"/>
              <a:t>Square bullet (third level)</a:t>
            </a:r>
          </a:p>
          <a:p>
            <a:pPr lvl="3"/>
            <a:r>
              <a:rPr lang="en-US"/>
              <a:t>Dashed bullet (fourth level)</a:t>
            </a:r>
          </a:p>
          <a:p>
            <a:pPr lvl="4"/>
            <a:r>
              <a:rPr lang="en-US"/>
              <a:t>Dashed bullet (fifth level)</a:t>
            </a:r>
          </a:p>
        </p:txBody>
      </p:sp>
      <p:sp>
        <p:nvSpPr>
          <p:cNvPr id="6" name="Content Placeholder 13">
            <a:extLst>
              <a:ext uri="{FF2B5EF4-FFF2-40B4-BE49-F238E27FC236}">
                <a16:creationId xmlns:a16="http://schemas.microsoft.com/office/drawing/2014/main" id="{D893719C-09E6-8446-95C5-B4FC163CB027}"/>
              </a:ext>
            </a:extLst>
          </p:cNvPr>
          <p:cNvSpPr>
            <a:spLocks noGrp="1"/>
          </p:cNvSpPr>
          <p:nvPr>
            <p:ph sz="quarter" idx="105" hasCustomPrompt="1"/>
          </p:nvPr>
        </p:nvSpPr>
        <p:spPr>
          <a:xfrm>
            <a:off x="431802" y="2838264"/>
            <a:ext cx="8280398" cy="1786124"/>
          </a:xfrm>
        </p:spPr>
        <p:txBody>
          <a:bodyPr/>
          <a:lstStyle/>
          <a:p>
            <a:pPr lvl="0"/>
            <a:r>
              <a:rPr lang="en-US"/>
              <a:t>Click to add text, or use the icon to add a table</a:t>
            </a:r>
          </a:p>
          <a:p>
            <a:pPr lvl="1"/>
            <a:r>
              <a:rPr lang="en-US"/>
              <a:t>Body text (second level)</a:t>
            </a:r>
          </a:p>
          <a:p>
            <a:pPr lvl="2"/>
            <a:r>
              <a:rPr lang="en-US"/>
              <a:t>Square bullet (third level)</a:t>
            </a:r>
          </a:p>
          <a:p>
            <a:pPr lvl="3"/>
            <a:r>
              <a:rPr lang="en-US"/>
              <a:t>Dashed bullet (fourth level)</a:t>
            </a:r>
          </a:p>
          <a:p>
            <a:pPr lvl="4"/>
            <a:r>
              <a:rPr lang="en-US"/>
              <a:t>Dashed bullet (fifth level)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4A06038C-128D-734E-9D80-8DBA43C1A8F8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800" y="4650581"/>
            <a:ext cx="7440613" cy="379131"/>
          </a:xfrm>
        </p:spPr>
        <p:txBody>
          <a:bodyPr bIns="0" anchor="b"/>
          <a:lstStyle>
            <a:lvl1pPr marL="4763" indent="-1191">
              <a:spcBef>
                <a:spcPts val="56"/>
              </a:spcBef>
              <a:spcAft>
                <a:spcPts val="56"/>
              </a:spcAft>
              <a:buSzPct val="100000"/>
              <a:buFontTx/>
              <a:buNone/>
              <a:tabLst/>
              <a:defRPr sz="825" b="0">
                <a:solidFill>
                  <a:schemeClr val="tx1"/>
                </a:solidFill>
              </a:defRPr>
            </a:lvl1pPr>
            <a:lvl2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¹"/>
              <a:tabLst/>
              <a:defRPr sz="825" b="0" i="0">
                <a:solidFill>
                  <a:schemeClr val="tx1"/>
                </a:solidFill>
              </a:defRPr>
            </a:lvl2pPr>
            <a:lvl3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²"/>
              <a:tabLst/>
              <a:defRPr sz="825">
                <a:solidFill>
                  <a:schemeClr val="tx1"/>
                </a:solidFill>
              </a:defRPr>
            </a:lvl3pPr>
            <a:lvl4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³"/>
              <a:tabLst/>
              <a:defRPr sz="825">
                <a:solidFill>
                  <a:schemeClr val="tx1"/>
                </a:solidFill>
              </a:defRPr>
            </a:lvl4pPr>
            <a:lvl5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⁴"/>
              <a:tabLst/>
              <a:defRPr sz="825">
                <a:solidFill>
                  <a:schemeClr val="tx1"/>
                </a:solidFill>
              </a:defRPr>
            </a:lvl5pPr>
            <a:lvl6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⁵"/>
              <a:tabLst/>
              <a:defRPr sz="825">
                <a:solidFill>
                  <a:schemeClr val="tx1"/>
                </a:solidFill>
              </a:defRPr>
            </a:lvl6pPr>
            <a:lvl7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⁶"/>
              <a:tabLst/>
              <a:defRPr sz="825">
                <a:solidFill>
                  <a:schemeClr val="tx1"/>
                </a:solidFill>
              </a:defRPr>
            </a:lvl7pPr>
            <a:lvl8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⁷"/>
              <a:tabLst/>
              <a:defRPr sz="825">
                <a:solidFill>
                  <a:schemeClr val="tx1"/>
                </a:solidFill>
              </a:defRPr>
            </a:lvl8pPr>
            <a:lvl9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⁸"/>
              <a:tabLst/>
              <a:defRPr sz="825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/>
              <a:t>Footnotes – Levels 2-9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2CC4C5-26A5-4F45-BB5F-846EFE4C15E8}"/>
              </a:ext>
            </a:extLst>
          </p:cNvPr>
          <p:cNvSpPr>
            <a:spLocks noGrp="1"/>
          </p:cNvSpPr>
          <p:nvPr>
            <p:ph type="dt" sz="half" idx="10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EC332D7-9604-5C49-9FCA-6EED3EB703A5}"/>
              </a:ext>
            </a:extLst>
          </p:cNvPr>
          <p:cNvSpPr>
            <a:spLocks noGrp="1"/>
          </p:cNvSpPr>
          <p:nvPr>
            <p:ph type="ftr" sz="quarter" idx="10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2381C1A-6FC0-BF4F-8124-7B7DCAB4EE32}"/>
              </a:ext>
            </a:extLst>
          </p:cNvPr>
          <p:cNvSpPr>
            <a:spLocks noGrp="1"/>
          </p:cNvSpPr>
          <p:nvPr>
            <p:ph type="sldNum" sz="quarter" idx="108"/>
          </p:nvPr>
        </p:nvSpPr>
        <p:spPr/>
        <p:txBody>
          <a:bodyPr/>
          <a:lstStyle/>
          <a:p>
            <a:pPr marL="9525"/>
            <a:fld id="{078C017C-E1B9-8443-B047-B08AAA027B45}" type="slidenum">
              <a:rPr lang="en-US" smtClean="0"/>
              <a:pPr marL="9525"/>
              <a:t>‹#›</a:t>
            </a:fld>
            <a:endParaRPr lang="en-US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D404F43-75AD-CE4A-A7B8-A9E3FF14D26D}"/>
              </a:ext>
            </a:extLst>
          </p:cNvPr>
          <p:cNvGrpSpPr/>
          <p:nvPr userDrawn="1"/>
        </p:nvGrpSpPr>
        <p:grpSpPr>
          <a:xfrm>
            <a:off x="9399182" y="1"/>
            <a:ext cx="2974470" cy="5143496"/>
            <a:chOff x="9399182" y="0"/>
            <a:chExt cx="2974470" cy="6857995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1014F8BC-C417-2D44-A2FC-282CC7C25B35}"/>
                </a:ext>
              </a:extLst>
            </p:cNvPr>
            <p:cNvSpPr/>
            <p:nvPr userDrawn="1"/>
          </p:nvSpPr>
          <p:spPr>
            <a:xfrm>
              <a:off x="9399182" y="0"/>
              <a:ext cx="2798651" cy="685799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050"/>
            </a:p>
          </p:txBody>
        </p:sp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55C16C39-1CD8-AA44-89DD-0FA2F2460F0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41694"/>
            <a:stretch/>
          </p:blipFill>
          <p:spPr>
            <a:xfrm>
              <a:off x="9558506" y="1322104"/>
              <a:ext cx="2639328" cy="995540"/>
            </a:xfrm>
            <a:prstGeom prst="rect">
              <a:avLst/>
            </a:prstGeom>
          </p:spPr>
        </p:pic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7A7AD89C-ED0F-1B48-B39F-C037B93F2E6A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F235AC39-43AE-6F40-AB10-243ECD167CED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3D35AB1B-2CF2-9747-BA0D-43B811696209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1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94" name="Picture 93">
                <a:extLst>
                  <a:ext uri="{FF2B5EF4-FFF2-40B4-BE49-F238E27FC236}">
                    <a16:creationId xmlns:a16="http://schemas.microsoft.com/office/drawing/2014/main" id="{8C7C35E0-1DE8-244B-961E-FE49AB67FB0A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CAAD5832-1ACD-084B-A42D-A8C00D8AAA8B}"/>
                </a:ext>
              </a:extLst>
            </p:cNvPr>
            <p:cNvGrpSpPr/>
            <p:nvPr userDrawn="1"/>
          </p:nvGrpSpPr>
          <p:grpSpPr>
            <a:xfrm>
              <a:off x="9558507" y="1119891"/>
              <a:ext cx="2639328" cy="202617"/>
              <a:chOff x="9303325" y="149270"/>
              <a:chExt cx="2639328" cy="202617"/>
            </a:xfrm>
          </p:grpSpPr>
          <p:sp>
            <p:nvSpPr>
              <p:cNvPr id="90" name="TextBox 89">
                <a:extLst>
                  <a:ext uri="{FF2B5EF4-FFF2-40B4-BE49-F238E27FC236}">
                    <a16:creationId xmlns:a16="http://schemas.microsoft.com/office/drawing/2014/main" id="{76712AB1-475C-5B42-87BD-53A6197FA783}"/>
                  </a:ext>
                </a:extLst>
              </p:cNvPr>
              <p:cNvSpPr txBox="1"/>
              <p:nvPr userDrawn="1"/>
            </p:nvSpPr>
            <p:spPr>
              <a:xfrm>
                <a:off x="9303325" y="149270"/>
                <a:ext cx="1670329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sz="825">
                    <a:solidFill>
                      <a:schemeClr val="bg1"/>
                    </a:solidFill>
                  </a:rPr>
                  <a:t>TEXT FORMATS IN THIS LAYOUT</a:t>
                </a:r>
              </a:p>
            </p:txBody>
          </p: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4F5BD1A5-A975-234B-A289-B0633D1C295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303325" y="351887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C8881626-21AA-D14A-AD25-7121DF34EC26}"/>
                </a:ext>
              </a:extLst>
            </p:cNvPr>
            <p:cNvGrpSpPr/>
            <p:nvPr userDrawn="1"/>
          </p:nvGrpSpPr>
          <p:grpSpPr>
            <a:xfrm>
              <a:off x="9554253" y="3678850"/>
              <a:ext cx="2735151" cy="2655095"/>
              <a:chOff x="9541497" y="2555080"/>
              <a:chExt cx="2735151" cy="2655095"/>
            </a:xfrm>
          </p:grpSpPr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30746657-077C-3546-9563-5E5BA10BE248}"/>
                  </a:ext>
                </a:extLst>
              </p:cNvPr>
              <p:cNvGrpSpPr/>
              <p:nvPr userDrawn="1"/>
            </p:nvGrpSpPr>
            <p:grpSpPr>
              <a:xfrm>
                <a:off x="9541497" y="2555080"/>
                <a:ext cx="2735151" cy="2655095"/>
                <a:chOff x="9296567" y="4910411"/>
                <a:chExt cx="2735151" cy="2655095"/>
              </a:xfrm>
            </p:grpSpPr>
            <p:sp>
              <p:nvSpPr>
                <p:cNvPr id="86" name="Rectangle 85">
                  <a:extLst>
                    <a:ext uri="{FF2B5EF4-FFF2-40B4-BE49-F238E27FC236}">
                      <a16:creationId xmlns:a16="http://schemas.microsoft.com/office/drawing/2014/main" id="{D68127FC-49D0-D74A-9EA8-442E1736CB3A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265509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  <p:sp>
              <p:nvSpPr>
                <p:cNvPr id="87" name="TextBox 86">
                  <a:extLst>
                    <a:ext uri="{FF2B5EF4-FFF2-40B4-BE49-F238E27FC236}">
                      <a16:creationId xmlns:a16="http://schemas.microsoft.com/office/drawing/2014/main" id="{D7249D72-5168-BB4C-87A9-96903DE73F6A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8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Automatic paragraph spacing</a:t>
                  </a:r>
                </a:p>
              </p:txBody>
            </p:sp>
            <p:pic>
              <p:nvPicPr>
                <p:cNvPr id="88" name="Graphic 87">
                  <a:extLst>
                    <a:ext uri="{FF2B5EF4-FFF2-40B4-BE49-F238E27FC236}">
                      <a16:creationId xmlns:a16="http://schemas.microsoft.com/office/drawing/2014/main" id="{19B19338-5CD2-7648-ABBF-92C686066695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89" name="TextBox 88">
                  <a:extLst>
                    <a:ext uri="{FF2B5EF4-FFF2-40B4-BE49-F238E27FC236}">
                      <a16:creationId xmlns:a16="http://schemas.microsoft.com/office/drawing/2014/main" id="{3D7DE9F1-D936-D241-897F-E8C3A31F4213}"/>
                    </a:ext>
                  </a:extLst>
                </p:cNvPr>
                <p:cNvSpPr txBox="1"/>
                <p:nvPr userDrawn="1"/>
              </p:nvSpPr>
              <p:spPr>
                <a:xfrm>
                  <a:off x="9471806" y="5300350"/>
                  <a:ext cx="2271204" cy="55399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>
                    <a:spcBef>
                      <a:spcPts val="200"/>
                    </a:spcBef>
                    <a:defRPr sz="9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49225" lvl="1" indent="-149225">
                    <a:spcBef>
                      <a:spcPts val="200"/>
                    </a:spcBef>
                    <a:spcAft>
                      <a:spcPts val="0"/>
                    </a:spcAft>
                    <a:defRPr sz="9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</a:lstStyle>
                <a:p>
                  <a:r>
                    <a:rPr lang="en-US" sz="675"/>
                    <a:t>This template automatically adds paragraph spacing between first-level text paragraphs. When pasting in content, remember to delete any extra blank lines from your text.</a:t>
                  </a:r>
                </a:p>
              </p:txBody>
            </p:sp>
          </p:grpSp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9095461C-201B-214E-A77B-60BAC311D272}"/>
                  </a:ext>
                </a:extLst>
              </p:cNvPr>
              <p:cNvGrpSpPr/>
              <p:nvPr userDrawn="1"/>
            </p:nvGrpSpPr>
            <p:grpSpPr>
              <a:xfrm>
                <a:off x="9833052" y="3569700"/>
                <a:ext cx="2073198" cy="1627918"/>
                <a:chOff x="9833052" y="3617325"/>
                <a:chExt cx="2073198" cy="1627918"/>
              </a:xfrm>
            </p:grpSpPr>
            <p:pic>
              <p:nvPicPr>
                <p:cNvPr id="55" name="Picture 54">
                  <a:extLst>
                    <a:ext uri="{FF2B5EF4-FFF2-40B4-BE49-F238E27FC236}">
                      <a16:creationId xmlns:a16="http://schemas.microsoft.com/office/drawing/2014/main" id="{EB575104-562F-004A-B326-7B5EEDC843A4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10075660" y="3617325"/>
                  <a:ext cx="1830590" cy="1627918"/>
                </a:xfrm>
                <a:prstGeom prst="rect">
                  <a:avLst/>
                </a:prstGeom>
              </p:spPr>
            </p:pic>
            <p:cxnSp>
              <p:nvCxnSpPr>
                <p:cNvPr id="56" name="Straight Connector 55">
                  <a:extLst>
                    <a:ext uri="{FF2B5EF4-FFF2-40B4-BE49-F238E27FC236}">
                      <a16:creationId xmlns:a16="http://schemas.microsoft.com/office/drawing/2014/main" id="{2D863755-CBBC-8B48-BCB9-6BB775EA83E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0147060" y="3825943"/>
                  <a:ext cx="0" cy="186966"/>
                </a:xfrm>
                <a:prstGeom prst="line">
                  <a:avLst/>
                </a:prstGeom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3" name="Straight Connector 82">
                  <a:extLst>
                    <a:ext uri="{FF2B5EF4-FFF2-40B4-BE49-F238E27FC236}">
                      <a16:creationId xmlns:a16="http://schemas.microsoft.com/office/drawing/2014/main" id="{711D527A-AE54-1F49-9DBB-C3CD78A4EDFB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0147060" y="4714218"/>
                  <a:ext cx="0" cy="186966"/>
                </a:xfrm>
                <a:prstGeom prst="line">
                  <a:avLst/>
                </a:prstGeom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4" name="TextBox 83">
                  <a:extLst>
                    <a:ext uri="{FF2B5EF4-FFF2-40B4-BE49-F238E27FC236}">
                      <a16:creationId xmlns:a16="http://schemas.microsoft.com/office/drawing/2014/main" id="{69096FA6-8848-D14E-8857-EF56C7EEAFD3}"/>
                    </a:ext>
                  </a:extLst>
                </p:cNvPr>
                <p:cNvSpPr txBox="1"/>
                <p:nvPr userDrawn="1"/>
              </p:nvSpPr>
              <p:spPr>
                <a:xfrm>
                  <a:off x="9833052" y="3828242"/>
                  <a:ext cx="256480" cy="184665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t">
                  <a:spAutoFit/>
                </a:bodyPr>
                <a:lstStyle/>
                <a:p>
                  <a:pPr algn="r"/>
                  <a:r>
                    <a:rPr lang="en-US" sz="4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Automatic</a:t>
                  </a:r>
                  <a:br>
                    <a:rPr lang="en-US" sz="4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</a:br>
                  <a:r>
                    <a:rPr lang="en-US" sz="4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space</a:t>
                  </a:r>
                </a:p>
              </p:txBody>
            </p:sp>
            <p:sp>
              <p:nvSpPr>
                <p:cNvPr id="85" name="TextBox 84">
                  <a:extLst>
                    <a:ext uri="{FF2B5EF4-FFF2-40B4-BE49-F238E27FC236}">
                      <a16:creationId xmlns:a16="http://schemas.microsoft.com/office/drawing/2014/main" id="{0A6361FD-3788-164D-82B1-B50A51D5C49E}"/>
                    </a:ext>
                  </a:extLst>
                </p:cNvPr>
                <p:cNvSpPr txBox="1"/>
                <p:nvPr userDrawn="1"/>
              </p:nvSpPr>
              <p:spPr>
                <a:xfrm>
                  <a:off x="9833052" y="4721741"/>
                  <a:ext cx="256480" cy="184665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t">
                  <a:spAutoFit/>
                </a:bodyPr>
                <a:lstStyle/>
                <a:p>
                  <a:pPr algn="r"/>
                  <a:r>
                    <a:rPr lang="en-US" sz="4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Automatic</a:t>
                  </a:r>
                  <a:br>
                    <a:rPr lang="en-US" sz="4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</a:br>
                  <a:r>
                    <a:rPr lang="en-US" sz="4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space</a:t>
                  </a:r>
                </a:p>
              </p:txBody>
            </p:sp>
          </p:grp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0B28497C-1EBC-4146-9C10-1FA4511A8EB1}"/>
                </a:ext>
              </a:extLst>
            </p:cNvPr>
            <p:cNvGrpSpPr/>
            <p:nvPr userDrawn="1"/>
          </p:nvGrpSpPr>
          <p:grpSpPr>
            <a:xfrm>
              <a:off x="9558506" y="2409506"/>
              <a:ext cx="2639327" cy="684608"/>
              <a:chOff x="9558506" y="2476806"/>
              <a:chExt cx="2639327" cy="684608"/>
            </a:xfrm>
          </p:grpSpPr>
          <p:pic>
            <p:nvPicPr>
              <p:cNvPr id="50" name="Picture 49">
                <a:extLst>
                  <a:ext uri="{FF2B5EF4-FFF2-40B4-BE49-F238E27FC236}">
                    <a16:creationId xmlns:a16="http://schemas.microsoft.com/office/drawing/2014/main" id="{2C8A9567-D498-4E43-A058-AB8CDFBD67CA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6"/>
              <a:srcRect r="23484"/>
              <a:stretch/>
            </p:blipFill>
            <p:spPr>
              <a:xfrm>
                <a:off x="10441172" y="2476806"/>
                <a:ext cx="1756661" cy="684608"/>
              </a:xfrm>
              <a:prstGeom prst="rect">
                <a:avLst/>
              </a:prstGeom>
            </p:spPr>
          </p:pic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0AE214B1-0405-3F44-B02A-A17F031B193F}"/>
                  </a:ext>
                </a:extLst>
              </p:cNvPr>
              <p:cNvSpPr/>
              <p:nvPr userDrawn="1"/>
            </p:nvSpPr>
            <p:spPr>
              <a:xfrm>
                <a:off x="9558506" y="2476806"/>
                <a:ext cx="882666" cy="684608"/>
              </a:xfrm>
              <a:prstGeom prst="rect">
                <a:avLst/>
              </a:prstGeom>
              <a:solidFill>
                <a:schemeClr val="bg2">
                  <a:alpha val="17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A031FC06-07C2-F944-B3D7-5948AB3601DB}"/>
                  </a:ext>
                </a:extLst>
              </p:cNvPr>
              <p:cNvSpPr txBox="1"/>
              <p:nvPr userDrawn="1"/>
            </p:nvSpPr>
            <p:spPr>
              <a:xfrm>
                <a:off x="9635558" y="2549805"/>
                <a:ext cx="676269" cy="43088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0"/>
                <a:r>
                  <a:rPr lang="en-US" sz="525" kern="120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rPr>
                  <a:t>Note: </a:t>
                </a:r>
                <a:br>
                  <a:rPr lang="en-US" sz="525" kern="120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rPr>
                </a:br>
                <a:r>
                  <a:rPr lang="en-US" sz="525" kern="120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rPr>
                  <a:t>For numbered lists, see the most up-to-date Asset File.</a:t>
                </a:r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3535732C-1E13-4C4A-B787-AE24B4A3C9B4}"/>
                </a:ext>
              </a:extLst>
            </p:cNvPr>
            <p:cNvGrpSpPr/>
            <p:nvPr userDrawn="1"/>
          </p:nvGrpSpPr>
          <p:grpSpPr>
            <a:xfrm>
              <a:off x="9554253" y="2414886"/>
              <a:ext cx="2819399" cy="1181890"/>
              <a:chOff x="9541498" y="3352649"/>
              <a:chExt cx="2819399" cy="1181890"/>
            </a:xfrm>
          </p:grpSpPr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B88CD7CA-DBA3-C14E-A359-502F7DC9E08F}"/>
                  </a:ext>
                </a:extLst>
              </p:cNvPr>
              <p:cNvGrpSpPr/>
              <p:nvPr userDrawn="1"/>
            </p:nvGrpSpPr>
            <p:grpSpPr>
              <a:xfrm>
                <a:off x="9541498" y="3352649"/>
                <a:ext cx="2735150" cy="1181890"/>
                <a:chOff x="9541498" y="3751132"/>
                <a:chExt cx="2735150" cy="1181890"/>
              </a:xfrm>
            </p:grpSpPr>
            <p:grpSp>
              <p:nvGrpSpPr>
                <p:cNvPr id="45" name="Group 44">
                  <a:extLst>
                    <a:ext uri="{FF2B5EF4-FFF2-40B4-BE49-F238E27FC236}">
                      <a16:creationId xmlns:a16="http://schemas.microsoft.com/office/drawing/2014/main" id="{8A62CE80-1DCA-2E41-A9A2-0FBB26DC2E37}"/>
                    </a:ext>
                  </a:extLst>
                </p:cNvPr>
                <p:cNvGrpSpPr/>
                <p:nvPr userDrawn="1"/>
              </p:nvGrpSpPr>
              <p:grpSpPr>
                <a:xfrm>
                  <a:off x="9541498" y="3751132"/>
                  <a:ext cx="2735150" cy="1181890"/>
                  <a:chOff x="9296568" y="4910411"/>
                  <a:chExt cx="2735150" cy="1181890"/>
                </a:xfrm>
              </p:grpSpPr>
              <p:sp>
                <p:nvSpPr>
                  <p:cNvPr id="47" name="Rectangle 46">
                    <a:extLst>
                      <a:ext uri="{FF2B5EF4-FFF2-40B4-BE49-F238E27FC236}">
                        <a16:creationId xmlns:a16="http://schemas.microsoft.com/office/drawing/2014/main" id="{6B01E16F-8D56-AD42-BF0C-1B00F9E3334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9296568" y="4910411"/>
                    <a:ext cx="2735150" cy="1181890"/>
                  </a:xfrm>
                  <a:prstGeom prst="rect">
                    <a:avLst/>
                  </a:prstGeom>
                  <a:solidFill>
                    <a:srgbClr val="FFFADF"/>
                  </a:solidFill>
                  <a:ln w="25400">
                    <a:solidFill>
                      <a:schemeClr val="tx1">
                        <a:lumMod val="65000"/>
                        <a:lumOff val="3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50"/>
                  </a:p>
                </p:txBody>
              </p:sp>
              <p:sp>
                <p:nvSpPr>
                  <p:cNvPr id="48" name="TextBox 47">
                    <a:extLst>
                      <a:ext uri="{FF2B5EF4-FFF2-40B4-BE49-F238E27FC236}">
                        <a16:creationId xmlns:a16="http://schemas.microsoft.com/office/drawing/2014/main" id="{301AE0C3-91EA-2D43-B520-2DB261739B44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662758" y="5046087"/>
                    <a:ext cx="2211394" cy="16927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 algn="l"/>
                    <a:r>
                      <a:rPr lang="en-US" sz="825">
                        <a:solidFill>
                          <a:schemeClr val="accent2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Numbered lists</a:t>
                    </a:r>
                  </a:p>
                </p:txBody>
              </p:sp>
              <p:sp>
                <p:nvSpPr>
                  <p:cNvPr id="49" name="TextBox 48">
                    <a:extLst>
                      <a:ext uri="{FF2B5EF4-FFF2-40B4-BE49-F238E27FC236}">
                        <a16:creationId xmlns:a16="http://schemas.microsoft.com/office/drawing/2014/main" id="{1BAA935D-EF18-3C4F-87C9-9936893F982C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471806" y="5300350"/>
                    <a:ext cx="964050" cy="553998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>
                      <a:spcBef>
                        <a:spcPts val="150"/>
                      </a:spcBef>
                    </a:pPr>
                    <a:r>
                      <a:rPr lang="en-US" sz="675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For instruction on formatting numbered lists, see the most up-to-date Asset File.</a:t>
                    </a:r>
                  </a:p>
                </p:txBody>
              </p:sp>
            </p:grpSp>
            <p:pic>
              <p:nvPicPr>
                <p:cNvPr id="46" name="Graphic 45">
                  <a:extLst>
                    <a:ext uri="{FF2B5EF4-FFF2-40B4-BE49-F238E27FC236}">
                      <a16:creationId xmlns:a16="http://schemas.microsoft.com/office/drawing/2014/main" id="{DA1AD802-82D2-EE49-8DC0-E5CFC77362A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686425" y="3891259"/>
                  <a:ext cx="170340" cy="170340"/>
                </a:xfrm>
                <a:prstGeom prst="rect">
                  <a:avLst/>
                </a:prstGeom>
              </p:spPr>
            </p:pic>
          </p:grpSp>
          <p:pic>
            <p:nvPicPr>
              <p:cNvPr id="44" name="Picture 43">
                <a:extLst>
                  <a:ext uri="{FF2B5EF4-FFF2-40B4-BE49-F238E27FC236}">
                    <a16:creationId xmlns:a16="http://schemas.microsoft.com/office/drawing/2014/main" id="{59B2C3CC-42E2-6D46-BF1D-66B0986526F5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6"/>
              <a:srcRect r="30584"/>
              <a:stretch/>
            </p:blipFill>
            <p:spPr>
              <a:xfrm>
                <a:off x="10767220" y="3758285"/>
                <a:ext cx="1593677" cy="684608"/>
              </a:xfrm>
              <a:prstGeom prst="rect">
                <a:avLst/>
              </a:prstGeom>
              <a:solidFill>
                <a:srgbClr val="FFFADF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410061739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A3E7C59C-7AB2-FD4B-9D3E-CA7E0D8CB2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Slide TITLE. ALL CAPS. TWO LINES max.</a:t>
            </a:r>
          </a:p>
        </p:txBody>
      </p:sp>
      <p:sp>
        <p:nvSpPr>
          <p:cNvPr id="16" name="Chart Placeholder 2">
            <a:extLst>
              <a:ext uri="{FF2B5EF4-FFF2-40B4-BE49-F238E27FC236}">
                <a16:creationId xmlns:a16="http://schemas.microsoft.com/office/drawing/2014/main" id="{A52282EC-86DC-8D43-96A4-DCB61C454A07}"/>
              </a:ext>
            </a:extLst>
          </p:cNvPr>
          <p:cNvSpPr>
            <a:spLocks noGrp="1"/>
          </p:cNvSpPr>
          <p:nvPr>
            <p:ph type="chart" sz="quarter" idx="113"/>
          </p:nvPr>
        </p:nvSpPr>
        <p:spPr>
          <a:xfrm>
            <a:off x="431800" y="1301353"/>
            <a:ext cx="8280399" cy="3323034"/>
          </a:xfrm>
        </p:spPr>
        <p:txBody>
          <a:bodyPr/>
          <a:lstStyle>
            <a:lvl1pPr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A5DCE5DD-26A8-1F44-AB0E-1108C6B2C629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800" y="4650581"/>
            <a:ext cx="7440613" cy="379131"/>
          </a:xfrm>
        </p:spPr>
        <p:txBody>
          <a:bodyPr bIns="0" anchor="b"/>
          <a:lstStyle>
            <a:lvl1pPr marL="4763" indent="-1191">
              <a:spcBef>
                <a:spcPts val="56"/>
              </a:spcBef>
              <a:spcAft>
                <a:spcPts val="56"/>
              </a:spcAft>
              <a:buSzPct val="100000"/>
              <a:buFontTx/>
              <a:buNone/>
              <a:tabLst/>
              <a:defRPr sz="825" b="0">
                <a:solidFill>
                  <a:schemeClr val="tx1"/>
                </a:solidFill>
              </a:defRPr>
            </a:lvl1pPr>
            <a:lvl2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¹"/>
              <a:tabLst/>
              <a:defRPr sz="825" b="0" i="0">
                <a:solidFill>
                  <a:schemeClr val="tx1"/>
                </a:solidFill>
              </a:defRPr>
            </a:lvl2pPr>
            <a:lvl3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²"/>
              <a:tabLst/>
              <a:defRPr sz="825">
                <a:solidFill>
                  <a:schemeClr val="tx1"/>
                </a:solidFill>
              </a:defRPr>
            </a:lvl3pPr>
            <a:lvl4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³"/>
              <a:tabLst/>
              <a:defRPr sz="825">
                <a:solidFill>
                  <a:schemeClr val="tx1"/>
                </a:solidFill>
              </a:defRPr>
            </a:lvl4pPr>
            <a:lvl5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⁴"/>
              <a:tabLst/>
              <a:defRPr sz="825">
                <a:solidFill>
                  <a:schemeClr val="tx1"/>
                </a:solidFill>
              </a:defRPr>
            </a:lvl5pPr>
            <a:lvl6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⁵"/>
              <a:tabLst/>
              <a:defRPr sz="825">
                <a:solidFill>
                  <a:schemeClr val="tx1"/>
                </a:solidFill>
              </a:defRPr>
            </a:lvl6pPr>
            <a:lvl7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⁶"/>
              <a:tabLst/>
              <a:defRPr sz="825">
                <a:solidFill>
                  <a:schemeClr val="tx1"/>
                </a:solidFill>
              </a:defRPr>
            </a:lvl7pPr>
            <a:lvl8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⁷"/>
              <a:tabLst/>
              <a:defRPr sz="825">
                <a:solidFill>
                  <a:schemeClr val="tx1"/>
                </a:solidFill>
              </a:defRPr>
            </a:lvl8pPr>
            <a:lvl9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⁸"/>
              <a:tabLst/>
              <a:defRPr sz="825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/>
              <a:t>Footnotes – Levels 2-9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932E292F-93E5-C544-8958-CDEDEB71F002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431801" y="904607"/>
            <a:ext cx="1432443" cy="303826"/>
          </a:xfrm>
          <a:blipFill dpi="0" rotWithShape="1">
            <a:blip r:embed="rId2"/>
            <a:srcRect/>
            <a:tile tx="0" ty="0" sx="100000" sy="100000" flip="xy" algn="b"/>
          </a:blipFill>
          <a:effectLst/>
        </p:spPr>
        <p:txBody>
          <a:bodyPr wrap="none" bIns="54000" anchor="b">
            <a:spAutoFit/>
          </a:bodyPr>
          <a:lstStyle>
            <a:lvl1pPr marL="2381" indent="0">
              <a:spcBef>
                <a:spcPts val="75"/>
              </a:spcBef>
              <a:spcAft>
                <a:spcPts val="0"/>
              </a:spcAft>
              <a:tabLst/>
              <a:defRPr sz="900">
                <a:solidFill>
                  <a:schemeClr val="tx1"/>
                </a:solidFill>
              </a:defRPr>
            </a:lvl1pPr>
            <a:lvl2pPr marL="2381" indent="0">
              <a:spcAft>
                <a:spcPts val="0"/>
              </a:spcAft>
              <a:buFont typeface="Arial" panose="020B0604020202020204" pitchFamily="34" charset="0"/>
              <a:buNone/>
              <a:tabLst/>
              <a:defRPr sz="900">
                <a:solidFill>
                  <a:schemeClr val="tx1"/>
                </a:solidFill>
              </a:defRPr>
            </a:lvl2pPr>
            <a:lvl3pPr marL="2381" indent="0">
              <a:buNone/>
              <a:tabLst/>
              <a:defRPr sz="900">
                <a:solidFill>
                  <a:schemeClr val="tx1"/>
                </a:solidFill>
              </a:defRPr>
            </a:lvl3pPr>
            <a:lvl4pPr marL="2381" indent="0">
              <a:spcAft>
                <a:spcPts val="0"/>
              </a:spcAft>
              <a:buNone/>
              <a:tabLst/>
              <a:defRPr sz="900">
                <a:solidFill>
                  <a:schemeClr val="tx1"/>
                </a:solidFill>
              </a:defRPr>
            </a:lvl4pPr>
            <a:lvl5pPr marL="2381" indent="0">
              <a:spcAft>
                <a:spcPts val="0"/>
              </a:spcAft>
              <a:buFont typeface="Arial" panose="020B0604020202020204" pitchFamily="34" charset="0"/>
              <a:buNone/>
              <a:tabLst/>
              <a:defRPr sz="900">
                <a:solidFill>
                  <a:schemeClr val="tx1"/>
                </a:solidFill>
              </a:defRPr>
            </a:lvl5pPr>
            <a:lvl6pPr marL="2381" indent="0">
              <a:spcAft>
                <a:spcPts val="0"/>
              </a:spcAft>
              <a:buNone/>
              <a:tabLst/>
              <a:defRPr sz="900">
                <a:solidFill>
                  <a:schemeClr val="tx1"/>
                </a:solidFill>
              </a:defRPr>
            </a:lvl6pPr>
            <a:lvl7pPr marL="2381" indent="0">
              <a:spcAft>
                <a:spcPts val="0"/>
              </a:spcAft>
              <a:buNone/>
              <a:tabLst/>
              <a:defRPr sz="900">
                <a:solidFill>
                  <a:schemeClr val="tx1"/>
                </a:solidFill>
              </a:defRPr>
            </a:lvl7pPr>
            <a:lvl8pPr marL="2381" indent="0">
              <a:spcAft>
                <a:spcPts val="0"/>
              </a:spcAft>
              <a:buNone/>
              <a:tabLst/>
              <a:defRPr sz="900">
                <a:solidFill>
                  <a:schemeClr val="tx1"/>
                </a:solidFill>
              </a:defRPr>
            </a:lvl8pPr>
            <a:lvl9pPr marL="2381" indent="0">
              <a:spcAft>
                <a:spcPts val="0"/>
              </a:spcAft>
              <a:buNone/>
              <a:tabLst/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add chart title</a:t>
            </a:r>
          </a:p>
          <a:p>
            <a:pPr lvl="1"/>
            <a:r>
              <a:rPr lang="en-US"/>
              <a:t>Chart subtitle (second level)</a:t>
            </a: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46A3C5DB-48EB-1C41-B49E-663E78CA9D9E}"/>
              </a:ext>
            </a:extLst>
          </p:cNvPr>
          <p:cNvGrpSpPr/>
          <p:nvPr userDrawn="1"/>
        </p:nvGrpSpPr>
        <p:grpSpPr>
          <a:xfrm>
            <a:off x="9399183" y="-1"/>
            <a:ext cx="2961715" cy="5242303"/>
            <a:chOff x="9399182" y="-1"/>
            <a:chExt cx="2961715" cy="6989737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DEE0A41-E466-6241-9EE4-211BECC9E5B4}"/>
                </a:ext>
              </a:extLst>
            </p:cNvPr>
            <p:cNvSpPr/>
            <p:nvPr userDrawn="1"/>
          </p:nvSpPr>
          <p:spPr>
            <a:xfrm>
              <a:off x="9399182" y="-1"/>
              <a:ext cx="2798651" cy="698973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050"/>
            </a:p>
          </p:txBody>
        </p:sp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052E85D3-7D4D-1245-9994-C9F23EA78BC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r="36104"/>
            <a:stretch/>
          </p:blipFill>
          <p:spPr>
            <a:xfrm>
              <a:off x="9558497" y="1330741"/>
              <a:ext cx="2639329" cy="522522"/>
            </a:xfrm>
            <a:prstGeom prst="rect">
              <a:avLst/>
            </a:prstGeom>
          </p:spPr>
        </p:pic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3188577A-9C5E-3441-8977-05779AF7AFFB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AD2D2C92-2EB0-D842-80AE-BDB0B6BE7B3C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78C5C3D8-B1F5-7049-B564-458BB9066277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38" name="Picture 37">
                <a:extLst>
                  <a:ext uri="{FF2B5EF4-FFF2-40B4-BE49-F238E27FC236}">
                    <a16:creationId xmlns:a16="http://schemas.microsoft.com/office/drawing/2014/main" id="{823A8AA4-5D28-EE4F-A6FA-701C10701D71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5F14184C-17A3-1E43-9FDB-63D39103AC76}"/>
                </a:ext>
              </a:extLst>
            </p:cNvPr>
            <p:cNvGrpSpPr/>
            <p:nvPr userDrawn="1"/>
          </p:nvGrpSpPr>
          <p:grpSpPr>
            <a:xfrm>
              <a:off x="9521833" y="5769065"/>
              <a:ext cx="2676002" cy="1074276"/>
              <a:chOff x="9521833" y="2036288"/>
              <a:chExt cx="2676002" cy="1074276"/>
            </a:xfrm>
          </p:grpSpPr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79AE1D20-8CAB-A84B-93C0-DD3E85791803}"/>
                  </a:ext>
                </a:extLst>
              </p:cNvPr>
              <p:cNvSpPr txBox="1"/>
              <p:nvPr userDrawn="1"/>
            </p:nvSpPr>
            <p:spPr>
              <a:xfrm>
                <a:off x="9558507" y="2036288"/>
                <a:ext cx="993862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sz="825">
                    <a:solidFill>
                      <a:schemeClr val="bg1"/>
                    </a:solidFill>
                  </a:rPr>
                  <a:t>ADD A NEW CHART</a:t>
                </a:r>
              </a:p>
            </p:txBody>
          </p:sp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DF9304E6-DDDD-074C-9CA1-3FF397E8A43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558507" y="223890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7FD474BE-600B-C34D-BDE1-0491BC172E2E}"/>
                  </a:ext>
                </a:extLst>
              </p:cNvPr>
              <p:cNvGrpSpPr/>
              <p:nvPr userDrawn="1"/>
            </p:nvGrpSpPr>
            <p:grpSpPr>
              <a:xfrm>
                <a:off x="9521833" y="2361408"/>
                <a:ext cx="2557391" cy="323337"/>
                <a:chOff x="12352022" y="513115"/>
                <a:chExt cx="2557391" cy="323337"/>
              </a:xfrm>
            </p:grpSpPr>
            <p:sp>
              <p:nvSpPr>
                <p:cNvPr id="33" name="TextBox 32">
                  <a:extLst>
                    <a:ext uri="{FF2B5EF4-FFF2-40B4-BE49-F238E27FC236}">
                      <a16:creationId xmlns:a16="http://schemas.microsoft.com/office/drawing/2014/main" id="{0C88436B-93D8-554A-B5CD-918E7F26680E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375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35" name="TextBox 34">
                  <a:extLst>
                    <a:ext uri="{FF2B5EF4-FFF2-40B4-BE49-F238E27FC236}">
                      <a16:creationId xmlns:a16="http://schemas.microsoft.com/office/drawing/2014/main" id="{AEF79A20-3A24-A548-BB43-C0356B3E259D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392798" cy="32333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sz="788"/>
                    <a:t>Open the </a:t>
                  </a:r>
                  <a:r>
                    <a:rPr lang="en-US" sz="788" b="1"/>
                    <a:t>VEDP Template Assets file </a:t>
                  </a:r>
                  <a:r>
                    <a:rPr lang="en-US" sz="788"/>
                    <a:t>and copy the desired chart type into your presentation.</a:t>
                  </a:r>
                </a:p>
              </p:txBody>
            </p:sp>
          </p:grp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0E8E16A0-1C23-7C47-A1F5-A2C39F078AEA}"/>
                  </a:ext>
                </a:extLst>
              </p:cNvPr>
              <p:cNvSpPr txBox="1"/>
              <p:nvPr userDrawn="1"/>
            </p:nvSpPr>
            <p:spPr>
              <a:xfrm>
                <a:off x="9686426" y="2895120"/>
                <a:ext cx="2120429" cy="21544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/>
                  <a:t>These samples slide have further instructions and have been set up so you can easily edit the data.</a:t>
                </a:r>
              </a:p>
            </p:txBody>
          </p:sp>
        </p:grp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43CAB352-C374-234F-BB73-257B0657FFA7}"/>
                </a:ext>
              </a:extLst>
            </p:cNvPr>
            <p:cNvSpPr txBox="1"/>
            <p:nvPr userDrawn="1"/>
          </p:nvSpPr>
          <p:spPr>
            <a:xfrm>
              <a:off x="9558507" y="2034287"/>
              <a:ext cx="1537280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sz="825">
                  <a:solidFill>
                    <a:schemeClr val="bg1"/>
                  </a:solidFill>
                </a:rPr>
                <a:t>FORMAT AN EXISTING CHART</a:t>
              </a: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C19D179F-1619-3041-9EA0-F999842F670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2236904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7B288DF0-7D33-E140-8D7C-8C53D4D2F2BD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9521833" y="2384434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375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1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43AA5595-3102-C444-9F60-386BB986D435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9521833" y="3111484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375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2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012B9C1-AB90-A243-A8E5-BF0E3C62F730}"/>
                </a:ext>
              </a:extLst>
            </p:cNvPr>
            <p:cNvSpPr txBox="1"/>
            <p:nvPr userDrawn="1"/>
          </p:nvSpPr>
          <p:spPr>
            <a:xfrm>
              <a:off x="9686426" y="2359407"/>
              <a:ext cx="2453290" cy="32333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sz="788"/>
                <a:t>Select the chart placeholder and then paste your existing chart.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232CD633-A48D-A745-9BD0-9E3BD2BB3D7B}"/>
                </a:ext>
              </a:extLst>
            </p:cNvPr>
            <p:cNvSpPr txBox="1"/>
            <p:nvPr userDrawn="1"/>
          </p:nvSpPr>
          <p:spPr>
            <a:xfrm>
              <a:off x="9686426" y="3088614"/>
              <a:ext cx="2453290" cy="32333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sz="788"/>
                <a:t>Right-click on the chart and choose “Change Chart Type…”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20654DE4-AAA0-EA42-9B5D-4772B2BF09B0}"/>
                </a:ext>
              </a:extLst>
            </p:cNvPr>
            <p:cNvSpPr txBox="1">
              <a:spLocks noChangeAspect="1"/>
            </p:cNvSpPr>
            <p:nvPr userDrawn="1"/>
          </p:nvSpPr>
          <p:spPr>
            <a:xfrm>
              <a:off x="9521833" y="3574474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375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3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7DDF1272-B825-C44D-A05D-B7B4B9F4EE42}"/>
                </a:ext>
              </a:extLst>
            </p:cNvPr>
            <p:cNvSpPr txBox="1"/>
            <p:nvPr userDrawn="1"/>
          </p:nvSpPr>
          <p:spPr>
            <a:xfrm>
              <a:off x="9686426" y="3551603"/>
              <a:ext cx="2453290" cy="32333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sz="788"/>
                <a:t>Choose one of the VEDP chart styles from the ‘Templates’ category.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C358145A-52DB-874A-A52C-73CB4F645F5D}"/>
                </a:ext>
              </a:extLst>
            </p:cNvPr>
            <p:cNvSpPr txBox="1"/>
            <p:nvPr userDrawn="1"/>
          </p:nvSpPr>
          <p:spPr>
            <a:xfrm>
              <a:off x="9674268" y="2722630"/>
              <a:ext cx="2297650" cy="215444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525"/>
                <a:t>Note: Make sure that you have access to any linked files, or you won’t be able to apply the chart style successfully.</a:t>
              </a: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96FFEFAB-2135-954C-BE19-7078E19E9F13}"/>
                </a:ext>
              </a:extLst>
            </p:cNvPr>
            <p:cNvGrpSpPr/>
            <p:nvPr userDrawn="1"/>
          </p:nvGrpSpPr>
          <p:grpSpPr>
            <a:xfrm>
              <a:off x="9558507" y="1119891"/>
              <a:ext cx="2639328" cy="202617"/>
              <a:chOff x="9303325" y="149270"/>
              <a:chExt cx="2639328" cy="202617"/>
            </a:xfrm>
          </p:grpSpPr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18B4290E-B21A-F749-A231-9A6AC889777F}"/>
                  </a:ext>
                </a:extLst>
              </p:cNvPr>
              <p:cNvSpPr txBox="1"/>
              <p:nvPr userDrawn="1"/>
            </p:nvSpPr>
            <p:spPr>
              <a:xfrm>
                <a:off x="9303325" y="149270"/>
                <a:ext cx="1670329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sz="825">
                    <a:solidFill>
                      <a:schemeClr val="bg1"/>
                    </a:solidFill>
                  </a:rPr>
                  <a:t>TEXT FORMATS IN THIS LAYOUT</a:t>
                </a:r>
              </a:p>
            </p:txBody>
          </p: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9FB79B68-3EBE-714A-B5BA-1F4586A34CD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303325" y="351887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F646EFCF-19A2-C542-B0AF-E4058343FBE8}"/>
                </a:ext>
              </a:extLst>
            </p:cNvPr>
            <p:cNvGrpSpPr/>
            <p:nvPr userDrawn="1"/>
          </p:nvGrpSpPr>
          <p:grpSpPr>
            <a:xfrm>
              <a:off x="9541497" y="4046193"/>
              <a:ext cx="2735151" cy="1533198"/>
              <a:chOff x="9296567" y="4910412"/>
              <a:chExt cx="2735151" cy="1533198"/>
            </a:xfrm>
          </p:grpSpPr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A9C96D50-537F-644A-B8A7-9E284B5D2CAF}"/>
                  </a:ext>
                </a:extLst>
              </p:cNvPr>
              <p:cNvSpPr/>
              <p:nvPr userDrawn="1"/>
            </p:nvSpPr>
            <p:spPr>
              <a:xfrm>
                <a:off x="9296567" y="4910412"/>
                <a:ext cx="2735151" cy="1533198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60BEC074-7574-D843-A815-FDC7A3F8DE13}"/>
                  </a:ext>
                </a:extLst>
              </p:cNvPr>
              <p:cNvSpPr txBox="1"/>
              <p:nvPr userDrawn="1"/>
            </p:nvSpPr>
            <p:spPr>
              <a:xfrm>
                <a:off x="9662758" y="5039211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Re-apply chart style</a:t>
                </a:r>
              </a:p>
            </p:txBody>
          </p:sp>
          <p:pic>
            <p:nvPicPr>
              <p:cNvPr id="42" name="Graphic 41">
                <a:extLst>
                  <a:ext uri="{FF2B5EF4-FFF2-40B4-BE49-F238E27FC236}">
                    <a16:creationId xmlns:a16="http://schemas.microsoft.com/office/drawing/2014/main" id="{6206800A-4989-A74C-8790-A0DBC0071B0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9456790" y="5049494"/>
                <a:ext cx="155227" cy="155227"/>
              </a:xfrm>
              <a:prstGeom prst="rect">
                <a:avLst/>
              </a:prstGeom>
            </p:spPr>
          </p:pic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652EE101-17F5-7E45-B4FB-A67BC514186C}"/>
                  </a:ext>
                </a:extLst>
              </p:cNvPr>
              <p:cNvSpPr txBox="1"/>
              <p:nvPr userDrawn="1"/>
            </p:nvSpPr>
            <p:spPr>
              <a:xfrm>
                <a:off x="9471805" y="5300350"/>
                <a:ext cx="2399065" cy="103789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spcBef>
                    <a:spcPts val="200"/>
                  </a:spcBef>
                  <a:defRPr sz="9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49225" lvl="1" indent="-149225">
                  <a:spcBef>
                    <a:spcPts val="200"/>
                  </a:spcBef>
                  <a:spcAft>
                    <a:spcPts val="0"/>
                  </a:spcAft>
                  <a:defRPr sz="9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</a:lstStyle>
              <a:p>
                <a:r>
                  <a:rPr lang="en-US" sz="675"/>
                  <a:t>In case of error, return legend entries, data labels, and/or chart formatting by re-applying the current VEDP chart style template.</a:t>
                </a:r>
              </a:p>
              <a:p>
                <a:pPr lvl="1"/>
                <a:r>
                  <a:rPr lang="en-US" sz="675"/>
                  <a:t>Right-click the chart and choose</a:t>
                </a:r>
                <a:br>
                  <a:rPr lang="en-US" sz="675"/>
                </a:br>
                <a:r>
                  <a:rPr lang="en-US" sz="675"/>
                  <a:t>“Change Chart Type”</a:t>
                </a:r>
              </a:p>
              <a:p>
                <a:pPr lvl="1"/>
                <a:r>
                  <a:rPr lang="en-US" sz="675"/>
                  <a:t>Then choose the matching VEDP chart style from the ‘Templates’ category.</a:t>
                </a:r>
              </a:p>
            </p:txBody>
          </p:sp>
        </p:grpSp>
      </p:grp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6C2C27D-9DE3-5A46-AF41-ABB478805204}"/>
              </a:ext>
            </a:extLst>
          </p:cNvPr>
          <p:cNvSpPr>
            <a:spLocks noGrp="1"/>
          </p:cNvSpPr>
          <p:nvPr userDrawn="1">
            <p:ph type="dt" sz="half" idx="1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9636EAF-4BEC-1741-AAE3-F6127A0777EA}"/>
              </a:ext>
            </a:extLst>
          </p:cNvPr>
          <p:cNvSpPr>
            <a:spLocks noGrp="1"/>
          </p:cNvSpPr>
          <p:nvPr userDrawn="1">
            <p:ph type="ftr" sz="quarter" idx="1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CFEAC8D-B87E-434B-B0C2-7C4783B1F6D9}"/>
              </a:ext>
            </a:extLst>
          </p:cNvPr>
          <p:cNvSpPr>
            <a:spLocks noGrp="1"/>
          </p:cNvSpPr>
          <p:nvPr userDrawn="1">
            <p:ph type="sldNum" sz="quarter" idx="116"/>
          </p:nvPr>
        </p:nvSpPr>
        <p:spPr/>
        <p:txBody>
          <a:bodyPr/>
          <a:lstStyle/>
          <a:p>
            <a:pPr marL="9525"/>
            <a:fld id="{078C017C-E1B9-8443-B047-B08AAA027B45}" type="slidenum">
              <a:rPr lang="en-US" smtClean="0"/>
              <a:pPr marL="9525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826446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A3E7C59C-7AB2-FD4B-9D3E-CA7E0D8CB2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Slide TITLE. ALL CAPS. TWO LINES max.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FD4B8862-A567-3B46-B0C3-394F4DE43C21}"/>
              </a:ext>
            </a:extLst>
          </p:cNvPr>
          <p:cNvSpPr>
            <a:spLocks noGrp="1"/>
          </p:cNvSpPr>
          <p:nvPr>
            <p:ph type="chart" sz="quarter" idx="113"/>
          </p:nvPr>
        </p:nvSpPr>
        <p:spPr>
          <a:xfrm>
            <a:off x="431800" y="1301353"/>
            <a:ext cx="4008438" cy="3323034"/>
          </a:xfrm>
        </p:spPr>
        <p:txBody>
          <a:bodyPr/>
          <a:lstStyle>
            <a:lvl1pPr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7" name="Chart Placeholder 2">
            <a:extLst>
              <a:ext uri="{FF2B5EF4-FFF2-40B4-BE49-F238E27FC236}">
                <a16:creationId xmlns:a16="http://schemas.microsoft.com/office/drawing/2014/main" id="{F6E3593A-EC32-4649-9755-E1EA347597A8}"/>
              </a:ext>
            </a:extLst>
          </p:cNvPr>
          <p:cNvSpPr>
            <a:spLocks noGrp="1"/>
          </p:cNvSpPr>
          <p:nvPr>
            <p:ph type="chart" sz="quarter" idx="114"/>
          </p:nvPr>
        </p:nvSpPr>
        <p:spPr>
          <a:xfrm>
            <a:off x="4698906" y="1301353"/>
            <a:ext cx="4008438" cy="3323034"/>
          </a:xfrm>
        </p:spPr>
        <p:txBody>
          <a:bodyPr/>
          <a:lstStyle>
            <a:lvl1pPr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4A426F11-55A1-3946-8771-D8A379B5AD5E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800" y="4650581"/>
            <a:ext cx="7440613" cy="379131"/>
          </a:xfrm>
        </p:spPr>
        <p:txBody>
          <a:bodyPr bIns="0" anchor="b"/>
          <a:lstStyle>
            <a:lvl1pPr marL="4763" indent="-1191">
              <a:spcBef>
                <a:spcPts val="56"/>
              </a:spcBef>
              <a:spcAft>
                <a:spcPts val="56"/>
              </a:spcAft>
              <a:buSzPct val="100000"/>
              <a:buFontTx/>
              <a:buNone/>
              <a:tabLst/>
              <a:defRPr sz="825" b="0">
                <a:solidFill>
                  <a:schemeClr val="tx1"/>
                </a:solidFill>
              </a:defRPr>
            </a:lvl1pPr>
            <a:lvl2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¹"/>
              <a:tabLst/>
              <a:defRPr sz="825" b="0" i="0">
                <a:solidFill>
                  <a:schemeClr val="tx1"/>
                </a:solidFill>
              </a:defRPr>
            </a:lvl2pPr>
            <a:lvl3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²"/>
              <a:tabLst/>
              <a:defRPr sz="825">
                <a:solidFill>
                  <a:schemeClr val="tx1"/>
                </a:solidFill>
              </a:defRPr>
            </a:lvl3pPr>
            <a:lvl4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³"/>
              <a:tabLst/>
              <a:defRPr sz="825">
                <a:solidFill>
                  <a:schemeClr val="tx1"/>
                </a:solidFill>
              </a:defRPr>
            </a:lvl4pPr>
            <a:lvl5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⁴"/>
              <a:tabLst/>
              <a:defRPr sz="825">
                <a:solidFill>
                  <a:schemeClr val="tx1"/>
                </a:solidFill>
              </a:defRPr>
            </a:lvl5pPr>
            <a:lvl6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⁵"/>
              <a:tabLst/>
              <a:defRPr sz="825">
                <a:solidFill>
                  <a:schemeClr val="tx1"/>
                </a:solidFill>
              </a:defRPr>
            </a:lvl6pPr>
            <a:lvl7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⁶"/>
              <a:tabLst/>
              <a:defRPr sz="825">
                <a:solidFill>
                  <a:schemeClr val="tx1"/>
                </a:solidFill>
              </a:defRPr>
            </a:lvl7pPr>
            <a:lvl8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⁷"/>
              <a:tabLst/>
              <a:defRPr sz="825">
                <a:solidFill>
                  <a:schemeClr val="tx1"/>
                </a:solidFill>
              </a:defRPr>
            </a:lvl8pPr>
            <a:lvl9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⁸"/>
              <a:tabLst/>
              <a:defRPr sz="825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/>
              <a:t>Footnotes – Levels 2-9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7892DA04-F4A9-2044-B9E5-08BCF7318160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431801" y="904607"/>
            <a:ext cx="1432443" cy="303826"/>
          </a:xfrm>
          <a:blipFill dpi="0" rotWithShape="1">
            <a:blip r:embed="rId2"/>
            <a:srcRect/>
            <a:tile tx="0" ty="0" sx="100000" sy="100000" flip="xy" algn="b"/>
          </a:blipFill>
          <a:effectLst/>
        </p:spPr>
        <p:txBody>
          <a:bodyPr wrap="none" bIns="54000" anchor="b">
            <a:spAutoFit/>
          </a:bodyPr>
          <a:lstStyle>
            <a:lvl1pPr marL="2381" indent="0">
              <a:spcBef>
                <a:spcPts val="75"/>
              </a:spcBef>
              <a:spcAft>
                <a:spcPts val="0"/>
              </a:spcAft>
              <a:tabLst/>
              <a:defRPr sz="900">
                <a:solidFill>
                  <a:schemeClr val="tx1"/>
                </a:solidFill>
              </a:defRPr>
            </a:lvl1pPr>
            <a:lvl2pPr marL="2381" indent="0">
              <a:spcAft>
                <a:spcPts val="0"/>
              </a:spcAft>
              <a:buFont typeface="Arial" panose="020B0604020202020204" pitchFamily="34" charset="0"/>
              <a:buNone/>
              <a:tabLst/>
              <a:defRPr sz="900">
                <a:solidFill>
                  <a:schemeClr val="tx1"/>
                </a:solidFill>
              </a:defRPr>
            </a:lvl2pPr>
            <a:lvl3pPr marL="2381" indent="0">
              <a:buNone/>
              <a:tabLst/>
              <a:defRPr sz="900">
                <a:solidFill>
                  <a:schemeClr val="tx1"/>
                </a:solidFill>
              </a:defRPr>
            </a:lvl3pPr>
            <a:lvl4pPr marL="2381" indent="0">
              <a:spcAft>
                <a:spcPts val="0"/>
              </a:spcAft>
              <a:buNone/>
              <a:tabLst/>
              <a:defRPr sz="900">
                <a:solidFill>
                  <a:schemeClr val="tx1"/>
                </a:solidFill>
              </a:defRPr>
            </a:lvl4pPr>
            <a:lvl5pPr marL="2381" indent="0">
              <a:spcAft>
                <a:spcPts val="0"/>
              </a:spcAft>
              <a:buFont typeface="Arial" panose="020B0604020202020204" pitchFamily="34" charset="0"/>
              <a:buNone/>
              <a:tabLst/>
              <a:defRPr sz="900">
                <a:solidFill>
                  <a:schemeClr val="tx1"/>
                </a:solidFill>
              </a:defRPr>
            </a:lvl5pPr>
            <a:lvl6pPr marL="2381" indent="0">
              <a:spcAft>
                <a:spcPts val="0"/>
              </a:spcAft>
              <a:buNone/>
              <a:tabLst/>
              <a:defRPr sz="900">
                <a:solidFill>
                  <a:schemeClr val="tx1"/>
                </a:solidFill>
              </a:defRPr>
            </a:lvl6pPr>
            <a:lvl7pPr marL="2381" indent="0">
              <a:spcAft>
                <a:spcPts val="0"/>
              </a:spcAft>
              <a:buNone/>
              <a:tabLst/>
              <a:defRPr sz="900">
                <a:solidFill>
                  <a:schemeClr val="tx1"/>
                </a:solidFill>
              </a:defRPr>
            </a:lvl7pPr>
            <a:lvl8pPr marL="2381" indent="0">
              <a:spcAft>
                <a:spcPts val="0"/>
              </a:spcAft>
              <a:buNone/>
              <a:tabLst/>
              <a:defRPr sz="900">
                <a:solidFill>
                  <a:schemeClr val="tx1"/>
                </a:solidFill>
              </a:defRPr>
            </a:lvl8pPr>
            <a:lvl9pPr marL="2381" indent="0">
              <a:spcAft>
                <a:spcPts val="0"/>
              </a:spcAft>
              <a:buNone/>
              <a:tabLst/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add chart title</a:t>
            </a:r>
          </a:p>
          <a:p>
            <a:pPr lvl="1"/>
            <a:r>
              <a:rPr lang="en-US"/>
              <a:t>Chart subtitle (second level)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FC379CB5-F96A-5A41-ABCB-0A7229FB2403}"/>
              </a:ext>
            </a:extLst>
          </p:cNvPr>
          <p:cNvSpPr>
            <a:spLocks noGrp="1"/>
          </p:cNvSpPr>
          <p:nvPr>
            <p:ph type="body" sz="quarter" idx="115" hasCustomPrompt="1"/>
          </p:nvPr>
        </p:nvSpPr>
        <p:spPr>
          <a:xfrm>
            <a:off x="4698907" y="904607"/>
            <a:ext cx="1432443" cy="303826"/>
          </a:xfrm>
          <a:blipFill dpi="0" rotWithShape="1">
            <a:blip r:embed="rId2"/>
            <a:srcRect/>
            <a:tile tx="0" ty="0" sx="100000" sy="100000" flip="xy" algn="b"/>
          </a:blipFill>
          <a:effectLst/>
        </p:spPr>
        <p:txBody>
          <a:bodyPr wrap="none" bIns="54000" anchor="b">
            <a:spAutoFit/>
          </a:bodyPr>
          <a:lstStyle>
            <a:lvl1pPr marL="2381" indent="0">
              <a:spcBef>
                <a:spcPts val="75"/>
              </a:spcBef>
              <a:spcAft>
                <a:spcPts val="0"/>
              </a:spcAft>
              <a:tabLst/>
              <a:defRPr sz="900">
                <a:solidFill>
                  <a:schemeClr val="tx1"/>
                </a:solidFill>
              </a:defRPr>
            </a:lvl1pPr>
            <a:lvl2pPr marL="2381" indent="0">
              <a:spcAft>
                <a:spcPts val="0"/>
              </a:spcAft>
              <a:buFont typeface="Arial" panose="020B0604020202020204" pitchFamily="34" charset="0"/>
              <a:buNone/>
              <a:tabLst/>
              <a:defRPr sz="900">
                <a:solidFill>
                  <a:schemeClr val="tx1"/>
                </a:solidFill>
              </a:defRPr>
            </a:lvl2pPr>
            <a:lvl3pPr marL="2381" indent="0">
              <a:buNone/>
              <a:tabLst/>
              <a:defRPr sz="900">
                <a:solidFill>
                  <a:schemeClr val="tx1"/>
                </a:solidFill>
              </a:defRPr>
            </a:lvl3pPr>
            <a:lvl4pPr marL="2381" indent="0">
              <a:spcAft>
                <a:spcPts val="0"/>
              </a:spcAft>
              <a:buNone/>
              <a:tabLst/>
              <a:defRPr sz="900">
                <a:solidFill>
                  <a:schemeClr val="tx1"/>
                </a:solidFill>
              </a:defRPr>
            </a:lvl4pPr>
            <a:lvl5pPr marL="2381" indent="0">
              <a:spcAft>
                <a:spcPts val="0"/>
              </a:spcAft>
              <a:buFont typeface="Arial" panose="020B0604020202020204" pitchFamily="34" charset="0"/>
              <a:buNone/>
              <a:tabLst/>
              <a:defRPr sz="900">
                <a:solidFill>
                  <a:schemeClr val="tx1"/>
                </a:solidFill>
              </a:defRPr>
            </a:lvl5pPr>
            <a:lvl6pPr marL="2381" indent="0">
              <a:spcAft>
                <a:spcPts val="0"/>
              </a:spcAft>
              <a:buNone/>
              <a:tabLst/>
              <a:defRPr sz="900">
                <a:solidFill>
                  <a:schemeClr val="tx1"/>
                </a:solidFill>
              </a:defRPr>
            </a:lvl6pPr>
            <a:lvl7pPr marL="2381" indent="0">
              <a:spcAft>
                <a:spcPts val="0"/>
              </a:spcAft>
              <a:buNone/>
              <a:tabLst/>
              <a:defRPr sz="900">
                <a:solidFill>
                  <a:schemeClr val="tx1"/>
                </a:solidFill>
              </a:defRPr>
            </a:lvl7pPr>
            <a:lvl8pPr marL="2381" indent="0">
              <a:spcAft>
                <a:spcPts val="0"/>
              </a:spcAft>
              <a:buNone/>
              <a:tabLst/>
              <a:defRPr sz="900">
                <a:solidFill>
                  <a:schemeClr val="tx1"/>
                </a:solidFill>
              </a:defRPr>
            </a:lvl8pPr>
            <a:lvl9pPr marL="2381" indent="0">
              <a:spcAft>
                <a:spcPts val="0"/>
              </a:spcAft>
              <a:buNone/>
              <a:tabLst/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add chart title</a:t>
            </a:r>
          </a:p>
          <a:p>
            <a:pPr lvl="1"/>
            <a:r>
              <a:rPr lang="en-US"/>
              <a:t>Chart subtitle (second level)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379AB29-F3FD-6B4D-AB9C-5B22D89A0EA3}"/>
              </a:ext>
            </a:extLst>
          </p:cNvPr>
          <p:cNvSpPr>
            <a:spLocks noGrp="1"/>
          </p:cNvSpPr>
          <p:nvPr>
            <p:ph type="dt" sz="half" idx="1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98E7724-1686-F747-8D1B-1AB14F556771}"/>
              </a:ext>
            </a:extLst>
          </p:cNvPr>
          <p:cNvSpPr>
            <a:spLocks noGrp="1"/>
          </p:cNvSpPr>
          <p:nvPr>
            <p:ph type="ftr" sz="quarter" idx="1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7560BD8-BC0B-DB45-8951-391197B87781}"/>
              </a:ext>
            </a:extLst>
          </p:cNvPr>
          <p:cNvSpPr>
            <a:spLocks noGrp="1"/>
          </p:cNvSpPr>
          <p:nvPr>
            <p:ph type="sldNum" sz="quarter" idx="118"/>
          </p:nvPr>
        </p:nvSpPr>
        <p:spPr/>
        <p:txBody>
          <a:bodyPr/>
          <a:lstStyle/>
          <a:p>
            <a:pPr marL="9525"/>
            <a:fld id="{078C017C-E1B9-8443-B047-B08AAA027B45}" type="slidenum">
              <a:rPr lang="en-US" smtClean="0"/>
              <a:pPr marL="9525"/>
              <a:t>‹#›</a:t>
            </a:fld>
            <a:endParaRPr lang="en-US"/>
          </a:p>
        </p:txBody>
      </p: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C83CDE6E-B074-0A42-80BB-4939BB56DB50}"/>
              </a:ext>
            </a:extLst>
          </p:cNvPr>
          <p:cNvGrpSpPr/>
          <p:nvPr userDrawn="1"/>
        </p:nvGrpSpPr>
        <p:grpSpPr>
          <a:xfrm>
            <a:off x="9399183" y="-1"/>
            <a:ext cx="2961715" cy="5242303"/>
            <a:chOff x="9399182" y="-1"/>
            <a:chExt cx="2961715" cy="6989737"/>
          </a:xfrm>
        </p:grpSpPr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4021C5A3-7B0D-1847-9EF9-A3705154127E}"/>
                </a:ext>
              </a:extLst>
            </p:cNvPr>
            <p:cNvSpPr/>
            <p:nvPr userDrawn="1"/>
          </p:nvSpPr>
          <p:spPr>
            <a:xfrm>
              <a:off x="9399182" y="-1"/>
              <a:ext cx="2798651" cy="698973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050"/>
            </a:p>
          </p:txBody>
        </p:sp>
        <p:pic>
          <p:nvPicPr>
            <p:cNvPr id="109" name="Picture 108">
              <a:extLst>
                <a:ext uri="{FF2B5EF4-FFF2-40B4-BE49-F238E27FC236}">
                  <a16:creationId xmlns:a16="http://schemas.microsoft.com/office/drawing/2014/main" id="{8379DC2B-3092-1142-97A8-452B83E9EEE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r="36104"/>
            <a:stretch/>
          </p:blipFill>
          <p:spPr>
            <a:xfrm>
              <a:off x="9558497" y="1330741"/>
              <a:ext cx="2639329" cy="522522"/>
            </a:xfrm>
            <a:prstGeom prst="rect">
              <a:avLst/>
            </a:prstGeom>
          </p:spPr>
        </p:pic>
        <p:grpSp>
          <p:nvGrpSpPr>
            <p:cNvPr id="110" name="Group 109">
              <a:extLst>
                <a:ext uri="{FF2B5EF4-FFF2-40B4-BE49-F238E27FC236}">
                  <a16:creationId xmlns:a16="http://schemas.microsoft.com/office/drawing/2014/main" id="{1013161E-A1C5-5749-9CE3-F720067C884E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135" name="Rectangle 134">
                <a:extLst>
                  <a:ext uri="{FF2B5EF4-FFF2-40B4-BE49-F238E27FC236}">
                    <a16:creationId xmlns:a16="http://schemas.microsoft.com/office/drawing/2014/main" id="{6E6A25D8-1BC5-9B4C-8FA6-899B48E1D1CE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136" name="TextBox 135">
                <a:extLst>
                  <a:ext uri="{FF2B5EF4-FFF2-40B4-BE49-F238E27FC236}">
                    <a16:creationId xmlns:a16="http://schemas.microsoft.com/office/drawing/2014/main" id="{DE1EA92A-DBC7-B749-9767-E7B2D5BD99CA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137" name="Picture 136">
                <a:extLst>
                  <a:ext uri="{FF2B5EF4-FFF2-40B4-BE49-F238E27FC236}">
                    <a16:creationId xmlns:a16="http://schemas.microsoft.com/office/drawing/2014/main" id="{F3C81943-C1E3-344C-9C89-756433C45B2E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15CE3F5C-AE46-334A-898C-C2B42488CBAF}"/>
                </a:ext>
              </a:extLst>
            </p:cNvPr>
            <p:cNvGrpSpPr/>
            <p:nvPr userDrawn="1"/>
          </p:nvGrpSpPr>
          <p:grpSpPr>
            <a:xfrm>
              <a:off x="9521833" y="5769065"/>
              <a:ext cx="2676002" cy="1074276"/>
              <a:chOff x="9521833" y="2036288"/>
              <a:chExt cx="2676002" cy="1074276"/>
            </a:xfrm>
          </p:grpSpPr>
          <p:sp>
            <p:nvSpPr>
              <p:cNvPr id="129" name="TextBox 128">
                <a:extLst>
                  <a:ext uri="{FF2B5EF4-FFF2-40B4-BE49-F238E27FC236}">
                    <a16:creationId xmlns:a16="http://schemas.microsoft.com/office/drawing/2014/main" id="{EA92E2AA-DFD9-5A4F-AB03-5A37B9AECDF8}"/>
                  </a:ext>
                </a:extLst>
              </p:cNvPr>
              <p:cNvSpPr txBox="1"/>
              <p:nvPr userDrawn="1"/>
            </p:nvSpPr>
            <p:spPr>
              <a:xfrm>
                <a:off x="9558507" y="2036288"/>
                <a:ext cx="993862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sz="825">
                    <a:solidFill>
                      <a:schemeClr val="bg1"/>
                    </a:solidFill>
                  </a:rPr>
                  <a:t>ADD A NEW CHART</a:t>
                </a:r>
              </a:p>
            </p:txBody>
          </p:sp>
          <p:cxnSp>
            <p:nvCxnSpPr>
              <p:cNvPr id="130" name="Straight Connector 129">
                <a:extLst>
                  <a:ext uri="{FF2B5EF4-FFF2-40B4-BE49-F238E27FC236}">
                    <a16:creationId xmlns:a16="http://schemas.microsoft.com/office/drawing/2014/main" id="{6DEBF951-684E-EF4C-AD44-7EE3A3D737A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558507" y="223890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31" name="Group 130">
                <a:extLst>
                  <a:ext uri="{FF2B5EF4-FFF2-40B4-BE49-F238E27FC236}">
                    <a16:creationId xmlns:a16="http://schemas.microsoft.com/office/drawing/2014/main" id="{B7170F64-401B-944F-BE85-D64B70491AD1}"/>
                  </a:ext>
                </a:extLst>
              </p:cNvPr>
              <p:cNvGrpSpPr/>
              <p:nvPr userDrawn="1"/>
            </p:nvGrpSpPr>
            <p:grpSpPr>
              <a:xfrm>
                <a:off x="9521833" y="2361408"/>
                <a:ext cx="2557391" cy="323337"/>
                <a:chOff x="12352022" y="513115"/>
                <a:chExt cx="2557391" cy="323337"/>
              </a:xfrm>
            </p:grpSpPr>
            <p:sp>
              <p:nvSpPr>
                <p:cNvPr id="133" name="TextBox 132">
                  <a:extLst>
                    <a:ext uri="{FF2B5EF4-FFF2-40B4-BE49-F238E27FC236}">
                      <a16:creationId xmlns:a16="http://schemas.microsoft.com/office/drawing/2014/main" id="{C6F193A3-7D39-1C40-9C0D-B981EB530258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375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134" name="TextBox 133">
                  <a:extLst>
                    <a:ext uri="{FF2B5EF4-FFF2-40B4-BE49-F238E27FC236}">
                      <a16:creationId xmlns:a16="http://schemas.microsoft.com/office/drawing/2014/main" id="{C7940ED9-915B-9248-BA2F-A342231D2934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392798" cy="32333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sz="788"/>
                    <a:t>Open the </a:t>
                  </a:r>
                  <a:r>
                    <a:rPr lang="en-US" sz="788" b="1"/>
                    <a:t>VEDP Template Assets file </a:t>
                  </a:r>
                  <a:r>
                    <a:rPr lang="en-US" sz="788"/>
                    <a:t>and copy the desired chart type into your presentation.</a:t>
                  </a:r>
                </a:p>
              </p:txBody>
            </p:sp>
          </p:grpSp>
          <p:sp>
            <p:nvSpPr>
              <p:cNvPr id="132" name="TextBox 131">
                <a:extLst>
                  <a:ext uri="{FF2B5EF4-FFF2-40B4-BE49-F238E27FC236}">
                    <a16:creationId xmlns:a16="http://schemas.microsoft.com/office/drawing/2014/main" id="{A80FD326-85FF-264F-97DA-05F43B20FA05}"/>
                  </a:ext>
                </a:extLst>
              </p:cNvPr>
              <p:cNvSpPr txBox="1"/>
              <p:nvPr userDrawn="1"/>
            </p:nvSpPr>
            <p:spPr>
              <a:xfrm>
                <a:off x="9686426" y="2895120"/>
                <a:ext cx="2120429" cy="21544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/>
                  <a:t>These samples slide have further instructions and have been set up so you can easily edit the data.</a:t>
                </a:r>
              </a:p>
            </p:txBody>
          </p:sp>
        </p:grp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643017B9-5EB5-3C43-964D-F8B34AE37A52}"/>
                </a:ext>
              </a:extLst>
            </p:cNvPr>
            <p:cNvSpPr txBox="1"/>
            <p:nvPr userDrawn="1"/>
          </p:nvSpPr>
          <p:spPr>
            <a:xfrm>
              <a:off x="9558507" y="2034287"/>
              <a:ext cx="1537280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sz="825">
                  <a:solidFill>
                    <a:schemeClr val="bg1"/>
                  </a:solidFill>
                </a:rPr>
                <a:t>FORMAT AN EXISTING CHART</a:t>
              </a:r>
            </a:p>
          </p:txBody>
        </p: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E5A28B81-D028-A442-A2BB-C885D0421BA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2236904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BC6B2BDC-1C6B-FF49-886E-34C4A1F31A1B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9521833" y="2384434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375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1</a:t>
              </a: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386F9AE4-1003-E841-B986-2DFA8186BE2A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9521833" y="3111484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375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2</a:t>
              </a: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81D4359D-396D-B047-8048-C51D25FF5FA9}"/>
                </a:ext>
              </a:extLst>
            </p:cNvPr>
            <p:cNvSpPr txBox="1"/>
            <p:nvPr userDrawn="1"/>
          </p:nvSpPr>
          <p:spPr>
            <a:xfrm>
              <a:off x="9686426" y="2359407"/>
              <a:ext cx="2453290" cy="32333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sz="788"/>
                <a:t>Select the chart placeholder and then paste your existing chart.</a:t>
              </a: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F595C52D-E737-B648-97C4-D0EEE4002727}"/>
                </a:ext>
              </a:extLst>
            </p:cNvPr>
            <p:cNvSpPr txBox="1"/>
            <p:nvPr userDrawn="1"/>
          </p:nvSpPr>
          <p:spPr>
            <a:xfrm>
              <a:off x="9686426" y="3088614"/>
              <a:ext cx="2453290" cy="32333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sz="788"/>
                <a:t>Right-click on the chart and choose “Change Chart Type…”</a:t>
              </a: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A9B4217E-F58C-E841-B458-5948479DD205}"/>
                </a:ext>
              </a:extLst>
            </p:cNvPr>
            <p:cNvSpPr txBox="1">
              <a:spLocks noChangeAspect="1"/>
            </p:cNvSpPr>
            <p:nvPr userDrawn="1"/>
          </p:nvSpPr>
          <p:spPr>
            <a:xfrm>
              <a:off x="9521833" y="3574474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375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3</a:t>
              </a: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BFF5E862-5288-9E4B-88AE-8C1A9F992012}"/>
                </a:ext>
              </a:extLst>
            </p:cNvPr>
            <p:cNvSpPr txBox="1"/>
            <p:nvPr userDrawn="1"/>
          </p:nvSpPr>
          <p:spPr>
            <a:xfrm>
              <a:off x="9686426" y="3551603"/>
              <a:ext cx="2453290" cy="32333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sz="788"/>
                <a:t>Choose one of the VEDP chart styles from the ‘Templates’ category.</a:t>
              </a: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12A69AE4-A4C6-4F4C-A368-8510B3FA8B6B}"/>
                </a:ext>
              </a:extLst>
            </p:cNvPr>
            <p:cNvSpPr txBox="1"/>
            <p:nvPr userDrawn="1"/>
          </p:nvSpPr>
          <p:spPr>
            <a:xfrm>
              <a:off x="9674268" y="2722630"/>
              <a:ext cx="2297650" cy="215444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525"/>
                <a:t>Note: Make sure that you have access to any linked files, or you won’t be able to apply the chart style successfully.</a:t>
              </a:r>
            </a:p>
          </p:txBody>
        </p:sp>
        <p:grpSp>
          <p:nvGrpSpPr>
            <p:cNvPr id="121" name="Group 120">
              <a:extLst>
                <a:ext uri="{FF2B5EF4-FFF2-40B4-BE49-F238E27FC236}">
                  <a16:creationId xmlns:a16="http://schemas.microsoft.com/office/drawing/2014/main" id="{D3A6EECD-3549-904A-A40E-911DC97AF001}"/>
                </a:ext>
              </a:extLst>
            </p:cNvPr>
            <p:cNvGrpSpPr/>
            <p:nvPr userDrawn="1"/>
          </p:nvGrpSpPr>
          <p:grpSpPr>
            <a:xfrm>
              <a:off x="9558507" y="1119891"/>
              <a:ext cx="2639328" cy="202617"/>
              <a:chOff x="9303325" y="149270"/>
              <a:chExt cx="2639328" cy="202617"/>
            </a:xfrm>
          </p:grpSpPr>
          <p:sp>
            <p:nvSpPr>
              <p:cNvPr id="127" name="TextBox 126">
                <a:extLst>
                  <a:ext uri="{FF2B5EF4-FFF2-40B4-BE49-F238E27FC236}">
                    <a16:creationId xmlns:a16="http://schemas.microsoft.com/office/drawing/2014/main" id="{F72EE2BF-96DA-ED48-A29C-73A7C7A51107}"/>
                  </a:ext>
                </a:extLst>
              </p:cNvPr>
              <p:cNvSpPr txBox="1"/>
              <p:nvPr userDrawn="1"/>
            </p:nvSpPr>
            <p:spPr>
              <a:xfrm>
                <a:off x="9303325" y="149270"/>
                <a:ext cx="1670329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sz="825">
                    <a:solidFill>
                      <a:schemeClr val="bg1"/>
                    </a:solidFill>
                  </a:rPr>
                  <a:t>TEXT FORMATS IN THIS LAYOUT</a:t>
                </a:r>
              </a:p>
            </p:txBody>
          </p:sp>
          <p:cxnSp>
            <p:nvCxnSpPr>
              <p:cNvPr id="128" name="Straight Connector 127">
                <a:extLst>
                  <a:ext uri="{FF2B5EF4-FFF2-40B4-BE49-F238E27FC236}">
                    <a16:creationId xmlns:a16="http://schemas.microsoft.com/office/drawing/2014/main" id="{D92BD20A-0C8C-E14A-BB7D-7F4DA53A033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303325" y="351887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2" name="Group 121">
              <a:extLst>
                <a:ext uri="{FF2B5EF4-FFF2-40B4-BE49-F238E27FC236}">
                  <a16:creationId xmlns:a16="http://schemas.microsoft.com/office/drawing/2014/main" id="{CB984C52-4124-AA4D-8458-190AC08BEB6E}"/>
                </a:ext>
              </a:extLst>
            </p:cNvPr>
            <p:cNvGrpSpPr/>
            <p:nvPr userDrawn="1"/>
          </p:nvGrpSpPr>
          <p:grpSpPr>
            <a:xfrm>
              <a:off x="9541497" y="4046193"/>
              <a:ext cx="2735151" cy="1533198"/>
              <a:chOff x="9296567" y="4910412"/>
              <a:chExt cx="2735151" cy="1533198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18659A9D-C0B3-654D-927A-38F08EBCB65C}"/>
                  </a:ext>
                </a:extLst>
              </p:cNvPr>
              <p:cNvSpPr/>
              <p:nvPr userDrawn="1"/>
            </p:nvSpPr>
            <p:spPr>
              <a:xfrm>
                <a:off x="9296567" y="4910412"/>
                <a:ext cx="2735151" cy="1533198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124" name="TextBox 123">
                <a:extLst>
                  <a:ext uri="{FF2B5EF4-FFF2-40B4-BE49-F238E27FC236}">
                    <a16:creationId xmlns:a16="http://schemas.microsoft.com/office/drawing/2014/main" id="{9935FD93-FA7C-9049-9D3B-CB3B8CD860B7}"/>
                  </a:ext>
                </a:extLst>
              </p:cNvPr>
              <p:cNvSpPr txBox="1"/>
              <p:nvPr userDrawn="1"/>
            </p:nvSpPr>
            <p:spPr>
              <a:xfrm>
                <a:off x="9662758" y="5039211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Re-apply chart style</a:t>
                </a:r>
              </a:p>
            </p:txBody>
          </p:sp>
          <p:pic>
            <p:nvPicPr>
              <p:cNvPr id="125" name="Graphic 124">
                <a:extLst>
                  <a:ext uri="{FF2B5EF4-FFF2-40B4-BE49-F238E27FC236}">
                    <a16:creationId xmlns:a16="http://schemas.microsoft.com/office/drawing/2014/main" id="{69667A08-748B-D846-BF72-062D307D1266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9456790" y="5049494"/>
                <a:ext cx="155227" cy="155227"/>
              </a:xfrm>
              <a:prstGeom prst="rect">
                <a:avLst/>
              </a:prstGeom>
            </p:spPr>
          </p:pic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AF22BED9-0030-8546-AC2B-0DC1FA590F5F}"/>
                  </a:ext>
                </a:extLst>
              </p:cNvPr>
              <p:cNvSpPr txBox="1"/>
              <p:nvPr userDrawn="1"/>
            </p:nvSpPr>
            <p:spPr>
              <a:xfrm>
                <a:off x="9471805" y="5300350"/>
                <a:ext cx="2399065" cy="103789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spcBef>
                    <a:spcPts val="200"/>
                  </a:spcBef>
                  <a:defRPr sz="9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49225" lvl="1" indent="-149225">
                  <a:spcBef>
                    <a:spcPts val="200"/>
                  </a:spcBef>
                  <a:spcAft>
                    <a:spcPts val="0"/>
                  </a:spcAft>
                  <a:defRPr sz="9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</a:lstStyle>
              <a:p>
                <a:r>
                  <a:rPr lang="en-US" sz="675"/>
                  <a:t>In case of error, return legend entries, data labels, and/or chart formatting by re-applying the current VEDP chart style template.</a:t>
                </a:r>
              </a:p>
              <a:p>
                <a:pPr lvl="1"/>
                <a:r>
                  <a:rPr lang="en-US" sz="675"/>
                  <a:t>Right-click the chart and choose</a:t>
                </a:r>
                <a:br>
                  <a:rPr lang="en-US" sz="675"/>
                </a:br>
                <a:r>
                  <a:rPr lang="en-US" sz="675"/>
                  <a:t>“Change Chart Type”</a:t>
                </a:r>
              </a:p>
              <a:p>
                <a:pPr lvl="1"/>
                <a:r>
                  <a:rPr lang="en-US" sz="675"/>
                  <a:t>Then choose the matching VEDP chart style from the ‘Templates’ category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373721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rts (Stack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A3E7C59C-7AB2-FD4B-9D3E-CA7E0D8CB2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Slide TITLE. ALL CAPS. TWO LINES max.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05CE940C-B9F2-AE42-819B-CF829A76DEFF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800" y="4650581"/>
            <a:ext cx="7440613" cy="379131"/>
          </a:xfrm>
        </p:spPr>
        <p:txBody>
          <a:bodyPr bIns="0" anchor="b"/>
          <a:lstStyle>
            <a:lvl1pPr marL="4763" indent="-1191">
              <a:spcBef>
                <a:spcPts val="56"/>
              </a:spcBef>
              <a:spcAft>
                <a:spcPts val="56"/>
              </a:spcAft>
              <a:buSzPct val="100000"/>
              <a:buFontTx/>
              <a:buNone/>
              <a:tabLst/>
              <a:defRPr sz="825" b="0">
                <a:solidFill>
                  <a:schemeClr val="tx1"/>
                </a:solidFill>
              </a:defRPr>
            </a:lvl1pPr>
            <a:lvl2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¹"/>
              <a:tabLst/>
              <a:defRPr sz="825" b="0" i="0">
                <a:solidFill>
                  <a:schemeClr val="tx1"/>
                </a:solidFill>
              </a:defRPr>
            </a:lvl2pPr>
            <a:lvl3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²"/>
              <a:tabLst/>
              <a:defRPr sz="825">
                <a:solidFill>
                  <a:schemeClr val="tx1"/>
                </a:solidFill>
              </a:defRPr>
            </a:lvl3pPr>
            <a:lvl4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³"/>
              <a:tabLst/>
              <a:defRPr sz="825">
                <a:solidFill>
                  <a:schemeClr val="tx1"/>
                </a:solidFill>
              </a:defRPr>
            </a:lvl4pPr>
            <a:lvl5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⁴"/>
              <a:tabLst/>
              <a:defRPr sz="825">
                <a:solidFill>
                  <a:schemeClr val="tx1"/>
                </a:solidFill>
              </a:defRPr>
            </a:lvl5pPr>
            <a:lvl6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⁵"/>
              <a:tabLst/>
              <a:defRPr sz="825">
                <a:solidFill>
                  <a:schemeClr val="tx1"/>
                </a:solidFill>
              </a:defRPr>
            </a:lvl6pPr>
            <a:lvl7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⁶"/>
              <a:tabLst/>
              <a:defRPr sz="825">
                <a:solidFill>
                  <a:schemeClr val="tx1"/>
                </a:solidFill>
              </a:defRPr>
            </a:lvl7pPr>
            <a:lvl8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⁷"/>
              <a:tabLst/>
              <a:defRPr sz="825">
                <a:solidFill>
                  <a:schemeClr val="tx1"/>
                </a:solidFill>
              </a:defRPr>
            </a:lvl8pPr>
            <a:lvl9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⁸"/>
              <a:tabLst/>
              <a:defRPr sz="825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/>
              <a:t>Footnotes – Levels 2-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9ACEBCC-F393-B646-82A5-B2CB75AA4689}"/>
              </a:ext>
            </a:extLst>
          </p:cNvPr>
          <p:cNvSpPr>
            <a:spLocks noGrp="1"/>
          </p:cNvSpPr>
          <p:nvPr>
            <p:ph type="dt" sz="half" idx="1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129D6A6-E10B-9246-864B-9C137DCA8D15}"/>
              </a:ext>
            </a:extLst>
          </p:cNvPr>
          <p:cNvSpPr>
            <a:spLocks noGrp="1"/>
          </p:cNvSpPr>
          <p:nvPr>
            <p:ph type="ftr" sz="quarter" idx="1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07196862-C66B-EC4D-B2F4-A198A28BFE69}"/>
              </a:ext>
            </a:extLst>
          </p:cNvPr>
          <p:cNvSpPr>
            <a:spLocks noGrp="1"/>
          </p:cNvSpPr>
          <p:nvPr>
            <p:ph type="sldNum" sz="quarter" idx="114"/>
          </p:nvPr>
        </p:nvSpPr>
        <p:spPr/>
        <p:txBody>
          <a:bodyPr/>
          <a:lstStyle/>
          <a:p>
            <a:pPr marL="9525"/>
            <a:fld id="{078C017C-E1B9-8443-B047-B08AAA027B45}" type="slidenum">
              <a:rPr lang="en-US" smtClean="0"/>
              <a:pPr marL="9525"/>
              <a:t>‹#›</a:t>
            </a:fld>
            <a:endParaRPr lang="en-US"/>
          </a:p>
        </p:txBody>
      </p:sp>
      <p:sp>
        <p:nvSpPr>
          <p:cNvPr id="49" name="Chart Placeholder 2">
            <a:extLst>
              <a:ext uri="{FF2B5EF4-FFF2-40B4-BE49-F238E27FC236}">
                <a16:creationId xmlns:a16="http://schemas.microsoft.com/office/drawing/2014/main" id="{A9C63DCB-B05D-3A42-BAE8-C09F0F94245E}"/>
              </a:ext>
            </a:extLst>
          </p:cNvPr>
          <p:cNvSpPr>
            <a:spLocks noGrp="1"/>
          </p:cNvSpPr>
          <p:nvPr>
            <p:ph type="chart" sz="quarter" idx="115"/>
          </p:nvPr>
        </p:nvSpPr>
        <p:spPr>
          <a:xfrm>
            <a:off x="431800" y="1301353"/>
            <a:ext cx="8280399" cy="1427819"/>
          </a:xfrm>
        </p:spPr>
        <p:txBody>
          <a:bodyPr/>
          <a:lstStyle>
            <a:lvl1pPr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22872042-8EC0-0742-9EC9-C351856408B1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431801" y="904607"/>
            <a:ext cx="1432443" cy="303826"/>
          </a:xfrm>
          <a:blipFill dpi="0" rotWithShape="1">
            <a:blip r:embed="rId2"/>
            <a:srcRect/>
            <a:tile tx="0" ty="0" sx="100000" sy="100000" flip="xy" algn="b"/>
          </a:blipFill>
          <a:effectLst/>
        </p:spPr>
        <p:txBody>
          <a:bodyPr wrap="none" bIns="54000" anchor="b">
            <a:spAutoFit/>
          </a:bodyPr>
          <a:lstStyle>
            <a:lvl1pPr marL="2381" indent="0">
              <a:spcBef>
                <a:spcPts val="75"/>
              </a:spcBef>
              <a:spcAft>
                <a:spcPts val="0"/>
              </a:spcAft>
              <a:tabLst/>
              <a:defRPr sz="900">
                <a:solidFill>
                  <a:schemeClr val="tx1"/>
                </a:solidFill>
              </a:defRPr>
            </a:lvl1pPr>
            <a:lvl2pPr marL="2381" indent="0">
              <a:spcAft>
                <a:spcPts val="0"/>
              </a:spcAft>
              <a:buFont typeface="Arial" panose="020B0604020202020204" pitchFamily="34" charset="0"/>
              <a:buNone/>
              <a:tabLst/>
              <a:defRPr sz="900">
                <a:solidFill>
                  <a:schemeClr val="tx1"/>
                </a:solidFill>
              </a:defRPr>
            </a:lvl2pPr>
            <a:lvl3pPr marL="2381" indent="0">
              <a:buNone/>
              <a:tabLst/>
              <a:defRPr sz="900">
                <a:solidFill>
                  <a:schemeClr val="tx1"/>
                </a:solidFill>
              </a:defRPr>
            </a:lvl3pPr>
            <a:lvl4pPr marL="2381" indent="0">
              <a:spcAft>
                <a:spcPts val="0"/>
              </a:spcAft>
              <a:buNone/>
              <a:tabLst/>
              <a:defRPr sz="900">
                <a:solidFill>
                  <a:schemeClr val="tx1"/>
                </a:solidFill>
              </a:defRPr>
            </a:lvl4pPr>
            <a:lvl5pPr marL="2381" indent="0">
              <a:spcAft>
                <a:spcPts val="0"/>
              </a:spcAft>
              <a:buFont typeface="Arial" panose="020B0604020202020204" pitchFamily="34" charset="0"/>
              <a:buNone/>
              <a:tabLst/>
              <a:defRPr sz="900">
                <a:solidFill>
                  <a:schemeClr val="tx1"/>
                </a:solidFill>
              </a:defRPr>
            </a:lvl5pPr>
            <a:lvl6pPr marL="2381" indent="0">
              <a:spcAft>
                <a:spcPts val="0"/>
              </a:spcAft>
              <a:buNone/>
              <a:tabLst/>
              <a:defRPr sz="900">
                <a:solidFill>
                  <a:schemeClr val="tx1"/>
                </a:solidFill>
              </a:defRPr>
            </a:lvl6pPr>
            <a:lvl7pPr marL="2381" indent="0">
              <a:spcAft>
                <a:spcPts val="0"/>
              </a:spcAft>
              <a:buNone/>
              <a:tabLst/>
              <a:defRPr sz="900">
                <a:solidFill>
                  <a:schemeClr val="tx1"/>
                </a:solidFill>
              </a:defRPr>
            </a:lvl7pPr>
            <a:lvl8pPr marL="2381" indent="0">
              <a:spcAft>
                <a:spcPts val="0"/>
              </a:spcAft>
              <a:buNone/>
              <a:tabLst/>
              <a:defRPr sz="900">
                <a:solidFill>
                  <a:schemeClr val="tx1"/>
                </a:solidFill>
              </a:defRPr>
            </a:lvl8pPr>
            <a:lvl9pPr marL="2381" indent="0">
              <a:spcAft>
                <a:spcPts val="0"/>
              </a:spcAft>
              <a:buNone/>
              <a:tabLst/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add chart title</a:t>
            </a:r>
          </a:p>
          <a:p>
            <a:pPr lvl="1"/>
            <a:r>
              <a:rPr lang="en-US"/>
              <a:t>Chart subtitle (second level)</a:t>
            </a:r>
          </a:p>
        </p:txBody>
      </p:sp>
      <p:sp>
        <p:nvSpPr>
          <p:cNvPr id="51" name="Chart Placeholder 2">
            <a:extLst>
              <a:ext uri="{FF2B5EF4-FFF2-40B4-BE49-F238E27FC236}">
                <a16:creationId xmlns:a16="http://schemas.microsoft.com/office/drawing/2014/main" id="{F07CF72C-8DD7-B04A-9188-E17B7FF52CC5}"/>
              </a:ext>
            </a:extLst>
          </p:cNvPr>
          <p:cNvSpPr>
            <a:spLocks noGrp="1"/>
          </p:cNvSpPr>
          <p:nvPr>
            <p:ph type="chart" sz="quarter" idx="116"/>
          </p:nvPr>
        </p:nvSpPr>
        <p:spPr>
          <a:xfrm>
            <a:off x="431800" y="3196569"/>
            <a:ext cx="8280399" cy="1427819"/>
          </a:xfrm>
        </p:spPr>
        <p:txBody>
          <a:bodyPr/>
          <a:lstStyle>
            <a:lvl1pPr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7C154E4E-8AF7-F747-B52D-D450E0D64EE6}"/>
              </a:ext>
            </a:extLst>
          </p:cNvPr>
          <p:cNvSpPr>
            <a:spLocks noGrp="1"/>
          </p:cNvSpPr>
          <p:nvPr>
            <p:ph type="body" sz="quarter" idx="117" hasCustomPrompt="1"/>
          </p:nvPr>
        </p:nvSpPr>
        <p:spPr>
          <a:xfrm>
            <a:off x="431801" y="2799823"/>
            <a:ext cx="1432443" cy="303826"/>
          </a:xfrm>
          <a:blipFill dpi="0" rotWithShape="1">
            <a:blip r:embed="rId2"/>
            <a:srcRect/>
            <a:tile tx="0" ty="0" sx="100000" sy="100000" flip="xy" algn="b"/>
          </a:blipFill>
          <a:effectLst/>
        </p:spPr>
        <p:txBody>
          <a:bodyPr wrap="none" bIns="54000" anchor="b">
            <a:spAutoFit/>
          </a:bodyPr>
          <a:lstStyle>
            <a:lvl1pPr marL="2381" indent="0">
              <a:spcBef>
                <a:spcPts val="75"/>
              </a:spcBef>
              <a:spcAft>
                <a:spcPts val="0"/>
              </a:spcAft>
              <a:tabLst/>
              <a:defRPr sz="900">
                <a:solidFill>
                  <a:schemeClr val="tx1"/>
                </a:solidFill>
              </a:defRPr>
            </a:lvl1pPr>
            <a:lvl2pPr marL="2381" indent="0">
              <a:spcAft>
                <a:spcPts val="0"/>
              </a:spcAft>
              <a:buFont typeface="Arial" panose="020B0604020202020204" pitchFamily="34" charset="0"/>
              <a:buNone/>
              <a:tabLst/>
              <a:defRPr sz="900">
                <a:solidFill>
                  <a:schemeClr val="tx1"/>
                </a:solidFill>
              </a:defRPr>
            </a:lvl2pPr>
            <a:lvl3pPr marL="2381" indent="0">
              <a:buNone/>
              <a:tabLst/>
              <a:defRPr sz="900">
                <a:solidFill>
                  <a:schemeClr val="tx1"/>
                </a:solidFill>
              </a:defRPr>
            </a:lvl3pPr>
            <a:lvl4pPr marL="2381" indent="0">
              <a:spcAft>
                <a:spcPts val="0"/>
              </a:spcAft>
              <a:buNone/>
              <a:tabLst/>
              <a:defRPr sz="900">
                <a:solidFill>
                  <a:schemeClr val="tx1"/>
                </a:solidFill>
              </a:defRPr>
            </a:lvl4pPr>
            <a:lvl5pPr marL="2381" indent="0">
              <a:spcAft>
                <a:spcPts val="0"/>
              </a:spcAft>
              <a:buFont typeface="Arial" panose="020B0604020202020204" pitchFamily="34" charset="0"/>
              <a:buNone/>
              <a:tabLst/>
              <a:defRPr sz="900">
                <a:solidFill>
                  <a:schemeClr val="tx1"/>
                </a:solidFill>
              </a:defRPr>
            </a:lvl5pPr>
            <a:lvl6pPr marL="2381" indent="0">
              <a:spcAft>
                <a:spcPts val="0"/>
              </a:spcAft>
              <a:buNone/>
              <a:tabLst/>
              <a:defRPr sz="900">
                <a:solidFill>
                  <a:schemeClr val="tx1"/>
                </a:solidFill>
              </a:defRPr>
            </a:lvl6pPr>
            <a:lvl7pPr marL="2381" indent="0">
              <a:spcAft>
                <a:spcPts val="0"/>
              </a:spcAft>
              <a:buNone/>
              <a:tabLst/>
              <a:defRPr sz="900">
                <a:solidFill>
                  <a:schemeClr val="tx1"/>
                </a:solidFill>
              </a:defRPr>
            </a:lvl7pPr>
            <a:lvl8pPr marL="2381" indent="0">
              <a:spcAft>
                <a:spcPts val="0"/>
              </a:spcAft>
              <a:buNone/>
              <a:tabLst/>
              <a:defRPr sz="900">
                <a:solidFill>
                  <a:schemeClr val="tx1"/>
                </a:solidFill>
              </a:defRPr>
            </a:lvl8pPr>
            <a:lvl9pPr marL="2381" indent="0">
              <a:spcAft>
                <a:spcPts val="0"/>
              </a:spcAft>
              <a:buNone/>
              <a:tabLst/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add chart title</a:t>
            </a:r>
          </a:p>
          <a:p>
            <a:pPr lvl="1"/>
            <a:r>
              <a:rPr lang="en-US"/>
              <a:t>Chart subtitle (second level)</a:t>
            </a:r>
          </a:p>
        </p:txBody>
      </p: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FF45F03E-B96D-DA46-93C2-135BEC126798}"/>
              </a:ext>
            </a:extLst>
          </p:cNvPr>
          <p:cNvGrpSpPr/>
          <p:nvPr userDrawn="1"/>
        </p:nvGrpSpPr>
        <p:grpSpPr>
          <a:xfrm>
            <a:off x="9399183" y="-1"/>
            <a:ext cx="2961715" cy="5242303"/>
            <a:chOff x="9399182" y="-1"/>
            <a:chExt cx="2961715" cy="6989737"/>
          </a:xfrm>
        </p:grpSpPr>
        <p:sp>
          <p:nvSpPr>
            <p:cNvPr id="137" name="Rectangle 136">
              <a:extLst>
                <a:ext uri="{FF2B5EF4-FFF2-40B4-BE49-F238E27FC236}">
                  <a16:creationId xmlns:a16="http://schemas.microsoft.com/office/drawing/2014/main" id="{F1AF54F3-DBB0-5A45-A53B-FDDFA3C6506A}"/>
                </a:ext>
              </a:extLst>
            </p:cNvPr>
            <p:cNvSpPr/>
            <p:nvPr userDrawn="1"/>
          </p:nvSpPr>
          <p:spPr>
            <a:xfrm>
              <a:off x="9399182" y="-1"/>
              <a:ext cx="2798651" cy="698973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050"/>
            </a:p>
          </p:txBody>
        </p:sp>
        <p:pic>
          <p:nvPicPr>
            <p:cNvPr id="138" name="Picture 137">
              <a:extLst>
                <a:ext uri="{FF2B5EF4-FFF2-40B4-BE49-F238E27FC236}">
                  <a16:creationId xmlns:a16="http://schemas.microsoft.com/office/drawing/2014/main" id="{504C2EE4-E1B1-A944-9395-2937A1F0585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r="36104"/>
            <a:stretch/>
          </p:blipFill>
          <p:spPr>
            <a:xfrm>
              <a:off x="9558497" y="1330741"/>
              <a:ext cx="2639329" cy="522522"/>
            </a:xfrm>
            <a:prstGeom prst="rect">
              <a:avLst/>
            </a:prstGeom>
          </p:spPr>
        </p:pic>
        <p:grpSp>
          <p:nvGrpSpPr>
            <p:cNvPr id="139" name="Group 138">
              <a:extLst>
                <a:ext uri="{FF2B5EF4-FFF2-40B4-BE49-F238E27FC236}">
                  <a16:creationId xmlns:a16="http://schemas.microsoft.com/office/drawing/2014/main" id="{891C199A-F431-4E48-87CD-C7E705D50D0A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164" name="Rectangle 163">
                <a:extLst>
                  <a:ext uri="{FF2B5EF4-FFF2-40B4-BE49-F238E27FC236}">
                    <a16:creationId xmlns:a16="http://schemas.microsoft.com/office/drawing/2014/main" id="{FD84C77A-8CD3-0944-9FF3-231D5B2738E5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165" name="TextBox 164">
                <a:extLst>
                  <a:ext uri="{FF2B5EF4-FFF2-40B4-BE49-F238E27FC236}">
                    <a16:creationId xmlns:a16="http://schemas.microsoft.com/office/drawing/2014/main" id="{96BD3459-C26E-DE41-81BE-87277B7FDDE4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166" name="Picture 165">
                <a:extLst>
                  <a:ext uri="{FF2B5EF4-FFF2-40B4-BE49-F238E27FC236}">
                    <a16:creationId xmlns:a16="http://schemas.microsoft.com/office/drawing/2014/main" id="{202313DD-B5E9-E64C-BEE6-3CD600BBB16B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140" name="Group 139">
              <a:extLst>
                <a:ext uri="{FF2B5EF4-FFF2-40B4-BE49-F238E27FC236}">
                  <a16:creationId xmlns:a16="http://schemas.microsoft.com/office/drawing/2014/main" id="{063D59E6-CF04-E946-8759-26CCF7BDDA32}"/>
                </a:ext>
              </a:extLst>
            </p:cNvPr>
            <p:cNvGrpSpPr/>
            <p:nvPr userDrawn="1"/>
          </p:nvGrpSpPr>
          <p:grpSpPr>
            <a:xfrm>
              <a:off x="9521833" y="5769065"/>
              <a:ext cx="2676002" cy="1074276"/>
              <a:chOff x="9521833" y="2036288"/>
              <a:chExt cx="2676002" cy="1074276"/>
            </a:xfrm>
          </p:grpSpPr>
          <p:sp>
            <p:nvSpPr>
              <p:cNvPr id="158" name="TextBox 157">
                <a:extLst>
                  <a:ext uri="{FF2B5EF4-FFF2-40B4-BE49-F238E27FC236}">
                    <a16:creationId xmlns:a16="http://schemas.microsoft.com/office/drawing/2014/main" id="{77DEAB84-5DD6-A74D-A64B-E11CE07988F5}"/>
                  </a:ext>
                </a:extLst>
              </p:cNvPr>
              <p:cNvSpPr txBox="1"/>
              <p:nvPr userDrawn="1"/>
            </p:nvSpPr>
            <p:spPr>
              <a:xfrm>
                <a:off x="9558507" y="2036288"/>
                <a:ext cx="993862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sz="825">
                    <a:solidFill>
                      <a:schemeClr val="bg1"/>
                    </a:solidFill>
                  </a:rPr>
                  <a:t>ADD A NEW CHART</a:t>
                </a:r>
              </a:p>
            </p:txBody>
          </p:sp>
          <p:cxnSp>
            <p:nvCxnSpPr>
              <p:cNvPr id="159" name="Straight Connector 158">
                <a:extLst>
                  <a:ext uri="{FF2B5EF4-FFF2-40B4-BE49-F238E27FC236}">
                    <a16:creationId xmlns:a16="http://schemas.microsoft.com/office/drawing/2014/main" id="{412CE4C5-C331-484D-A266-9A6522ACED7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558507" y="223890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60" name="Group 159">
                <a:extLst>
                  <a:ext uri="{FF2B5EF4-FFF2-40B4-BE49-F238E27FC236}">
                    <a16:creationId xmlns:a16="http://schemas.microsoft.com/office/drawing/2014/main" id="{52A2B73E-C3A6-FD40-B1FA-0CDAC93E0949}"/>
                  </a:ext>
                </a:extLst>
              </p:cNvPr>
              <p:cNvGrpSpPr/>
              <p:nvPr userDrawn="1"/>
            </p:nvGrpSpPr>
            <p:grpSpPr>
              <a:xfrm>
                <a:off x="9521833" y="2361408"/>
                <a:ext cx="2557391" cy="323337"/>
                <a:chOff x="12352022" y="513115"/>
                <a:chExt cx="2557391" cy="323337"/>
              </a:xfrm>
            </p:grpSpPr>
            <p:sp>
              <p:nvSpPr>
                <p:cNvPr id="162" name="TextBox 161">
                  <a:extLst>
                    <a:ext uri="{FF2B5EF4-FFF2-40B4-BE49-F238E27FC236}">
                      <a16:creationId xmlns:a16="http://schemas.microsoft.com/office/drawing/2014/main" id="{619D7F15-706D-3F4C-A8B8-C12D59510822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375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163" name="TextBox 162">
                  <a:extLst>
                    <a:ext uri="{FF2B5EF4-FFF2-40B4-BE49-F238E27FC236}">
                      <a16:creationId xmlns:a16="http://schemas.microsoft.com/office/drawing/2014/main" id="{1C9CAA61-2E63-2243-9107-4A321356DB2A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392798" cy="32333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sz="788"/>
                    <a:t>Open the </a:t>
                  </a:r>
                  <a:r>
                    <a:rPr lang="en-US" sz="788" b="1"/>
                    <a:t>VEDP Template Assets file </a:t>
                  </a:r>
                  <a:r>
                    <a:rPr lang="en-US" sz="788"/>
                    <a:t>and copy the desired chart type into your presentation.</a:t>
                  </a:r>
                </a:p>
              </p:txBody>
            </p:sp>
          </p:grpSp>
          <p:sp>
            <p:nvSpPr>
              <p:cNvPr id="161" name="TextBox 160">
                <a:extLst>
                  <a:ext uri="{FF2B5EF4-FFF2-40B4-BE49-F238E27FC236}">
                    <a16:creationId xmlns:a16="http://schemas.microsoft.com/office/drawing/2014/main" id="{431A03AF-2C30-0044-878E-EBA24FF0D060}"/>
                  </a:ext>
                </a:extLst>
              </p:cNvPr>
              <p:cNvSpPr txBox="1"/>
              <p:nvPr userDrawn="1"/>
            </p:nvSpPr>
            <p:spPr>
              <a:xfrm>
                <a:off x="9686426" y="2895120"/>
                <a:ext cx="2120429" cy="21544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/>
                  <a:t>These samples slide have further instructions and have been set up so you can easily edit the data.</a:t>
                </a:r>
              </a:p>
            </p:txBody>
          </p:sp>
        </p:grp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9FD671FF-2D84-E843-A31C-B84F3E2677A1}"/>
                </a:ext>
              </a:extLst>
            </p:cNvPr>
            <p:cNvSpPr txBox="1"/>
            <p:nvPr userDrawn="1"/>
          </p:nvSpPr>
          <p:spPr>
            <a:xfrm>
              <a:off x="9558507" y="2034287"/>
              <a:ext cx="1537280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sz="825">
                  <a:solidFill>
                    <a:schemeClr val="bg1"/>
                  </a:solidFill>
                </a:rPr>
                <a:t>FORMAT AN EXISTING CHART</a:t>
              </a: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321D4ECE-156C-684D-8E18-8D9C2BE4F5C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2236904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3" name="TextBox 142">
              <a:extLst>
                <a:ext uri="{FF2B5EF4-FFF2-40B4-BE49-F238E27FC236}">
                  <a16:creationId xmlns:a16="http://schemas.microsoft.com/office/drawing/2014/main" id="{105D3A7E-0F58-B141-BD38-F6FD34EFE53B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9521833" y="2384434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375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1</a:t>
              </a:r>
            </a:p>
          </p:txBody>
        </p:sp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EE872CBB-A7D5-1141-9462-389457166E9B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9521833" y="3111484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375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2</a:t>
              </a:r>
            </a:p>
          </p:txBody>
        </p:sp>
        <p:sp>
          <p:nvSpPr>
            <p:cNvPr id="145" name="TextBox 144">
              <a:extLst>
                <a:ext uri="{FF2B5EF4-FFF2-40B4-BE49-F238E27FC236}">
                  <a16:creationId xmlns:a16="http://schemas.microsoft.com/office/drawing/2014/main" id="{379C53D1-7E7B-E646-A1F5-A3D9AFD81A13}"/>
                </a:ext>
              </a:extLst>
            </p:cNvPr>
            <p:cNvSpPr txBox="1"/>
            <p:nvPr userDrawn="1"/>
          </p:nvSpPr>
          <p:spPr>
            <a:xfrm>
              <a:off x="9686426" y="2359407"/>
              <a:ext cx="2453290" cy="32333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sz="788"/>
                <a:t>Select the chart placeholder and then paste your existing chart.</a:t>
              </a:r>
            </a:p>
          </p:txBody>
        </p:sp>
        <p:sp>
          <p:nvSpPr>
            <p:cNvPr id="146" name="TextBox 145">
              <a:extLst>
                <a:ext uri="{FF2B5EF4-FFF2-40B4-BE49-F238E27FC236}">
                  <a16:creationId xmlns:a16="http://schemas.microsoft.com/office/drawing/2014/main" id="{0E1634FF-BFE8-CD4B-A29B-07EF0D0A4213}"/>
                </a:ext>
              </a:extLst>
            </p:cNvPr>
            <p:cNvSpPr txBox="1"/>
            <p:nvPr userDrawn="1"/>
          </p:nvSpPr>
          <p:spPr>
            <a:xfrm>
              <a:off x="9686426" y="3088614"/>
              <a:ext cx="2453290" cy="32333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sz="788"/>
                <a:t>Right-click on the chart and choose “Change Chart Type…”</a:t>
              </a:r>
            </a:p>
          </p:txBody>
        </p:sp>
        <p:sp>
          <p:nvSpPr>
            <p:cNvPr id="147" name="TextBox 146">
              <a:extLst>
                <a:ext uri="{FF2B5EF4-FFF2-40B4-BE49-F238E27FC236}">
                  <a16:creationId xmlns:a16="http://schemas.microsoft.com/office/drawing/2014/main" id="{46E96A8E-58C8-284D-9D62-4C14D61A164F}"/>
                </a:ext>
              </a:extLst>
            </p:cNvPr>
            <p:cNvSpPr txBox="1">
              <a:spLocks noChangeAspect="1"/>
            </p:cNvSpPr>
            <p:nvPr userDrawn="1"/>
          </p:nvSpPr>
          <p:spPr>
            <a:xfrm>
              <a:off x="9521833" y="3574474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375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3</a:t>
              </a:r>
            </a:p>
          </p:txBody>
        </p:sp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90BAAB41-F096-1446-AF97-DB0DF304E760}"/>
                </a:ext>
              </a:extLst>
            </p:cNvPr>
            <p:cNvSpPr txBox="1"/>
            <p:nvPr userDrawn="1"/>
          </p:nvSpPr>
          <p:spPr>
            <a:xfrm>
              <a:off x="9686426" y="3551603"/>
              <a:ext cx="2453290" cy="32333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sz="788"/>
                <a:t>Choose one of the VEDP chart styles from the ‘Templates’ category.</a:t>
              </a:r>
            </a:p>
          </p:txBody>
        </p: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70745A7D-E8B1-784F-89B5-D634636CCE13}"/>
                </a:ext>
              </a:extLst>
            </p:cNvPr>
            <p:cNvSpPr txBox="1"/>
            <p:nvPr userDrawn="1"/>
          </p:nvSpPr>
          <p:spPr>
            <a:xfrm>
              <a:off x="9674268" y="2722630"/>
              <a:ext cx="2297650" cy="215444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525"/>
                <a:t>Note: Make sure that you have access to any linked files, or you won’t be able to apply the chart style successfully.</a:t>
              </a:r>
            </a:p>
          </p:txBody>
        </p:sp>
        <p:grpSp>
          <p:nvGrpSpPr>
            <p:cNvPr id="150" name="Group 149">
              <a:extLst>
                <a:ext uri="{FF2B5EF4-FFF2-40B4-BE49-F238E27FC236}">
                  <a16:creationId xmlns:a16="http://schemas.microsoft.com/office/drawing/2014/main" id="{BC5E24AF-445C-6747-8C45-E7E1943A07EA}"/>
                </a:ext>
              </a:extLst>
            </p:cNvPr>
            <p:cNvGrpSpPr/>
            <p:nvPr userDrawn="1"/>
          </p:nvGrpSpPr>
          <p:grpSpPr>
            <a:xfrm>
              <a:off x="9558507" y="1119891"/>
              <a:ext cx="2639328" cy="202617"/>
              <a:chOff x="9303325" y="149270"/>
              <a:chExt cx="2639328" cy="202617"/>
            </a:xfrm>
          </p:grpSpPr>
          <p:sp>
            <p:nvSpPr>
              <p:cNvPr id="156" name="TextBox 155">
                <a:extLst>
                  <a:ext uri="{FF2B5EF4-FFF2-40B4-BE49-F238E27FC236}">
                    <a16:creationId xmlns:a16="http://schemas.microsoft.com/office/drawing/2014/main" id="{E294C049-81FF-734E-A604-56C73619EC6E}"/>
                  </a:ext>
                </a:extLst>
              </p:cNvPr>
              <p:cNvSpPr txBox="1"/>
              <p:nvPr userDrawn="1"/>
            </p:nvSpPr>
            <p:spPr>
              <a:xfrm>
                <a:off x="9303325" y="149270"/>
                <a:ext cx="1670329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sz="825">
                    <a:solidFill>
                      <a:schemeClr val="bg1"/>
                    </a:solidFill>
                  </a:rPr>
                  <a:t>TEXT FORMATS IN THIS LAYOUT</a:t>
                </a:r>
              </a:p>
            </p:txBody>
          </p:sp>
          <p:cxnSp>
            <p:nvCxnSpPr>
              <p:cNvPr id="157" name="Straight Connector 156">
                <a:extLst>
                  <a:ext uri="{FF2B5EF4-FFF2-40B4-BE49-F238E27FC236}">
                    <a16:creationId xmlns:a16="http://schemas.microsoft.com/office/drawing/2014/main" id="{128F855E-A066-1E41-A899-00776F75A5F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303325" y="351887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1" name="Group 150">
              <a:extLst>
                <a:ext uri="{FF2B5EF4-FFF2-40B4-BE49-F238E27FC236}">
                  <a16:creationId xmlns:a16="http://schemas.microsoft.com/office/drawing/2014/main" id="{72FF89E0-A4B5-C342-9537-0A864A4B9675}"/>
                </a:ext>
              </a:extLst>
            </p:cNvPr>
            <p:cNvGrpSpPr/>
            <p:nvPr userDrawn="1"/>
          </p:nvGrpSpPr>
          <p:grpSpPr>
            <a:xfrm>
              <a:off x="9541497" y="4046193"/>
              <a:ext cx="2735151" cy="1533198"/>
              <a:chOff x="9296567" y="4910412"/>
              <a:chExt cx="2735151" cy="1533198"/>
            </a:xfrm>
          </p:grpSpPr>
          <p:sp>
            <p:nvSpPr>
              <p:cNvPr id="152" name="Rectangle 151">
                <a:extLst>
                  <a:ext uri="{FF2B5EF4-FFF2-40B4-BE49-F238E27FC236}">
                    <a16:creationId xmlns:a16="http://schemas.microsoft.com/office/drawing/2014/main" id="{E4358915-BE70-7943-8C4A-25F97B1814A3}"/>
                  </a:ext>
                </a:extLst>
              </p:cNvPr>
              <p:cNvSpPr/>
              <p:nvPr userDrawn="1"/>
            </p:nvSpPr>
            <p:spPr>
              <a:xfrm>
                <a:off x="9296567" y="4910412"/>
                <a:ext cx="2735151" cy="1533198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153" name="TextBox 152">
                <a:extLst>
                  <a:ext uri="{FF2B5EF4-FFF2-40B4-BE49-F238E27FC236}">
                    <a16:creationId xmlns:a16="http://schemas.microsoft.com/office/drawing/2014/main" id="{81B4C365-355F-C643-99D7-B97298FDF7DF}"/>
                  </a:ext>
                </a:extLst>
              </p:cNvPr>
              <p:cNvSpPr txBox="1"/>
              <p:nvPr userDrawn="1"/>
            </p:nvSpPr>
            <p:spPr>
              <a:xfrm>
                <a:off x="9662758" y="5039211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Re-apply chart style</a:t>
                </a:r>
              </a:p>
            </p:txBody>
          </p:sp>
          <p:pic>
            <p:nvPicPr>
              <p:cNvPr id="154" name="Graphic 153">
                <a:extLst>
                  <a:ext uri="{FF2B5EF4-FFF2-40B4-BE49-F238E27FC236}">
                    <a16:creationId xmlns:a16="http://schemas.microsoft.com/office/drawing/2014/main" id="{C6D16933-9F45-5F40-8D19-78EBF75E653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9456790" y="5049494"/>
                <a:ext cx="155227" cy="155227"/>
              </a:xfrm>
              <a:prstGeom prst="rect">
                <a:avLst/>
              </a:prstGeom>
            </p:spPr>
          </p:pic>
          <p:sp>
            <p:nvSpPr>
              <p:cNvPr id="155" name="TextBox 154">
                <a:extLst>
                  <a:ext uri="{FF2B5EF4-FFF2-40B4-BE49-F238E27FC236}">
                    <a16:creationId xmlns:a16="http://schemas.microsoft.com/office/drawing/2014/main" id="{07CEA561-9614-6F48-8B85-62EE36EF46E2}"/>
                  </a:ext>
                </a:extLst>
              </p:cNvPr>
              <p:cNvSpPr txBox="1"/>
              <p:nvPr userDrawn="1"/>
            </p:nvSpPr>
            <p:spPr>
              <a:xfrm>
                <a:off x="9471805" y="5300350"/>
                <a:ext cx="2399065" cy="103789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spcBef>
                    <a:spcPts val="200"/>
                  </a:spcBef>
                  <a:defRPr sz="9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49225" lvl="1" indent="-149225">
                  <a:spcBef>
                    <a:spcPts val="200"/>
                  </a:spcBef>
                  <a:spcAft>
                    <a:spcPts val="0"/>
                  </a:spcAft>
                  <a:defRPr sz="9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</a:lstStyle>
              <a:p>
                <a:r>
                  <a:rPr lang="en-US" sz="675"/>
                  <a:t>In case of error, return legend entries, data labels, and/or chart formatting by re-applying the current VEDP chart style template.</a:t>
                </a:r>
              </a:p>
              <a:p>
                <a:pPr lvl="1"/>
                <a:r>
                  <a:rPr lang="en-US" sz="675"/>
                  <a:t>Right-click the chart and choose</a:t>
                </a:r>
                <a:br>
                  <a:rPr lang="en-US" sz="675"/>
                </a:br>
                <a:r>
                  <a:rPr lang="en-US" sz="675"/>
                  <a:t>“Change Chart Type”</a:t>
                </a:r>
              </a:p>
              <a:p>
                <a:pPr lvl="1"/>
                <a:r>
                  <a:rPr lang="en-US" sz="675"/>
                  <a:t>Then choose the matching VEDP chart style from the ‘Templates’ category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5951892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A3E7C59C-7AB2-FD4B-9D3E-CA7E0D8CB2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Slide TITLE. ALL CAPS. TWO LINES max.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FD4B8862-A567-3B46-B0C3-394F4DE43C21}"/>
              </a:ext>
            </a:extLst>
          </p:cNvPr>
          <p:cNvSpPr>
            <a:spLocks noGrp="1"/>
          </p:cNvSpPr>
          <p:nvPr>
            <p:ph type="chart" sz="quarter" idx="113"/>
          </p:nvPr>
        </p:nvSpPr>
        <p:spPr>
          <a:xfrm>
            <a:off x="431800" y="1301353"/>
            <a:ext cx="4008438" cy="3323034"/>
          </a:xfrm>
        </p:spPr>
        <p:txBody>
          <a:bodyPr/>
          <a:lstStyle>
            <a:lvl1pPr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4A426F11-55A1-3946-8771-D8A379B5AD5E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800" y="4650581"/>
            <a:ext cx="7440613" cy="379131"/>
          </a:xfrm>
        </p:spPr>
        <p:txBody>
          <a:bodyPr bIns="0" anchor="b"/>
          <a:lstStyle>
            <a:lvl1pPr marL="4763" indent="-1191">
              <a:spcBef>
                <a:spcPts val="56"/>
              </a:spcBef>
              <a:spcAft>
                <a:spcPts val="56"/>
              </a:spcAft>
              <a:buSzPct val="100000"/>
              <a:buFontTx/>
              <a:buNone/>
              <a:tabLst/>
              <a:defRPr sz="825" b="0">
                <a:solidFill>
                  <a:schemeClr val="tx1"/>
                </a:solidFill>
              </a:defRPr>
            </a:lvl1pPr>
            <a:lvl2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¹"/>
              <a:tabLst/>
              <a:defRPr sz="825" b="0" i="0">
                <a:solidFill>
                  <a:schemeClr val="tx1"/>
                </a:solidFill>
              </a:defRPr>
            </a:lvl2pPr>
            <a:lvl3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²"/>
              <a:tabLst/>
              <a:defRPr sz="825">
                <a:solidFill>
                  <a:schemeClr val="tx1"/>
                </a:solidFill>
              </a:defRPr>
            </a:lvl3pPr>
            <a:lvl4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³"/>
              <a:tabLst/>
              <a:defRPr sz="825">
                <a:solidFill>
                  <a:schemeClr val="tx1"/>
                </a:solidFill>
              </a:defRPr>
            </a:lvl4pPr>
            <a:lvl5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⁴"/>
              <a:tabLst/>
              <a:defRPr sz="825">
                <a:solidFill>
                  <a:schemeClr val="tx1"/>
                </a:solidFill>
              </a:defRPr>
            </a:lvl5pPr>
            <a:lvl6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⁵"/>
              <a:tabLst/>
              <a:defRPr sz="825">
                <a:solidFill>
                  <a:schemeClr val="tx1"/>
                </a:solidFill>
              </a:defRPr>
            </a:lvl6pPr>
            <a:lvl7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⁶"/>
              <a:tabLst/>
              <a:defRPr sz="825">
                <a:solidFill>
                  <a:schemeClr val="tx1"/>
                </a:solidFill>
              </a:defRPr>
            </a:lvl7pPr>
            <a:lvl8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⁷"/>
              <a:tabLst/>
              <a:defRPr sz="825">
                <a:solidFill>
                  <a:schemeClr val="tx1"/>
                </a:solidFill>
              </a:defRPr>
            </a:lvl8pPr>
            <a:lvl9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⁸"/>
              <a:tabLst/>
              <a:defRPr sz="825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/>
              <a:t>Footnotes – Levels 2-9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7892DA04-F4A9-2044-B9E5-08BCF7318160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431801" y="904607"/>
            <a:ext cx="1432443" cy="303826"/>
          </a:xfrm>
          <a:blipFill dpi="0" rotWithShape="1">
            <a:blip r:embed="rId2"/>
            <a:srcRect/>
            <a:tile tx="0" ty="0" sx="100000" sy="100000" flip="xy" algn="b"/>
          </a:blipFill>
          <a:effectLst/>
        </p:spPr>
        <p:txBody>
          <a:bodyPr wrap="none" bIns="54000" anchor="b">
            <a:spAutoFit/>
          </a:bodyPr>
          <a:lstStyle>
            <a:lvl1pPr marL="2381" indent="0">
              <a:spcBef>
                <a:spcPts val="75"/>
              </a:spcBef>
              <a:spcAft>
                <a:spcPts val="0"/>
              </a:spcAft>
              <a:tabLst/>
              <a:defRPr sz="900">
                <a:solidFill>
                  <a:schemeClr val="tx1"/>
                </a:solidFill>
              </a:defRPr>
            </a:lvl1pPr>
            <a:lvl2pPr marL="2381" indent="0">
              <a:spcAft>
                <a:spcPts val="0"/>
              </a:spcAft>
              <a:buFont typeface="Arial" panose="020B0604020202020204" pitchFamily="34" charset="0"/>
              <a:buNone/>
              <a:tabLst/>
              <a:defRPr sz="900">
                <a:solidFill>
                  <a:schemeClr val="tx1"/>
                </a:solidFill>
              </a:defRPr>
            </a:lvl2pPr>
            <a:lvl3pPr marL="2381" indent="0">
              <a:buNone/>
              <a:tabLst/>
              <a:defRPr sz="900">
                <a:solidFill>
                  <a:schemeClr val="tx1"/>
                </a:solidFill>
              </a:defRPr>
            </a:lvl3pPr>
            <a:lvl4pPr marL="2381" indent="0">
              <a:spcAft>
                <a:spcPts val="0"/>
              </a:spcAft>
              <a:buNone/>
              <a:tabLst/>
              <a:defRPr sz="900">
                <a:solidFill>
                  <a:schemeClr val="tx1"/>
                </a:solidFill>
              </a:defRPr>
            </a:lvl4pPr>
            <a:lvl5pPr marL="2381" indent="0">
              <a:spcAft>
                <a:spcPts val="0"/>
              </a:spcAft>
              <a:buFont typeface="Arial" panose="020B0604020202020204" pitchFamily="34" charset="0"/>
              <a:buNone/>
              <a:tabLst/>
              <a:defRPr sz="900">
                <a:solidFill>
                  <a:schemeClr val="tx1"/>
                </a:solidFill>
              </a:defRPr>
            </a:lvl5pPr>
            <a:lvl6pPr marL="2381" indent="0">
              <a:spcAft>
                <a:spcPts val="0"/>
              </a:spcAft>
              <a:buNone/>
              <a:tabLst/>
              <a:defRPr sz="900">
                <a:solidFill>
                  <a:schemeClr val="tx1"/>
                </a:solidFill>
              </a:defRPr>
            </a:lvl6pPr>
            <a:lvl7pPr marL="2381" indent="0">
              <a:spcAft>
                <a:spcPts val="0"/>
              </a:spcAft>
              <a:buNone/>
              <a:tabLst/>
              <a:defRPr sz="900">
                <a:solidFill>
                  <a:schemeClr val="tx1"/>
                </a:solidFill>
              </a:defRPr>
            </a:lvl7pPr>
            <a:lvl8pPr marL="2381" indent="0">
              <a:spcAft>
                <a:spcPts val="0"/>
              </a:spcAft>
              <a:buNone/>
              <a:tabLst/>
              <a:defRPr sz="900">
                <a:solidFill>
                  <a:schemeClr val="tx1"/>
                </a:solidFill>
              </a:defRPr>
            </a:lvl8pPr>
            <a:lvl9pPr marL="2381" indent="0">
              <a:spcAft>
                <a:spcPts val="0"/>
              </a:spcAft>
              <a:buNone/>
              <a:tabLst/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add chart title</a:t>
            </a:r>
          </a:p>
          <a:p>
            <a:pPr lvl="1"/>
            <a:r>
              <a:rPr lang="en-US"/>
              <a:t>Chart subtitle (second level)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379AB29-F3FD-6B4D-AB9C-5B22D89A0EA3}"/>
              </a:ext>
            </a:extLst>
          </p:cNvPr>
          <p:cNvSpPr>
            <a:spLocks noGrp="1"/>
          </p:cNvSpPr>
          <p:nvPr>
            <p:ph type="dt" sz="half" idx="1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98E7724-1686-F747-8D1B-1AB14F556771}"/>
              </a:ext>
            </a:extLst>
          </p:cNvPr>
          <p:cNvSpPr>
            <a:spLocks noGrp="1"/>
          </p:cNvSpPr>
          <p:nvPr>
            <p:ph type="ftr" sz="quarter" idx="1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7560BD8-BC0B-DB45-8951-391197B87781}"/>
              </a:ext>
            </a:extLst>
          </p:cNvPr>
          <p:cNvSpPr>
            <a:spLocks noGrp="1"/>
          </p:cNvSpPr>
          <p:nvPr>
            <p:ph type="sldNum" sz="quarter" idx="118"/>
          </p:nvPr>
        </p:nvSpPr>
        <p:spPr/>
        <p:txBody>
          <a:bodyPr/>
          <a:lstStyle/>
          <a:p>
            <a:pPr marL="9525"/>
            <a:fld id="{078C017C-E1B9-8443-B047-B08AAA027B45}" type="slidenum">
              <a:rPr lang="en-US" smtClean="0"/>
              <a:pPr marL="9525"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0633058-F12A-3240-8E47-F68D49EC3AE2}"/>
              </a:ext>
            </a:extLst>
          </p:cNvPr>
          <p:cNvSpPr>
            <a:spLocks noGrp="1"/>
          </p:cNvSpPr>
          <p:nvPr userDrawn="1">
            <p:ph type="body" sz="quarter" idx="119"/>
          </p:nvPr>
        </p:nvSpPr>
        <p:spPr>
          <a:xfrm>
            <a:off x="4705400" y="1301353"/>
            <a:ext cx="4006800" cy="332303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B63747D6-BC82-9944-89EC-FD8DC796135D}"/>
              </a:ext>
            </a:extLst>
          </p:cNvPr>
          <p:cNvGrpSpPr/>
          <p:nvPr userDrawn="1"/>
        </p:nvGrpSpPr>
        <p:grpSpPr>
          <a:xfrm>
            <a:off x="9399182" y="-1"/>
            <a:ext cx="2974470" cy="7343771"/>
            <a:chOff x="9399182" y="-2"/>
            <a:chExt cx="2974470" cy="9791695"/>
          </a:xfrm>
        </p:grpSpPr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4021C5A3-7B0D-1847-9EF9-A3705154127E}"/>
                </a:ext>
              </a:extLst>
            </p:cNvPr>
            <p:cNvSpPr/>
            <p:nvPr userDrawn="1"/>
          </p:nvSpPr>
          <p:spPr>
            <a:xfrm>
              <a:off x="9399182" y="-2"/>
              <a:ext cx="2798651" cy="979169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050"/>
            </a:p>
          </p:txBody>
        </p:sp>
        <p:pic>
          <p:nvPicPr>
            <p:cNvPr id="109" name="Picture 108">
              <a:extLst>
                <a:ext uri="{FF2B5EF4-FFF2-40B4-BE49-F238E27FC236}">
                  <a16:creationId xmlns:a16="http://schemas.microsoft.com/office/drawing/2014/main" id="{8379DC2B-3092-1142-97A8-452B83E9EEE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r="36104"/>
            <a:stretch/>
          </p:blipFill>
          <p:spPr>
            <a:xfrm>
              <a:off x="9558497" y="1619251"/>
              <a:ext cx="2639329" cy="522522"/>
            </a:xfrm>
            <a:prstGeom prst="rect">
              <a:avLst/>
            </a:prstGeom>
          </p:spPr>
        </p:pic>
        <p:grpSp>
          <p:nvGrpSpPr>
            <p:cNvPr id="110" name="Group 109">
              <a:extLst>
                <a:ext uri="{FF2B5EF4-FFF2-40B4-BE49-F238E27FC236}">
                  <a16:creationId xmlns:a16="http://schemas.microsoft.com/office/drawing/2014/main" id="{1013161E-A1C5-5749-9CE3-F720067C884E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135" name="Rectangle 134">
                <a:extLst>
                  <a:ext uri="{FF2B5EF4-FFF2-40B4-BE49-F238E27FC236}">
                    <a16:creationId xmlns:a16="http://schemas.microsoft.com/office/drawing/2014/main" id="{6E6A25D8-1BC5-9B4C-8FA6-899B48E1D1CE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136" name="TextBox 135">
                <a:extLst>
                  <a:ext uri="{FF2B5EF4-FFF2-40B4-BE49-F238E27FC236}">
                    <a16:creationId xmlns:a16="http://schemas.microsoft.com/office/drawing/2014/main" id="{DE1EA92A-DBC7-B749-9767-E7B2D5BD99CA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1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137" name="Picture 136">
                <a:extLst>
                  <a:ext uri="{FF2B5EF4-FFF2-40B4-BE49-F238E27FC236}">
                    <a16:creationId xmlns:a16="http://schemas.microsoft.com/office/drawing/2014/main" id="{F3C81943-C1E3-344C-9C89-756433C45B2E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121" name="Group 120">
              <a:extLst>
                <a:ext uri="{FF2B5EF4-FFF2-40B4-BE49-F238E27FC236}">
                  <a16:creationId xmlns:a16="http://schemas.microsoft.com/office/drawing/2014/main" id="{D3A6EECD-3549-904A-A40E-911DC97AF001}"/>
                </a:ext>
              </a:extLst>
            </p:cNvPr>
            <p:cNvGrpSpPr/>
            <p:nvPr userDrawn="1"/>
          </p:nvGrpSpPr>
          <p:grpSpPr>
            <a:xfrm>
              <a:off x="9558507" y="1119891"/>
              <a:ext cx="2639328" cy="202617"/>
              <a:chOff x="9303325" y="149270"/>
              <a:chExt cx="2639328" cy="202617"/>
            </a:xfrm>
          </p:grpSpPr>
          <p:sp>
            <p:nvSpPr>
              <p:cNvPr id="127" name="TextBox 126">
                <a:extLst>
                  <a:ext uri="{FF2B5EF4-FFF2-40B4-BE49-F238E27FC236}">
                    <a16:creationId xmlns:a16="http://schemas.microsoft.com/office/drawing/2014/main" id="{F72EE2BF-96DA-ED48-A29C-73A7C7A51107}"/>
                  </a:ext>
                </a:extLst>
              </p:cNvPr>
              <p:cNvSpPr txBox="1"/>
              <p:nvPr userDrawn="1"/>
            </p:nvSpPr>
            <p:spPr>
              <a:xfrm>
                <a:off x="9303325" y="149270"/>
                <a:ext cx="1670329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sz="825">
                    <a:solidFill>
                      <a:schemeClr val="bg1"/>
                    </a:solidFill>
                  </a:rPr>
                  <a:t>TEXT FORMATS IN THIS LAYOUT</a:t>
                </a:r>
              </a:p>
            </p:txBody>
          </p:sp>
          <p:cxnSp>
            <p:nvCxnSpPr>
              <p:cNvPr id="128" name="Straight Connector 127">
                <a:extLst>
                  <a:ext uri="{FF2B5EF4-FFF2-40B4-BE49-F238E27FC236}">
                    <a16:creationId xmlns:a16="http://schemas.microsoft.com/office/drawing/2014/main" id="{D92BD20A-0C8C-E14A-BB7D-7F4DA53A033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303325" y="351887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6ECFF6AF-6125-D947-8881-54BBFA9474F9}"/>
                </a:ext>
              </a:extLst>
            </p:cNvPr>
            <p:cNvGrpSpPr/>
            <p:nvPr userDrawn="1"/>
          </p:nvGrpSpPr>
          <p:grpSpPr>
            <a:xfrm>
              <a:off x="9521833" y="4842694"/>
              <a:ext cx="2754815" cy="4809054"/>
              <a:chOff x="9521833" y="2034287"/>
              <a:chExt cx="2754815" cy="4809054"/>
            </a:xfrm>
          </p:grpSpPr>
          <p:grpSp>
            <p:nvGrpSpPr>
              <p:cNvPr id="111" name="Group 110">
                <a:extLst>
                  <a:ext uri="{FF2B5EF4-FFF2-40B4-BE49-F238E27FC236}">
                    <a16:creationId xmlns:a16="http://schemas.microsoft.com/office/drawing/2014/main" id="{15CE3F5C-AE46-334A-898C-C2B42488CBAF}"/>
                  </a:ext>
                </a:extLst>
              </p:cNvPr>
              <p:cNvGrpSpPr/>
              <p:nvPr userDrawn="1"/>
            </p:nvGrpSpPr>
            <p:grpSpPr>
              <a:xfrm>
                <a:off x="9521833" y="5769065"/>
                <a:ext cx="2676002" cy="1074276"/>
                <a:chOff x="9521833" y="2036288"/>
                <a:chExt cx="2676002" cy="1074276"/>
              </a:xfrm>
            </p:grpSpPr>
            <p:sp>
              <p:nvSpPr>
                <p:cNvPr id="129" name="TextBox 128">
                  <a:extLst>
                    <a:ext uri="{FF2B5EF4-FFF2-40B4-BE49-F238E27FC236}">
                      <a16:creationId xmlns:a16="http://schemas.microsoft.com/office/drawing/2014/main" id="{EA92E2AA-DFD9-5A4F-AB03-5A37B9AECDF8}"/>
                    </a:ext>
                  </a:extLst>
                </p:cNvPr>
                <p:cNvSpPr txBox="1"/>
                <p:nvPr userDrawn="1"/>
              </p:nvSpPr>
              <p:spPr>
                <a:xfrm>
                  <a:off x="9558507" y="2036288"/>
                  <a:ext cx="993862" cy="169277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>
                    <a:defRPr sz="110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</a:lstStyle>
                <a:p>
                  <a:pPr lvl="0"/>
                  <a:r>
                    <a:rPr lang="en-US" sz="825">
                      <a:solidFill>
                        <a:schemeClr val="bg1"/>
                      </a:solidFill>
                    </a:rPr>
                    <a:t>ADD A NEW CHART</a:t>
                  </a:r>
                </a:p>
              </p:txBody>
            </p:sp>
            <p:cxnSp>
              <p:nvCxnSpPr>
                <p:cNvPr id="130" name="Straight Connector 129">
                  <a:extLst>
                    <a:ext uri="{FF2B5EF4-FFF2-40B4-BE49-F238E27FC236}">
                      <a16:creationId xmlns:a16="http://schemas.microsoft.com/office/drawing/2014/main" id="{6DEBF951-684E-EF4C-AD44-7EE3A3D737A5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9558507" y="2238905"/>
                  <a:ext cx="2639328" cy="0"/>
                </a:xfrm>
                <a:prstGeom prst="line">
                  <a:avLst/>
                </a:prstGeom>
                <a:ln w="19050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131" name="Group 130">
                  <a:extLst>
                    <a:ext uri="{FF2B5EF4-FFF2-40B4-BE49-F238E27FC236}">
                      <a16:creationId xmlns:a16="http://schemas.microsoft.com/office/drawing/2014/main" id="{B7170F64-401B-944F-BE85-D64B70491AD1}"/>
                    </a:ext>
                  </a:extLst>
                </p:cNvPr>
                <p:cNvGrpSpPr/>
                <p:nvPr userDrawn="1"/>
              </p:nvGrpSpPr>
              <p:grpSpPr>
                <a:xfrm>
                  <a:off x="9521833" y="2361408"/>
                  <a:ext cx="2557391" cy="323337"/>
                  <a:chOff x="12352022" y="513115"/>
                  <a:chExt cx="2557391" cy="323337"/>
                </a:xfrm>
              </p:grpSpPr>
              <p:sp>
                <p:nvSpPr>
                  <p:cNvPr id="133" name="TextBox 132">
                    <a:extLst>
                      <a:ext uri="{FF2B5EF4-FFF2-40B4-BE49-F238E27FC236}">
                        <a16:creationId xmlns:a16="http://schemas.microsoft.com/office/drawing/2014/main" id="{C6F193A3-7D39-1C40-9C0D-B981EB530258}"/>
                      </a:ext>
                    </a:extLst>
                  </p:cNvPr>
                  <p:cNvSpPr txBox="1">
                    <a:spLocks noChangeAspect="1"/>
                  </p:cNvSpPr>
                  <p:nvPr/>
                </p:nvSpPr>
                <p:spPr>
                  <a:xfrm>
                    <a:off x="12352022" y="538142"/>
                    <a:ext cx="114706" cy="114706"/>
                  </a:xfrm>
                  <a:prstGeom prst="ellipse">
                    <a:avLst/>
                  </a:prstGeom>
                  <a:solidFill>
                    <a:schemeClr val="tx1">
                      <a:lumMod val="50000"/>
                      <a:lumOff val="50000"/>
                    </a:schemeClr>
                  </a:solidFill>
                </p:spPr>
                <p:txBody>
                  <a:bodyPr vert="horz" wrap="non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US" sz="375">
                        <a:solidFill>
                          <a:schemeClr val="bg1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1</a:t>
                    </a:r>
                  </a:p>
                </p:txBody>
              </p:sp>
              <p:sp>
                <p:nvSpPr>
                  <p:cNvPr id="134" name="TextBox 133">
                    <a:extLst>
                      <a:ext uri="{FF2B5EF4-FFF2-40B4-BE49-F238E27FC236}">
                        <a16:creationId xmlns:a16="http://schemas.microsoft.com/office/drawing/2014/main" id="{C7940ED9-915B-9248-BA2F-A342231D2934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12516615" y="513115"/>
                    <a:ext cx="2392798" cy="32333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>
                    <a:defPPr>
                      <a:defRPr lang="en-US"/>
                    </a:defPPr>
                    <a:lvl1pPr lvl="0">
                      <a:spcBef>
                        <a:spcPts val="1000"/>
                      </a:spcBef>
                      <a:spcAft>
                        <a:spcPts val="300"/>
                      </a:spcAft>
                      <a:defRPr sz="1050" b="0" cap="none" spc="0" baseline="0">
                        <a:solidFill>
                          <a:schemeClr val="bg1"/>
                        </a:solidFill>
                        <a:latin typeface="Arial" charset="0"/>
                        <a:ea typeface="Arial" charset="0"/>
                        <a:cs typeface="Arial" charset="0"/>
                      </a:defRPr>
                    </a:lvl1pPr>
                    <a:lvl2pPr marL="134938" lvl="1" indent="-131763">
                      <a:lnSpc>
                        <a:spcPct val="90000"/>
                      </a:lnSpc>
                      <a:spcAft>
                        <a:spcPts val="300"/>
                      </a:spcAft>
                      <a:buFont typeface="Wingdings" pitchFamily="2" charset="2"/>
                      <a:buChar char="§"/>
                      <a:tabLst/>
                      <a:defRPr sz="900">
                        <a:solidFill>
                          <a:schemeClr val="bg1"/>
                        </a:solidFill>
                        <a:latin typeface="Arial" charset="0"/>
                        <a:ea typeface="Arial" charset="0"/>
                        <a:cs typeface="Arial" charset="0"/>
                      </a:defRPr>
                    </a:lvl2pPr>
                    <a:lvl3pPr marL="11113" lvl="2" indent="0">
                      <a:spcBef>
                        <a:spcPts val="300"/>
                      </a:spcBef>
                      <a:buFont typeface="Wingdings" pitchFamily="2" charset="2"/>
                      <a:buNone/>
                      <a:tabLst/>
                      <a:defRPr sz="800">
                        <a:solidFill>
                          <a:schemeClr val="bg1">
                            <a:lumMod val="85000"/>
                          </a:schemeClr>
                        </a:solidFill>
                      </a:defRPr>
                    </a:lvl3pPr>
                  </a:lstStyle>
                  <a:p>
                    <a:pPr lvl="0"/>
                    <a:r>
                      <a:rPr lang="en-US" sz="788"/>
                      <a:t>Open the </a:t>
                    </a:r>
                    <a:r>
                      <a:rPr lang="en-US" sz="788" b="1"/>
                      <a:t>VEDP Template Assets file </a:t>
                    </a:r>
                    <a:r>
                      <a:rPr lang="en-US" sz="788"/>
                      <a:t>and copy the desired chart type into your presentation.</a:t>
                    </a:r>
                  </a:p>
                </p:txBody>
              </p:sp>
            </p:grpSp>
            <p:sp>
              <p:nvSpPr>
                <p:cNvPr id="132" name="TextBox 131">
                  <a:extLst>
                    <a:ext uri="{FF2B5EF4-FFF2-40B4-BE49-F238E27FC236}">
                      <a16:creationId xmlns:a16="http://schemas.microsoft.com/office/drawing/2014/main" id="{A80FD326-85FF-264F-97DA-05F43B20FA05}"/>
                    </a:ext>
                  </a:extLst>
                </p:cNvPr>
                <p:cNvSpPr txBox="1"/>
                <p:nvPr userDrawn="1"/>
              </p:nvSpPr>
              <p:spPr>
                <a:xfrm>
                  <a:off x="9686426" y="2895120"/>
                  <a:ext cx="2120429" cy="215444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6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2"/>
                  <a:r>
                    <a:rPr lang="en-US" sz="525"/>
                    <a:t>These samples slide have further instructions and have been set up so you can easily edit the data.</a:t>
                  </a:r>
                </a:p>
              </p:txBody>
            </p:sp>
          </p:grpSp>
          <p:sp>
            <p:nvSpPr>
              <p:cNvPr id="112" name="TextBox 111">
                <a:extLst>
                  <a:ext uri="{FF2B5EF4-FFF2-40B4-BE49-F238E27FC236}">
                    <a16:creationId xmlns:a16="http://schemas.microsoft.com/office/drawing/2014/main" id="{643017B9-5EB5-3C43-964D-F8B34AE37A52}"/>
                  </a:ext>
                </a:extLst>
              </p:cNvPr>
              <p:cNvSpPr txBox="1"/>
              <p:nvPr userDrawn="1"/>
            </p:nvSpPr>
            <p:spPr>
              <a:xfrm>
                <a:off x="9558507" y="2034287"/>
                <a:ext cx="1537280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sz="825">
                    <a:solidFill>
                      <a:schemeClr val="bg1"/>
                    </a:solidFill>
                  </a:rPr>
                  <a:t>FORMAT AN EXISTING CHART</a:t>
                </a:r>
              </a:p>
            </p:txBody>
          </p:sp>
          <p:cxnSp>
            <p:nvCxnSpPr>
              <p:cNvPr id="113" name="Straight Connector 112">
                <a:extLst>
                  <a:ext uri="{FF2B5EF4-FFF2-40B4-BE49-F238E27FC236}">
                    <a16:creationId xmlns:a16="http://schemas.microsoft.com/office/drawing/2014/main" id="{E5A28B81-D028-A442-A2BB-C885D0421BA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558507" y="2236904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4" name="TextBox 113">
                <a:extLst>
                  <a:ext uri="{FF2B5EF4-FFF2-40B4-BE49-F238E27FC236}">
                    <a16:creationId xmlns:a16="http://schemas.microsoft.com/office/drawing/2014/main" id="{BC6B2BDC-1C6B-FF49-886E-34C4A1F31A1B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9521833" y="2384434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375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1</a:t>
                </a:r>
              </a:p>
            </p:txBody>
          </p:sp>
          <p:sp>
            <p:nvSpPr>
              <p:cNvPr id="115" name="TextBox 114">
                <a:extLst>
                  <a:ext uri="{FF2B5EF4-FFF2-40B4-BE49-F238E27FC236}">
                    <a16:creationId xmlns:a16="http://schemas.microsoft.com/office/drawing/2014/main" id="{386F9AE4-1003-E841-B986-2DFA8186BE2A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9521833" y="3111484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375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2</a:t>
                </a:r>
              </a:p>
            </p:txBody>
          </p:sp>
          <p:sp>
            <p:nvSpPr>
              <p:cNvPr id="116" name="TextBox 115">
                <a:extLst>
                  <a:ext uri="{FF2B5EF4-FFF2-40B4-BE49-F238E27FC236}">
                    <a16:creationId xmlns:a16="http://schemas.microsoft.com/office/drawing/2014/main" id="{81D4359D-396D-B047-8048-C51D25FF5FA9}"/>
                  </a:ext>
                </a:extLst>
              </p:cNvPr>
              <p:cNvSpPr txBox="1"/>
              <p:nvPr userDrawn="1"/>
            </p:nvSpPr>
            <p:spPr>
              <a:xfrm>
                <a:off x="9686426" y="2359407"/>
                <a:ext cx="2453290" cy="323336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0"/>
                <a:r>
                  <a:rPr lang="en-US" sz="788"/>
                  <a:t>Select the chart placeholder and then paste your existing chart.</a:t>
                </a:r>
              </a:p>
            </p:txBody>
          </p:sp>
          <p:sp>
            <p:nvSpPr>
              <p:cNvPr id="117" name="TextBox 116">
                <a:extLst>
                  <a:ext uri="{FF2B5EF4-FFF2-40B4-BE49-F238E27FC236}">
                    <a16:creationId xmlns:a16="http://schemas.microsoft.com/office/drawing/2014/main" id="{F595C52D-E737-B648-97C4-D0EEE4002727}"/>
                  </a:ext>
                </a:extLst>
              </p:cNvPr>
              <p:cNvSpPr txBox="1"/>
              <p:nvPr userDrawn="1"/>
            </p:nvSpPr>
            <p:spPr>
              <a:xfrm>
                <a:off x="9686426" y="3088612"/>
                <a:ext cx="2453290" cy="323336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0"/>
                <a:r>
                  <a:rPr lang="en-US" sz="788"/>
                  <a:t>Right-click on the chart and choose “Change Chart Type…”</a:t>
                </a:r>
              </a:p>
            </p:txBody>
          </p:sp>
          <p:sp>
            <p:nvSpPr>
              <p:cNvPr id="118" name="TextBox 117">
                <a:extLst>
                  <a:ext uri="{FF2B5EF4-FFF2-40B4-BE49-F238E27FC236}">
                    <a16:creationId xmlns:a16="http://schemas.microsoft.com/office/drawing/2014/main" id="{A9B4217E-F58C-E841-B458-5948479DD205}"/>
                  </a:ext>
                </a:extLst>
              </p:cNvPr>
              <p:cNvSpPr txBox="1">
                <a:spLocks noChangeAspect="1"/>
              </p:cNvSpPr>
              <p:nvPr userDrawn="1"/>
            </p:nvSpPr>
            <p:spPr>
              <a:xfrm>
                <a:off x="9521833" y="3574474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375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3</a:t>
                </a:r>
              </a:p>
            </p:txBody>
          </p:sp>
          <p:sp>
            <p:nvSpPr>
              <p:cNvPr id="119" name="TextBox 118">
                <a:extLst>
                  <a:ext uri="{FF2B5EF4-FFF2-40B4-BE49-F238E27FC236}">
                    <a16:creationId xmlns:a16="http://schemas.microsoft.com/office/drawing/2014/main" id="{BFF5E862-5288-9E4B-88AE-8C1A9F992012}"/>
                  </a:ext>
                </a:extLst>
              </p:cNvPr>
              <p:cNvSpPr txBox="1"/>
              <p:nvPr userDrawn="1"/>
            </p:nvSpPr>
            <p:spPr>
              <a:xfrm>
                <a:off x="9686426" y="3551603"/>
                <a:ext cx="2453290" cy="323336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0"/>
                <a:r>
                  <a:rPr lang="en-US" sz="788"/>
                  <a:t>Choose one of the VEDP chart styles from the ‘Templates’ category.</a:t>
                </a:r>
              </a:p>
            </p:txBody>
          </p:sp>
          <p:sp>
            <p:nvSpPr>
              <p:cNvPr id="120" name="TextBox 119">
                <a:extLst>
                  <a:ext uri="{FF2B5EF4-FFF2-40B4-BE49-F238E27FC236}">
                    <a16:creationId xmlns:a16="http://schemas.microsoft.com/office/drawing/2014/main" id="{12A69AE4-A4C6-4F4C-A368-8510B3FA8B6B}"/>
                  </a:ext>
                </a:extLst>
              </p:cNvPr>
              <p:cNvSpPr txBox="1"/>
              <p:nvPr userDrawn="1"/>
            </p:nvSpPr>
            <p:spPr>
              <a:xfrm>
                <a:off x="9674268" y="2722628"/>
                <a:ext cx="2297650" cy="21544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/>
                  <a:t>Note: Make sure that you have access to any linked files, or you won’t be able to apply the chart style successfully.</a:t>
                </a:r>
              </a:p>
            </p:txBody>
          </p:sp>
          <p:grpSp>
            <p:nvGrpSpPr>
              <p:cNvPr id="122" name="Group 121">
                <a:extLst>
                  <a:ext uri="{FF2B5EF4-FFF2-40B4-BE49-F238E27FC236}">
                    <a16:creationId xmlns:a16="http://schemas.microsoft.com/office/drawing/2014/main" id="{CB984C52-4124-AA4D-8458-190AC08BEB6E}"/>
                  </a:ext>
                </a:extLst>
              </p:cNvPr>
              <p:cNvGrpSpPr/>
              <p:nvPr userDrawn="1"/>
            </p:nvGrpSpPr>
            <p:grpSpPr>
              <a:xfrm>
                <a:off x="9541497" y="4046193"/>
                <a:ext cx="2735151" cy="1533198"/>
                <a:chOff x="9296567" y="4910412"/>
                <a:chExt cx="2735151" cy="1533198"/>
              </a:xfrm>
            </p:grpSpPr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18659A9D-C0B3-654D-927A-38F08EBCB65C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2"/>
                  <a:ext cx="2735151" cy="1533198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  <p:sp>
              <p:nvSpPr>
                <p:cNvPr id="124" name="TextBox 123">
                  <a:extLst>
                    <a:ext uri="{FF2B5EF4-FFF2-40B4-BE49-F238E27FC236}">
                      <a16:creationId xmlns:a16="http://schemas.microsoft.com/office/drawing/2014/main" id="{9935FD93-FA7C-9049-9D3B-CB3B8CD860B7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8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Re-apply chart style</a:t>
                  </a:r>
                </a:p>
              </p:txBody>
            </p:sp>
            <p:pic>
              <p:nvPicPr>
                <p:cNvPr id="125" name="Graphic 124">
                  <a:extLst>
                    <a:ext uri="{FF2B5EF4-FFF2-40B4-BE49-F238E27FC236}">
                      <a16:creationId xmlns:a16="http://schemas.microsoft.com/office/drawing/2014/main" id="{69667A08-748B-D846-BF72-062D307D1266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126" name="TextBox 125">
                  <a:extLst>
                    <a:ext uri="{FF2B5EF4-FFF2-40B4-BE49-F238E27FC236}">
                      <a16:creationId xmlns:a16="http://schemas.microsoft.com/office/drawing/2014/main" id="{AF22BED9-0030-8546-AC2B-0DC1FA590F5F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300350"/>
                  <a:ext cx="2399065" cy="1037891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>
                    <a:spcBef>
                      <a:spcPts val="200"/>
                    </a:spcBef>
                    <a:defRPr sz="9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49225" lvl="1" indent="-149225">
                    <a:spcBef>
                      <a:spcPts val="200"/>
                    </a:spcBef>
                    <a:spcAft>
                      <a:spcPts val="0"/>
                    </a:spcAft>
                    <a:defRPr sz="9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</a:lstStyle>
                <a:p>
                  <a:r>
                    <a:rPr lang="en-US" sz="675"/>
                    <a:t>In case of error, return legend entries, data labels, and/or chart formatting by re-applying the current VEDP chart style template.</a:t>
                  </a:r>
                </a:p>
                <a:p>
                  <a:pPr lvl="1"/>
                  <a:r>
                    <a:rPr lang="en-US" sz="675"/>
                    <a:t>Right-click the chart and choose</a:t>
                  </a:r>
                  <a:br>
                    <a:rPr lang="en-US" sz="675"/>
                  </a:br>
                  <a:r>
                    <a:rPr lang="en-US" sz="675"/>
                    <a:t>“Change Chart Type”</a:t>
                  </a:r>
                </a:p>
                <a:p>
                  <a:pPr lvl="1"/>
                  <a:r>
                    <a:rPr lang="en-US" sz="675"/>
                    <a:t>Then choose the matching VEDP chart style from the ‘Templates’ category.</a:t>
                  </a:r>
                </a:p>
              </p:txBody>
            </p:sp>
          </p:grpSp>
        </p:grpSp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CD6F2F4C-A392-B448-B641-E1F03F45D8E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/>
            <a:srcRect r="41694"/>
            <a:stretch/>
          </p:blipFill>
          <p:spPr>
            <a:xfrm>
              <a:off x="9558506" y="2465572"/>
              <a:ext cx="2639328" cy="995540"/>
            </a:xfrm>
            <a:prstGeom prst="rect">
              <a:avLst/>
            </a:prstGeom>
          </p:spPr>
        </p:pic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D6C89488-0DED-C34F-BA63-BB2306F07887}"/>
                </a:ext>
              </a:extLst>
            </p:cNvPr>
            <p:cNvGrpSpPr/>
            <p:nvPr userDrawn="1"/>
          </p:nvGrpSpPr>
          <p:grpSpPr>
            <a:xfrm>
              <a:off x="9521833" y="1389696"/>
              <a:ext cx="2617883" cy="161669"/>
              <a:chOff x="12352022" y="513115"/>
              <a:chExt cx="2617883" cy="161669"/>
            </a:xfrm>
          </p:grpSpPr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E89C6915-94F6-4D4B-8975-ED14DBCA833F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12352022" y="538142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375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1</a:t>
                </a:r>
              </a:p>
            </p:txBody>
          </p:sp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FE244EEE-8393-A640-A30E-410E64B399C3}"/>
                  </a:ext>
                </a:extLst>
              </p:cNvPr>
              <p:cNvSpPr txBox="1"/>
              <p:nvPr userDrawn="1"/>
            </p:nvSpPr>
            <p:spPr>
              <a:xfrm>
                <a:off x="12516615" y="513115"/>
                <a:ext cx="2453290" cy="16166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0"/>
                <a:r>
                  <a:rPr lang="en-US" sz="788"/>
                  <a:t>Chart Title</a:t>
                </a:r>
              </a:p>
            </p:txBody>
          </p:sp>
        </p:grp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CD42217E-81A1-104F-955A-C09C77A38FBC}"/>
                </a:ext>
              </a:extLst>
            </p:cNvPr>
            <p:cNvGrpSpPr/>
            <p:nvPr userDrawn="1"/>
          </p:nvGrpSpPr>
          <p:grpSpPr>
            <a:xfrm>
              <a:off x="9521833" y="2233977"/>
              <a:ext cx="2617883" cy="161669"/>
              <a:chOff x="12352022" y="513115"/>
              <a:chExt cx="2617883" cy="161669"/>
            </a:xfrm>
          </p:grpSpPr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257BABD1-3C83-0B45-98DC-FCF22AD55A65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12352022" y="538142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375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2</a:t>
                </a:r>
              </a:p>
            </p:txBody>
          </p:sp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81EDE936-4FAD-0D4A-AC8B-538F26FFEA64}"/>
                  </a:ext>
                </a:extLst>
              </p:cNvPr>
              <p:cNvSpPr txBox="1"/>
              <p:nvPr userDrawn="1"/>
            </p:nvSpPr>
            <p:spPr>
              <a:xfrm>
                <a:off x="12516615" y="513115"/>
                <a:ext cx="2453290" cy="16166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0"/>
                <a:r>
                  <a:rPr lang="en-US" sz="788"/>
                  <a:t>Text</a:t>
                </a: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101CA2DD-38D7-7342-A3CE-110F68E2A092}"/>
                </a:ext>
              </a:extLst>
            </p:cNvPr>
            <p:cNvGrpSpPr/>
            <p:nvPr userDrawn="1"/>
          </p:nvGrpSpPr>
          <p:grpSpPr>
            <a:xfrm>
              <a:off x="9554253" y="3557439"/>
              <a:ext cx="2819399" cy="1181890"/>
              <a:chOff x="9541498" y="3352649"/>
              <a:chExt cx="2819399" cy="1181890"/>
            </a:xfrm>
          </p:grpSpPr>
          <p:grpSp>
            <p:nvGrpSpPr>
              <p:cNvPr id="55" name="Group 54">
                <a:extLst>
                  <a:ext uri="{FF2B5EF4-FFF2-40B4-BE49-F238E27FC236}">
                    <a16:creationId xmlns:a16="http://schemas.microsoft.com/office/drawing/2014/main" id="{90218002-4B02-564D-A2BF-0D09979B2947}"/>
                  </a:ext>
                </a:extLst>
              </p:cNvPr>
              <p:cNvGrpSpPr/>
              <p:nvPr userDrawn="1"/>
            </p:nvGrpSpPr>
            <p:grpSpPr>
              <a:xfrm>
                <a:off x="9541498" y="3352649"/>
                <a:ext cx="2735150" cy="1181890"/>
                <a:chOff x="9541498" y="3751132"/>
                <a:chExt cx="2735150" cy="1181890"/>
              </a:xfrm>
            </p:grpSpPr>
            <p:grpSp>
              <p:nvGrpSpPr>
                <p:cNvPr id="57" name="Group 56">
                  <a:extLst>
                    <a:ext uri="{FF2B5EF4-FFF2-40B4-BE49-F238E27FC236}">
                      <a16:creationId xmlns:a16="http://schemas.microsoft.com/office/drawing/2014/main" id="{CBF6E043-B29D-E249-8D60-765DDD87E278}"/>
                    </a:ext>
                  </a:extLst>
                </p:cNvPr>
                <p:cNvGrpSpPr/>
                <p:nvPr userDrawn="1"/>
              </p:nvGrpSpPr>
              <p:grpSpPr>
                <a:xfrm>
                  <a:off x="9541498" y="3751132"/>
                  <a:ext cx="2735150" cy="1181890"/>
                  <a:chOff x="9296568" y="4910411"/>
                  <a:chExt cx="2735150" cy="1181890"/>
                </a:xfrm>
              </p:grpSpPr>
              <p:sp>
                <p:nvSpPr>
                  <p:cNvPr id="59" name="Rectangle 58">
                    <a:extLst>
                      <a:ext uri="{FF2B5EF4-FFF2-40B4-BE49-F238E27FC236}">
                        <a16:creationId xmlns:a16="http://schemas.microsoft.com/office/drawing/2014/main" id="{8FADE130-D33A-2F46-9CD0-6AC4FFE5A97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9296568" y="4910411"/>
                    <a:ext cx="2735150" cy="1181890"/>
                  </a:xfrm>
                  <a:prstGeom prst="rect">
                    <a:avLst/>
                  </a:prstGeom>
                  <a:solidFill>
                    <a:srgbClr val="FFFADF"/>
                  </a:solidFill>
                  <a:ln w="25400">
                    <a:solidFill>
                      <a:schemeClr val="tx1">
                        <a:lumMod val="65000"/>
                        <a:lumOff val="3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50"/>
                  </a:p>
                </p:txBody>
              </p:sp>
              <p:sp>
                <p:nvSpPr>
                  <p:cNvPr id="60" name="TextBox 59">
                    <a:extLst>
                      <a:ext uri="{FF2B5EF4-FFF2-40B4-BE49-F238E27FC236}">
                        <a16:creationId xmlns:a16="http://schemas.microsoft.com/office/drawing/2014/main" id="{6EAF02B6-2D34-C642-BAC0-B2B8830ABC01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662758" y="5046087"/>
                    <a:ext cx="2211394" cy="16927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 algn="l"/>
                    <a:r>
                      <a:rPr lang="en-US" sz="825">
                        <a:solidFill>
                          <a:schemeClr val="accent2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Numbered lists</a:t>
                    </a:r>
                  </a:p>
                </p:txBody>
              </p:sp>
              <p:sp>
                <p:nvSpPr>
                  <p:cNvPr id="61" name="TextBox 60">
                    <a:extLst>
                      <a:ext uri="{FF2B5EF4-FFF2-40B4-BE49-F238E27FC236}">
                        <a16:creationId xmlns:a16="http://schemas.microsoft.com/office/drawing/2014/main" id="{C0F09278-9856-1E49-9DED-3BB87FE53943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471806" y="5300350"/>
                    <a:ext cx="964050" cy="553998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>
                      <a:spcBef>
                        <a:spcPts val="150"/>
                      </a:spcBef>
                    </a:pPr>
                    <a:r>
                      <a:rPr lang="en-US" sz="675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For instruction on formatting numbered lists, see the most up-to-date Asset File.</a:t>
                    </a:r>
                  </a:p>
                </p:txBody>
              </p:sp>
            </p:grpSp>
            <p:pic>
              <p:nvPicPr>
                <p:cNvPr id="58" name="Graphic 57">
                  <a:extLst>
                    <a:ext uri="{FF2B5EF4-FFF2-40B4-BE49-F238E27FC236}">
                      <a16:creationId xmlns:a16="http://schemas.microsoft.com/office/drawing/2014/main" id="{35768E32-3EEB-334C-B735-DDE79280446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686425" y="3891259"/>
                  <a:ext cx="170340" cy="170340"/>
                </a:xfrm>
                <a:prstGeom prst="rect">
                  <a:avLst/>
                </a:prstGeom>
              </p:spPr>
            </p:pic>
          </p:grpSp>
          <p:pic>
            <p:nvPicPr>
              <p:cNvPr id="56" name="Picture 55">
                <a:extLst>
                  <a:ext uri="{FF2B5EF4-FFF2-40B4-BE49-F238E27FC236}">
                    <a16:creationId xmlns:a16="http://schemas.microsoft.com/office/drawing/2014/main" id="{DA8E6F77-3696-DA42-BC1C-06A344FD999F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8"/>
              <a:srcRect r="30584"/>
              <a:stretch/>
            </p:blipFill>
            <p:spPr>
              <a:xfrm>
                <a:off x="10767220" y="3758285"/>
                <a:ext cx="1593677" cy="684608"/>
              </a:xfrm>
              <a:prstGeom prst="rect">
                <a:avLst/>
              </a:prstGeom>
              <a:solidFill>
                <a:srgbClr val="FFFADF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42036931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(Photo, Int.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>
            <a:extLst>
              <a:ext uri="{FF2B5EF4-FFF2-40B4-BE49-F238E27FC236}">
                <a16:creationId xmlns:a16="http://schemas.microsoft.com/office/drawing/2014/main" id="{602C580C-279C-C14B-A35B-19A3198CE523}"/>
              </a:ext>
            </a:extLst>
          </p:cNvPr>
          <p:cNvSpPr/>
          <p:nvPr userDrawn="1"/>
        </p:nvSpPr>
        <p:spPr>
          <a:xfrm flipH="1">
            <a:off x="0" y="4522171"/>
            <a:ext cx="6781322" cy="320579"/>
          </a:xfrm>
          <a:custGeom>
            <a:avLst/>
            <a:gdLst>
              <a:gd name="connsiteX0" fmla="*/ 6781322 w 6781322"/>
              <a:gd name="connsiteY0" fmla="*/ 0 h 427439"/>
              <a:gd name="connsiteX1" fmla="*/ 6376846 w 6781322"/>
              <a:gd name="connsiteY1" fmla="*/ 0 h 427439"/>
              <a:gd name="connsiteX2" fmla="*/ 607317 w 6781322"/>
              <a:gd name="connsiteY2" fmla="*/ 0 h 427439"/>
              <a:gd name="connsiteX3" fmla="*/ 202841 w 6781322"/>
              <a:gd name="connsiteY3" fmla="*/ 0 h 427439"/>
              <a:gd name="connsiteX4" fmla="*/ 0 w 6781322"/>
              <a:gd name="connsiteY4" fmla="*/ 427439 h 427439"/>
              <a:gd name="connsiteX5" fmla="*/ 404476 w 6781322"/>
              <a:gd name="connsiteY5" fmla="*/ 427439 h 427439"/>
              <a:gd name="connsiteX6" fmla="*/ 6376846 w 6781322"/>
              <a:gd name="connsiteY6" fmla="*/ 427439 h 427439"/>
              <a:gd name="connsiteX7" fmla="*/ 6781322 w 6781322"/>
              <a:gd name="connsiteY7" fmla="*/ 427439 h 427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81322" h="427439">
                <a:moveTo>
                  <a:pt x="6781322" y="0"/>
                </a:moveTo>
                <a:lnTo>
                  <a:pt x="6376846" y="0"/>
                </a:lnTo>
                <a:lnTo>
                  <a:pt x="607317" y="0"/>
                </a:lnTo>
                <a:lnTo>
                  <a:pt x="202841" y="0"/>
                </a:lnTo>
                <a:lnTo>
                  <a:pt x="0" y="427439"/>
                </a:lnTo>
                <a:lnTo>
                  <a:pt x="404476" y="427439"/>
                </a:lnTo>
                <a:lnTo>
                  <a:pt x="6376846" y="427439"/>
                </a:lnTo>
                <a:lnTo>
                  <a:pt x="6781322" y="42743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05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32EA00E4-A5CA-8A45-BBC6-14C9E32393F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" y="1"/>
            <a:ext cx="9144001" cy="4272680"/>
          </a:xfrm>
          <a:prstGeom prst="rect">
            <a:avLst/>
          </a:prstGeom>
          <a:solidFill>
            <a:schemeClr val="accent2"/>
          </a:solidFill>
        </p:spPr>
        <p:txBody>
          <a:bodyPr wrap="square" rIns="43200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1pPr>
          </a:lstStyle>
          <a:p>
            <a:r>
              <a:rPr lang="en-US"/>
              <a:t>Drag image onto slide to add photo</a:t>
            </a:r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56B2C3DE-0130-DA4D-94C6-482024DAA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6420387" cy="4272680"/>
          </a:xfrm>
          <a:custGeom>
            <a:avLst/>
            <a:gdLst>
              <a:gd name="connsiteX0" fmla="*/ 0 w 6420387"/>
              <a:gd name="connsiteY0" fmla="*/ 0 h 5696907"/>
              <a:gd name="connsiteX1" fmla="*/ 3716919 w 6420387"/>
              <a:gd name="connsiteY1" fmla="*/ 0 h 5696907"/>
              <a:gd name="connsiteX2" fmla="*/ 6420387 w 6420387"/>
              <a:gd name="connsiteY2" fmla="*/ 5696907 h 5696907"/>
              <a:gd name="connsiteX3" fmla="*/ 0 w 6420387"/>
              <a:gd name="connsiteY3" fmla="*/ 5696907 h 5696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20387" h="5696907">
                <a:moveTo>
                  <a:pt x="0" y="0"/>
                </a:moveTo>
                <a:lnTo>
                  <a:pt x="3716919" y="0"/>
                </a:lnTo>
                <a:lnTo>
                  <a:pt x="6420387" y="5696907"/>
                </a:lnTo>
                <a:lnTo>
                  <a:pt x="0" y="5696907"/>
                </a:lnTo>
                <a:close/>
              </a:path>
            </a:pathLst>
          </a:custGeom>
          <a:gradFill>
            <a:gsLst>
              <a:gs pos="0">
                <a:schemeClr val="accent1">
                  <a:alpha val="95000"/>
                </a:schemeClr>
              </a:gs>
              <a:gs pos="97000">
                <a:schemeClr val="accent1">
                  <a:alpha val="80000"/>
                </a:schemeClr>
              </a:gs>
            </a:gsLst>
            <a:lin ang="5400000" scaled="0"/>
          </a:gradFill>
        </p:spPr>
        <p:txBody>
          <a:bodyPr wrap="square" lIns="432000" rIns="1080000" bIns="360000" anchor="b">
            <a:noAutofit/>
          </a:bodyPr>
          <a:lstStyle>
            <a:lvl1pPr>
              <a:defRPr sz="2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presentation title. 3 lines max.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4D5E1C61-E66D-DA4C-9929-23CE218C847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6724098" y="4474686"/>
            <a:ext cx="2151409" cy="416402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F839A94D-69B9-9B42-ADB6-5E2783E59D60}"/>
              </a:ext>
            </a:extLst>
          </p:cNvPr>
          <p:cNvGrpSpPr/>
          <p:nvPr userDrawn="1"/>
        </p:nvGrpSpPr>
        <p:grpSpPr>
          <a:xfrm>
            <a:off x="-256964" y="2919138"/>
            <a:ext cx="251461" cy="1023800"/>
            <a:chOff x="-256404" y="360363"/>
            <a:chExt cx="251461" cy="692152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3CE4099C-9250-F14E-B63A-6B88F9C4617C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0DA35D6A-7BA6-2846-B075-E42DA9FDCD3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0F979BE9-5A4D-5249-ABC0-D34EA5C1694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84154E1B-83C9-CE44-B54D-7570877BC0F6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</p:grp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15F8F36D-FAB4-0F4E-A379-E3472DE06A65}"/>
                </a:ext>
              </a:extLst>
            </p:cNvPr>
            <p:cNvSpPr txBox="1"/>
            <p:nvPr userDrawn="1"/>
          </p:nvSpPr>
          <p:spPr>
            <a:xfrm rot="16200000">
              <a:off x="-192989" y="662666"/>
              <a:ext cx="124629" cy="80791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ITLE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6B5788D-9AC0-0F48-9140-94BCE0A5105D}"/>
              </a:ext>
            </a:extLst>
          </p:cNvPr>
          <p:cNvGrpSpPr/>
          <p:nvPr userDrawn="1"/>
        </p:nvGrpSpPr>
        <p:grpSpPr>
          <a:xfrm>
            <a:off x="-256964" y="4522171"/>
            <a:ext cx="251461" cy="311229"/>
            <a:chOff x="-256404" y="360363"/>
            <a:chExt cx="251461" cy="692152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56243773-C490-624F-9979-02BFC0955224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272DEF8A-FDF5-7F4A-BFE9-CF134E153B2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E2DAB7D-10AF-E247-BAB1-1578269F1A6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8C0C35A0-DD72-784F-A27B-735DC03D2758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</p:grp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C973177D-69AF-A441-B075-A398D0A8EA56}"/>
                </a:ext>
              </a:extLst>
            </p:cNvPr>
            <p:cNvSpPr txBox="1"/>
            <p:nvPr userDrawn="1"/>
          </p:nvSpPr>
          <p:spPr>
            <a:xfrm rot="16200000">
              <a:off x="-330312" y="662665"/>
              <a:ext cx="399276" cy="80791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DATE</a:t>
              </a:r>
            </a:p>
          </p:txBody>
        </p:sp>
      </p:grpSp>
      <p:sp>
        <p:nvSpPr>
          <p:cNvPr id="500" name="Caption">
            <a:extLst>
              <a:ext uri="{FF2B5EF4-FFF2-40B4-BE49-F238E27FC236}">
                <a16:creationId xmlns:a16="http://schemas.microsoft.com/office/drawing/2014/main" id="{4BCC0C5A-F55F-9C41-8911-BD533771A88A}"/>
              </a:ext>
            </a:extLst>
          </p:cNvPr>
          <p:cNvSpPr>
            <a:spLocks noGrp="1"/>
          </p:cNvSpPr>
          <p:nvPr>
            <p:ph type="body" sz="quarter" idx="500" hasCustomPrompt="1"/>
          </p:nvPr>
        </p:nvSpPr>
        <p:spPr>
          <a:xfrm>
            <a:off x="6673517" y="4017282"/>
            <a:ext cx="2254584" cy="114262"/>
          </a:xfrm>
          <a:effectLst/>
        </p:spPr>
        <p:txBody>
          <a:bodyPr wrap="square" anchor="b">
            <a:sp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 b="0">
                <a:solidFill>
                  <a:schemeClr val="bg1"/>
                </a:solidFill>
                <a:effectLst/>
              </a:defRPr>
            </a:lvl1pPr>
            <a:lvl2pPr marL="0" indent="0" algn="r"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2pPr>
            <a:lvl3pPr marL="0" indent="0" algn="r"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3pPr>
            <a:lvl4pPr marL="0" indent="0" algn="r"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4pPr>
            <a:lvl5pPr marL="0" indent="0" algn="r"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5pPr>
            <a:lvl6pPr marL="0" indent="0" algn="r"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6pPr>
            <a:lvl7pPr marL="0" indent="0" algn="r"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7pPr>
            <a:lvl8pPr marL="0" indent="0" algn="r"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8pPr>
            <a:lvl9pPr marL="0" indent="0" algn="r"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photo caption</a:t>
            </a: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B7451DFE-54EF-8D41-8C76-20EC09B2F41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0852" y="4545906"/>
            <a:ext cx="3313429" cy="273109"/>
          </a:xfrm>
        </p:spPr>
        <p:txBody>
          <a:bodyPr anchor="ctr"/>
          <a:lstStyle>
            <a:lvl1pPr marL="7144" indent="0">
              <a:buFontTx/>
              <a:buNone/>
              <a:tabLst/>
              <a:defRPr sz="1050" b="0">
                <a:solidFill>
                  <a:schemeClr val="bg1"/>
                </a:solidFill>
              </a:defRPr>
            </a:lvl1pPr>
            <a:lvl2pPr marL="7144" indent="0">
              <a:buFontTx/>
              <a:buNone/>
              <a:tabLst/>
              <a:defRPr sz="1050">
                <a:solidFill>
                  <a:schemeClr val="bg1"/>
                </a:solidFill>
              </a:defRPr>
            </a:lvl2pPr>
            <a:lvl3pPr marL="7144" indent="0">
              <a:buFontTx/>
              <a:buNone/>
              <a:tabLst/>
              <a:defRPr sz="1050">
                <a:solidFill>
                  <a:schemeClr val="bg1"/>
                </a:solidFill>
              </a:defRPr>
            </a:lvl3pPr>
            <a:lvl4pPr marL="7144" indent="0">
              <a:buFontTx/>
              <a:buNone/>
              <a:tabLst/>
              <a:defRPr sz="1050">
                <a:solidFill>
                  <a:schemeClr val="bg1"/>
                </a:solidFill>
              </a:defRPr>
            </a:lvl4pPr>
            <a:lvl5pPr marL="7144" indent="0">
              <a:buFontTx/>
              <a:buNone/>
              <a:tabLst/>
              <a:defRPr sz="1050">
                <a:solidFill>
                  <a:schemeClr val="bg1"/>
                </a:solidFill>
              </a:defRPr>
            </a:lvl5pPr>
            <a:lvl6pPr marL="7144" indent="0">
              <a:buFontTx/>
              <a:buNone/>
              <a:tabLst/>
              <a:defRPr sz="1050">
                <a:solidFill>
                  <a:schemeClr val="bg1"/>
                </a:solidFill>
              </a:defRPr>
            </a:lvl6pPr>
            <a:lvl7pPr marL="7144" indent="0">
              <a:buFontTx/>
              <a:buNone/>
              <a:tabLst/>
              <a:defRPr sz="1050">
                <a:solidFill>
                  <a:schemeClr val="bg1"/>
                </a:solidFill>
              </a:defRPr>
            </a:lvl7pPr>
            <a:lvl8pPr marL="7144" indent="0">
              <a:buFontTx/>
              <a:buNone/>
              <a:tabLst/>
              <a:defRPr sz="1050">
                <a:solidFill>
                  <a:schemeClr val="bg1"/>
                </a:solidFill>
              </a:defRPr>
            </a:lvl8pPr>
            <a:lvl9pPr marL="7144" indent="0">
              <a:buFontTx/>
              <a:buNone/>
              <a:tabLst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date (Month DD, YYYY)</a:t>
            </a: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11DB998A-76FC-C441-98D8-55E9046DCE7C}"/>
              </a:ext>
            </a:extLst>
          </p:cNvPr>
          <p:cNvGrpSpPr/>
          <p:nvPr userDrawn="1"/>
        </p:nvGrpSpPr>
        <p:grpSpPr>
          <a:xfrm>
            <a:off x="431241" y="-185200"/>
            <a:ext cx="8280400" cy="5510478"/>
            <a:chOff x="431240" y="-246933"/>
            <a:chExt cx="8280400" cy="7347304"/>
          </a:xfrm>
        </p:grpSpPr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F08EEF1B-2AF8-C344-86EB-7F981E8985F6}"/>
                </a:ext>
              </a:extLst>
            </p:cNvPr>
            <p:cNvGrpSpPr/>
            <p:nvPr userDrawn="1"/>
          </p:nvGrpSpPr>
          <p:grpSpPr>
            <a:xfrm>
              <a:off x="431242" y="6864579"/>
              <a:ext cx="8280398" cy="235792"/>
              <a:chOff x="431801" y="-235792"/>
              <a:chExt cx="4400550" cy="235792"/>
            </a:xfrm>
          </p:grpSpPr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3A9E4733-C506-0844-9E44-CB8C78A3661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232E21B7-E879-204B-ADE1-A42C6955B28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D8D4562F-D995-F046-801C-A122DFD6CADE}"/>
                </a:ext>
              </a:extLst>
            </p:cNvPr>
            <p:cNvGrpSpPr/>
            <p:nvPr userDrawn="1"/>
          </p:nvGrpSpPr>
          <p:grpSpPr>
            <a:xfrm>
              <a:off x="431240" y="-246933"/>
              <a:ext cx="8280400" cy="235792"/>
              <a:chOff x="431800" y="-240735"/>
              <a:chExt cx="8280400" cy="235792"/>
            </a:xfrm>
          </p:grpSpPr>
          <p:grpSp>
            <p:nvGrpSpPr>
              <p:cNvPr id="61" name="Group 60">
                <a:extLst>
                  <a:ext uri="{FF2B5EF4-FFF2-40B4-BE49-F238E27FC236}">
                    <a16:creationId xmlns:a16="http://schemas.microsoft.com/office/drawing/2014/main" id="{1AA1BCF7-D342-9249-A4E1-887BE4C32CF7}"/>
                  </a:ext>
                </a:extLst>
              </p:cNvPr>
              <p:cNvGrpSpPr/>
              <p:nvPr userDrawn="1"/>
            </p:nvGrpSpPr>
            <p:grpSpPr>
              <a:xfrm>
                <a:off x="431800" y="-240735"/>
                <a:ext cx="8280400" cy="235792"/>
                <a:chOff x="431800" y="-235792"/>
                <a:chExt cx="4400551" cy="235792"/>
              </a:xfrm>
            </p:grpSpPr>
            <p:cxnSp>
              <p:nvCxnSpPr>
                <p:cNvPr id="65" name="Straight Connector 64">
                  <a:extLst>
                    <a:ext uri="{FF2B5EF4-FFF2-40B4-BE49-F238E27FC236}">
                      <a16:creationId xmlns:a16="http://schemas.microsoft.com/office/drawing/2014/main" id="{B4CBA404-5630-844A-9D04-62E185C0FB7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6" name="Straight Connector 65">
                  <a:extLst>
                    <a:ext uri="{FF2B5EF4-FFF2-40B4-BE49-F238E27FC236}">
                      <a16:creationId xmlns:a16="http://schemas.microsoft.com/office/drawing/2014/main" id="{4C639544-67F3-0C4C-9027-79C351020D1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7" name="Rectangle 66">
                  <a:extLst>
                    <a:ext uri="{FF2B5EF4-FFF2-40B4-BE49-F238E27FC236}">
                      <a16:creationId xmlns:a16="http://schemas.microsoft.com/office/drawing/2014/main" id="{8DD139D8-8410-A24E-A96F-E2E4B698E49E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</p:grpSp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7EB12B99-0912-9646-A844-B66DA910262F}"/>
                  </a:ext>
                </a:extLst>
              </p:cNvPr>
              <p:cNvSpPr txBox="1"/>
              <p:nvPr userDrawn="1"/>
            </p:nvSpPr>
            <p:spPr>
              <a:xfrm>
                <a:off x="3883466" y="-176700"/>
                <a:ext cx="1377081" cy="107721"/>
              </a:xfrm>
              <a:prstGeom prst="rect">
                <a:avLst/>
              </a:prstGeom>
            </p:spPr>
            <p:txBody>
              <a:bodyPr vert="horz" wrap="none" lIns="108000" tIns="0" rIns="108000" bIns="0" rtlCol="0" anchor="ctr">
                <a:spAutoFit/>
              </a:bodyPr>
              <a:lstStyle/>
              <a:p>
                <a:pPr algn="ctr"/>
                <a:r>
                  <a:rPr lang="en-US" sz="5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KEEP CONTENT WITHIN THIS AREA</a:t>
                </a:r>
              </a:p>
            </p:txBody>
          </p:sp>
          <p:cxnSp>
            <p:nvCxnSpPr>
              <p:cNvPr id="63" name="Straight Arrow Connector 62">
                <a:extLst>
                  <a:ext uri="{FF2B5EF4-FFF2-40B4-BE49-F238E27FC236}">
                    <a16:creationId xmlns:a16="http://schemas.microsoft.com/office/drawing/2014/main" id="{AE13A984-EAC2-3945-ABC6-FF4BA774F757}"/>
                  </a:ext>
                </a:extLst>
              </p:cNvPr>
              <p:cNvCxnSpPr>
                <a:cxnSpLocks/>
                <a:stCxn id="62" idx="1"/>
                <a:endCxn id="67" idx="2"/>
              </p:cNvCxnSpPr>
              <p:nvPr userDrawn="1"/>
            </p:nvCxnSpPr>
            <p:spPr>
              <a:xfrm flipH="1">
                <a:off x="431800" y="-122839"/>
                <a:ext cx="3451666" cy="1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Arrow Connector 63">
                <a:extLst>
                  <a:ext uri="{FF2B5EF4-FFF2-40B4-BE49-F238E27FC236}">
                    <a16:creationId xmlns:a16="http://schemas.microsoft.com/office/drawing/2014/main" id="{8E79DC42-2367-1647-A387-D6C6AD1706D4}"/>
                  </a:ext>
                </a:extLst>
              </p:cNvPr>
              <p:cNvCxnSpPr>
                <a:cxnSpLocks/>
                <a:stCxn id="62" idx="3"/>
                <a:endCxn id="67" idx="0"/>
              </p:cNvCxnSpPr>
              <p:nvPr userDrawn="1"/>
            </p:nvCxnSpPr>
            <p:spPr>
              <a:xfrm>
                <a:off x="5260547" y="-122839"/>
                <a:ext cx="3451653" cy="0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CBEC4062-2C71-5641-9D80-32E997FB6AB1}"/>
              </a:ext>
            </a:extLst>
          </p:cNvPr>
          <p:cNvGrpSpPr/>
          <p:nvPr userDrawn="1"/>
        </p:nvGrpSpPr>
        <p:grpSpPr>
          <a:xfrm>
            <a:off x="9399182" y="-1"/>
            <a:ext cx="2874210" cy="5143501"/>
            <a:chOff x="9144000" y="-1"/>
            <a:chExt cx="2874210" cy="6858001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7815BFFE-BA37-C544-B34D-80E091B4D5A9}"/>
                </a:ext>
              </a:extLst>
            </p:cNvPr>
            <p:cNvSpPr/>
            <p:nvPr userDrawn="1"/>
          </p:nvSpPr>
          <p:spPr>
            <a:xfrm>
              <a:off x="9144000" y="-1"/>
              <a:ext cx="2798651" cy="6858001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050"/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AB7E2598-A4C5-8049-B9C1-EB8A8D058E5E}"/>
                </a:ext>
              </a:extLst>
            </p:cNvPr>
            <p:cNvGrpSpPr/>
            <p:nvPr userDrawn="1"/>
          </p:nvGrpSpPr>
          <p:grpSpPr>
            <a:xfrm>
              <a:off x="9263395" y="150289"/>
              <a:ext cx="2754815" cy="6013825"/>
              <a:chOff x="9266651" y="185338"/>
              <a:chExt cx="2754815" cy="6013825"/>
            </a:xfrm>
          </p:grpSpPr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DCB93854-4E5E-4A48-A4A0-BCD0CF8AC499}"/>
                  </a:ext>
                </a:extLst>
              </p:cNvPr>
              <p:cNvSpPr txBox="1"/>
              <p:nvPr userDrawn="1"/>
            </p:nvSpPr>
            <p:spPr>
              <a:xfrm>
                <a:off x="9303325" y="185338"/>
                <a:ext cx="1231106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sz="825">
                    <a:solidFill>
                      <a:schemeClr val="bg1"/>
                    </a:solidFill>
                  </a:rPr>
                  <a:t>HOW TO ADD AN IMAGE</a:t>
                </a:r>
              </a:p>
            </p:txBody>
          </p: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805E6D04-68CA-E647-BBD9-564877AF14F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303325" y="38795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5" name="TextBox 74">
                <a:extLst>
                  <a:ext uri="{FF2B5EF4-FFF2-40B4-BE49-F238E27FC236}">
                    <a16:creationId xmlns:a16="http://schemas.microsoft.com/office/drawing/2014/main" id="{D08E6B56-1E9B-7E4E-85B2-A9B3824FD8CD}"/>
                  </a:ext>
                </a:extLst>
              </p:cNvPr>
              <p:cNvSpPr txBox="1"/>
              <p:nvPr userDrawn="1"/>
            </p:nvSpPr>
            <p:spPr>
              <a:xfrm>
                <a:off x="9431244" y="1246265"/>
                <a:ext cx="2297338" cy="28913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 b="1"/>
                  <a:t>Method 1: </a:t>
                </a:r>
                <a:r>
                  <a:rPr lang="en-US" sz="450" b="0"/>
                  <a:t>from file browser</a:t>
                </a:r>
              </a:p>
              <a:p>
                <a:pPr lvl="1">
                  <a:buNone/>
                </a:pPr>
                <a:r>
                  <a:rPr lang="en-US" sz="788"/>
                  <a:t>Drag the image onto the slide.</a:t>
                </a:r>
              </a:p>
            </p:txBody>
          </p:sp>
          <p:grpSp>
            <p:nvGrpSpPr>
              <p:cNvPr id="76" name="Group 75">
                <a:extLst>
                  <a:ext uri="{FF2B5EF4-FFF2-40B4-BE49-F238E27FC236}">
                    <a16:creationId xmlns:a16="http://schemas.microsoft.com/office/drawing/2014/main" id="{3F62C2E3-27EB-DA4C-812B-AEDC8DC821E8}"/>
                  </a:ext>
                </a:extLst>
              </p:cNvPr>
              <p:cNvGrpSpPr/>
              <p:nvPr userDrawn="1"/>
            </p:nvGrpSpPr>
            <p:grpSpPr>
              <a:xfrm>
                <a:off x="9286315" y="4787848"/>
                <a:ext cx="2735151" cy="1411315"/>
                <a:chOff x="9296567" y="4910411"/>
                <a:chExt cx="2735151" cy="1411315"/>
              </a:xfrm>
            </p:grpSpPr>
            <p:sp>
              <p:nvSpPr>
                <p:cNvPr id="91" name="Rectangle 90">
                  <a:extLst>
                    <a:ext uri="{FF2B5EF4-FFF2-40B4-BE49-F238E27FC236}">
                      <a16:creationId xmlns:a16="http://schemas.microsoft.com/office/drawing/2014/main" id="{067A57F8-10BF-114D-ADE4-BB36D945601B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141131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  <p:sp>
              <p:nvSpPr>
                <p:cNvPr id="92" name="TextBox 91">
                  <a:extLst>
                    <a:ext uri="{FF2B5EF4-FFF2-40B4-BE49-F238E27FC236}">
                      <a16:creationId xmlns:a16="http://schemas.microsoft.com/office/drawing/2014/main" id="{53481F22-033F-494F-91EE-A414E6329D04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8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hange Image</a:t>
                  </a:r>
                </a:p>
              </p:txBody>
            </p:sp>
            <p:pic>
              <p:nvPicPr>
                <p:cNvPr id="93" name="Graphic 92">
                  <a:extLst>
                    <a:ext uri="{FF2B5EF4-FFF2-40B4-BE49-F238E27FC236}">
                      <a16:creationId xmlns:a16="http://schemas.microsoft.com/office/drawing/2014/main" id="{CEA436C0-8AD2-5944-82B9-DED08C002A4D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94" name="TextBox 93">
                  <a:extLst>
                    <a:ext uri="{FF2B5EF4-FFF2-40B4-BE49-F238E27FC236}">
                      <a16:creationId xmlns:a16="http://schemas.microsoft.com/office/drawing/2014/main" id="{04F4131D-84F3-654C-9A0B-CDB482EC2300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619194"/>
                  <a:ext cx="2422981" cy="37394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01204" lvl="1" indent="-98822" algn="l" defTabSz="6858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225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Deleting the image may bring the image placeholder to the top layer. Right-click on the placeholder and choose “Send to Back”.</a:t>
                  </a:r>
                </a:p>
              </p:txBody>
            </p:sp>
            <p:sp>
              <p:nvSpPr>
                <p:cNvPr id="95" name="TextBox 94">
                  <a:extLst>
                    <a:ext uri="{FF2B5EF4-FFF2-40B4-BE49-F238E27FC236}">
                      <a16:creationId xmlns:a16="http://schemas.microsoft.com/office/drawing/2014/main" id="{F9DE4246-BEF9-C74D-A684-B5C12EAECFD5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300350"/>
                  <a:ext cx="2422981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685800" rtl="0" eaLnBrk="1" latinLnBrk="0" hangingPunct="1">
                    <a:spcBef>
                      <a:spcPts val="150"/>
                    </a:spcBef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First, delete the existing image to reset the photo placeholder functionality.</a:t>
                  </a:r>
                </a:p>
              </p:txBody>
            </p:sp>
            <p:sp>
              <p:nvSpPr>
                <p:cNvPr id="96" name="TextBox 95">
                  <a:extLst>
                    <a:ext uri="{FF2B5EF4-FFF2-40B4-BE49-F238E27FC236}">
                      <a16:creationId xmlns:a16="http://schemas.microsoft.com/office/drawing/2014/main" id="{8641C5C1-E38B-A34E-92F7-ECE0D70A163F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068871"/>
                  <a:ext cx="2422981" cy="138500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685800" rtl="0" eaLnBrk="1" latinLnBrk="0" hangingPunct="1">
                    <a:spcBef>
                      <a:spcPts val="150"/>
                    </a:spcBef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You can now add a new image as normal.</a:t>
                  </a:r>
                </a:p>
              </p:txBody>
            </p:sp>
          </p:grpSp>
          <p:grpSp>
            <p:nvGrpSpPr>
              <p:cNvPr id="77" name="Group 76">
                <a:extLst>
                  <a:ext uri="{FF2B5EF4-FFF2-40B4-BE49-F238E27FC236}">
                    <a16:creationId xmlns:a16="http://schemas.microsoft.com/office/drawing/2014/main" id="{6B669619-1D27-2B4F-9149-52D259C4C056}"/>
                  </a:ext>
                </a:extLst>
              </p:cNvPr>
              <p:cNvGrpSpPr/>
              <p:nvPr userDrawn="1"/>
            </p:nvGrpSpPr>
            <p:grpSpPr>
              <a:xfrm>
                <a:off x="9286315" y="3431192"/>
                <a:ext cx="2735151" cy="1280928"/>
                <a:chOff x="9286315" y="6976989"/>
                <a:chExt cx="2735151" cy="1280928"/>
              </a:xfrm>
            </p:grpSpPr>
            <p:sp>
              <p:nvSpPr>
                <p:cNvPr id="86" name="Rectangle 85">
                  <a:extLst>
                    <a:ext uri="{FF2B5EF4-FFF2-40B4-BE49-F238E27FC236}">
                      <a16:creationId xmlns:a16="http://schemas.microsoft.com/office/drawing/2014/main" id="{40475A09-AB7A-4148-BF87-AC5BD5D28E95}"/>
                    </a:ext>
                  </a:extLst>
                </p:cNvPr>
                <p:cNvSpPr/>
                <p:nvPr userDrawn="1"/>
              </p:nvSpPr>
              <p:spPr>
                <a:xfrm>
                  <a:off x="9286315" y="6976989"/>
                  <a:ext cx="2735151" cy="1280928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  <p:sp>
              <p:nvSpPr>
                <p:cNvPr id="87" name="TextBox 86">
                  <a:extLst>
                    <a:ext uri="{FF2B5EF4-FFF2-40B4-BE49-F238E27FC236}">
                      <a16:creationId xmlns:a16="http://schemas.microsoft.com/office/drawing/2014/main" id="{0A537143-8F17-5A4F-B4E7-72C5BA8E2B2D}"/>
                    </a:ext>
                  </a:extLst>
                </p:cNvPr>
                <p:cNvSpPr txBox="1"/>
                <p:nvPr userDrawn="1"/>
              </p:nvSpPr>
              <p:spPr>
                <a:xfrm>
                  <a:off x="9652506" y="7105788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8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rop Image</a:t>
                  </a:r>
                </a:p>
              </p:txBody>
            </p:sp>
            <p:pic>
              <p:nvPicPr>
                <p:cNvPr id="88" name="Graphic 87">
                  <a:extLst>
                    <a:ext uri="{FF2B5EF4-FFF2-40B4-BE49-F238E27FC236}">
                      <a16:creationId xmlns:a16="http://schemas.microsoft.com/office/drawing/2014/main" id="{CD9BD6BD-CC07-DF45-8B87-EF59F2A13718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46538" y="7116071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89" name="TextBox 88">
                  <a:extLst>
                    <a:ext uri="{FF2B5EF4-FFF2-40B4-BE49-F238E27FC236}">
                      <a16:creationId xmlns:a16="http://schemas.microsoft.com/office/drawing/2014/main" id="{766FD5EC-ADD9-6F4A-AB3B-9720EE7B215D}"/>
                    </a:ext>
                  </a:extLst>
                </p:cNvPr>
                <p:cNvSpPr txBox="1"/>
                <p:nvPr userDrawn="1"/>
              </p:nvSpPr>
              <p:spPr>
                <a:xfrm>
                  <a:off x="9446538" y="7369972"/>
                  <a:ext cx="2384904" cy="777136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Right-click on the image.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Choose “Crop” from the menu. (       )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Adjust the size and position of the image.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Press Esc or click outside the image area to exit the cropping mode.</a:t>
                  </a:r>
                </a:p>
              </p:txBody>
            </p:sp>
            <p:pic>
              <p:nvPicPr>
                <p:cNvPr id="90" name="Picture 89">
                  <a:extLst>
                    <a:ext uri="{FF2B5EF4-FFF2-40B4-BE49-F238E27FC236}">
                      <a16:creationId xmlns:a16="http://schemas.microsoft.com/office/drawing/2014/main" id="{76996C94-F976-1D4B-853D-E1E5761022F8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 rotWithShape="1">
                <a:blip r:embed="rId4"/>
                <a:srcRect l="33684" t="12097" r="43371" b="20368"/>
                <a:stretch/>
              </p:blipFill>
              <p:spPr>
                <a:xfrm>
                  <a:off x="11243541" y="7454405"/>
                  <a:ext cx="136897" cy="213643"/>
                </a:xfrm>
                <a:prstGeom prst="rect">
                  <a:avLst/>
                </a:prstGeom>
                <a:ln w="19050">
                  <a:solidFill>
                    <a:schemeClr val="accent3">
                      <a:lumMod val="60000"/>
                      <a:lumOff val="40000"/>
                    </a:schemeClr>
                  </a:solidFill>
                </a:ln>
              </p:spPr>
            </p:pic>
          </p:grpSp>
          <p:grpSp>
            <p:nvGrpSpPr>
              <p:cNvPr id="78" name="Group 77">
                <a:extLst>
                  <a:ext uri="{FF2B5EF4-FFF2-40B4-BE49-F238E27FC236}">
                    <a16:creationId xmlns:a16="http://schemas.microsoft.com/office/drawing/2014/main" id="{89B94558-65CA-5040-908F-D0F1D81AB8F0}"/>
                  </a:ext>
                </a:extLst>
              </p:cNvPr>
              <p:cNvGrpSpPr/>
              <p:nvPr userDrawn="1"/>
            </p:nvGrpSpPr>
            <p:grpSpPr>
              <a:xfrm>
                <a:off x="9266651" y="510458"/>
                <a:ext cx="2617883" cy="707288"/>
                <a:chOff x="12352022" y="513115"/>
                <a:chExt cx="2617883" cy="707288"/>
              </a:xfrm>
            </p:grpSpPr>
            <p:sp>
              <p:nvSpPr>
                <p:cNvPr id="83" name="TextBox 82">
                  <a:extLst>
                    <a:ext uri="{FF2B5EF4-FFF2-40B4-BE49-F238E27FC236}">
                      <a16:creationId xmlns:a16="http://schemas.microsoft.com/office/drawing/2014/main" id="{28608AAC-2150-B84C-B946-1A7A733EF597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375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84" name="TextBox 83">
                  <a:extLst>
                    <a:ext uri="{FF2B5EF4-FFF2-40B4-BE49-F238E27FC236}">
                      <a16:creationId xmlns:a16="http://schemas.microsoft.com/office/drawing/2014/main" id="{CBC956E1-67FD-BD42-B3A0-FE885FBCEBC8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1033696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375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2</a:t>
                  </a:r>
                </a:p>
              </p:txBody>
            </p:sp>
            <p:sp>
              <p:nvSpPr>
                <p:cNvPr id="85" name="TextBox 84">
                  <a:extLst>
                    <a:ext uri="{FF2B5EF4-FFF2-40B4-BE49-F238E27FC236}">
                      <a16:creationId xmlns:a16="http://schemas.microsoft.com/office/drawing/2014/main" id="{574E3DAA-8855-3543-8F87-92008D643488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453290" cy="70728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sz="788"/>
                    <a:t>Select and download images from the Marketing Resource Database.</a:t>
                  </a:r>
                </a:p>
                <a:p>
                  <a:pPr lvl="0"/>
                  <a:r>
                    <a:rPr lang="en-US" sz="788"/>
                    <a:t>Add the image to the placeholder.</a:t>
                  </a:r>
                </a:p>
              </p:txBody>
            </p:sp>
          </p:grpSp>
          <p:sp>
            <p:nvSpPr>
              <p:cNvPr id="79" name="TextBox 78">
                <a:extLst>
                  <a:ext uri="{FF2B5EF4-FFF2-40B4-BE49-F238E27FC236}">
                    <a16:creationId xmlns:a16="http://schemas.microsoft.com/office/drawing/2014/main" id="{F1778C94-9A0A-CA43-BC18-9113BB5FB8E3}"/>
                  </a:ext>
                </a:extLst>
              </p:cNvPr>
              <p:cNvSpPr txBox="1"/>
              <p:nvPr userDrawn="1"/>
            </p:nvSpPr>
            <p:spPr>
              <a:xfrm>
                <a:off x="9419085" y="1529570"/>
                <a:ext cx="2374733" cy="32316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/>
                  <a:t>Note: If there are multiple image placeholders on the slide, select the intended placeholder before dragging in the image to let PowerPoint know where you want it.</a:t>
                </a:r>
              </a:p>
            </p:txBody>
          </p:sp>
          <p:sp>
            <p:nvSpPr>
              <p:cNvPr id="80" name="TextBox 79">
                <a:extLst>
                  <a:ext uri="{FF2B5EF4-FFF2-40B4-BE49-F238E27FC236}">
                    <a16:creationId xmlns:a16="http://schemas.microsoft.com/office/drawing/2014/main" id="{24115E3E-DF36-734C-AA36-386ACD9CFD09}"/>
                  </a:ext>
                </a:extLst>
              </p:cNvPr>
              <p:cNvSpPr txBox="1"/>
              <p:nvPr userDrawn="1"/>
            </p:nvSpPr>
            <p:spPr>
              <a:xfrm>
                <a:off x="9431244" y="1944827"/>
                <a:ext cx="2297338" cy="63145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/>
                  <a:t>Method 2: </a:t>
                </a:r>
                <a:r>
                  <a:rPr lang="en-US" sz="450" b="0"/>
                  <a:t>Paste from clipboard</a:t>
                </a:r>
              </a:p>
              <a:p>
                <a:pPr lvl="1">
                  <a:buNone/>
                </a:pPr>
                <a:r>
                  <a:rPr lang="en-US" sz="788"/>
                  <a:t>Select the image placeholder.</a:t>
                </a:r>
              </a:p>
              <a:p>
                <a:pPr lvl="1">
                  <a:buNone/>
                </a:pPr>
                <a:r>
                  <a:rPr lang="en-US" sz="788"/>
                  <a:t>Right-click or use keyboard shortcuts to paste the image.</a:t>
                </a:r>
              </a:p>
            </p:txBody>
          </p:sp>
          <p:sp>
            <p:nvSpPr>
              <p:cNvPr id="81" name="TextBox 80">
                <a:extLst>
                  <a:ext uri="{FF2B5EF4-FFF2-40B4-BE49-F238E27FC236}">
                    <a16:creationId xmlns:a16="http://schemas.microsoft.com/office/drawing/2014/main" id="{3A0040AC-7F08-DA46-A0A6-06E63C383881}"/>
                  </a:ext>
                </a:extLst>
              </p:cNvPr>
              <p:cNvSpPr txBox="1"/>
              <p:nvPr userDrawn="1"/>
            </p:nvSpPr>
            <p:spPr>
              <a:xfrm>
                <a:off x="9431244" y="2664917"/>
                <a:ext cx="2297338" cy="4346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/>
                  <a:t>Method 3: </a:t>
                </a:r>
                <a:r>
                  <a:rPr lang="en-US" sz="450" b="0"/>
                  <a:t>Placeholder icon</a:t>
                </a:r>
              </a:p>
              <a:p>
                <a:pPr lvl="1">
                  <a:buNone/>
                </a:pPr>
                <a:r>
                  <a:rPr lang="en-US" sz="788"/>
                  <a:t>Click the image icon inside the placeholder to browse for an image.</a:t>
                </a:r>
              </a:p>
            </p:txBody>
          </p:sp>
          <p:sp>
            <p:nvSpPr>
              <p:cNvPr id="82" name="TextBox 81">
                <a:extLst>
                  <a:ext uri="{FF2B5EF4-FFF2-40B4-BE49-F238E27FC236}">
                    <a16:creationId xmlns:a16="http://schemas.microsoft.com/office/drawing/2014/main" id="{2756E75C-BA8F-DB49-A5F6-4A6E761A0CFD}"/>
                  </a:ext>
                </a:extLst>
              </p:cNvPr>
              <p:cNvSpPr txBox="1"/>
              <p:nvPr userDrawn="1"/>
            </p:nvSpPr>
            <p:spPr>
              <a:xfrm>
                <a:off x="9419085" y="3095481"/>
                <a:ext cx="2374733" cy="21544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/>
                  <a:t>Note: This icon may be covered by another element.</a:t>
                </a:r>
                <a:br>
                  <a:rPr lang="en-US" sz="525"/>
                </a:br>
                <a:r>
                  <a:rPr lang="en-US" sz="525"/>
                  <a:t>In this case use one of the other methods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36637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and Data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A3E7C59C-7AB2-FD4B-9D3E-CA7E0D8CB2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Slide TITLE. ALL CAPS. TWO LINES max.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FD4B8862-A567-3B46-B0C3-394F4DE43C21}"/>
              </a:ext>
            </a:extLst>
          </p:cNvPr>
          <p:cNvSpPr>
            <a:spLocks noGrp="1"/>
          </p:cNvSpPr>
          <p:nvPr>
            <p:ph type="chart" sz="quarter" idx="113"/>
          </p:nvPr>
        </p:nvSpPr>
        <p:spPr>
          <a:xfrm>
            <a:off x="431800" y="1301353"/>
            <a:ext cx="6533777" cy="3323034"/>
          </a:xfrm>
        </p:spPr>
        <p:txBody>
          <a:bodyPr/>
          <a:lstStyle>
            <a:lvl1pPr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DF938284-2F1E-584D-9337-D7B87CBC5AA9}"/>
              </a:ext>
            </a:extLst>
          </p:cNvPr>
          <p:cNvSpPr>
            <a:spLocks noGrp="1"/>
          </p:cNvSpPr>
          <p:nvPr>
            <p:ph type="tbl" sz="quarter" idx="114"/>
          </p:nvPr>
        </p:nvSpPr>
        <p:spPr>
          <a:xfrm>
            <a:off x="7301754" y="1407844"/>
            <a:ext cx="1410447" cy="3107006"/>
          </a:xfrm>
        </p:spPr>
        <p:txBody>
          <a:bodyPr/>
          <a:lstStyle>
            <a:lvl1pPr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36A53150-D08D-9841-95BF-646666A13560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800" y="4650581"/>
            <a:ext cx="7440613" cy="379131"/>
          </a:xfrm>
        </p:spPr>
        <p:txBody>
          <a:bodyPr bIns="0" anchor="b"/>
          <a:lstStyle>
            <a:lvl1pPr marL="4763" indent="-1191">
              <a:spcBef>
                <a:spcPts val="56"/>
              </a:spcBef>
              <a:spcAft>
                <a:spcPts val="56"/>
              </a:spcAft>
              <a:buSzPct val="100000"/>
              <a:buFontTx/>
              <a:buNone/>
              <a:tabLst/>
              <a:defRPr sz="825" b="0">
                <a:solidFill>
                  <a:schemeClr val="tx1"/>
                </a:solidFill>
              </a:defRPr>
            </a:lvl1pPr>
            <a:lvl2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¹"/>
              <a:tabLst/>
              <a:defRPr sz="825" b="0" i="0">
                <a:solidFill>
                  <a:schemeClr val="tx1"/>
                </a:solidFill>
              </a:defRPr>
            </a:lvl2pPr>
            <a:lvl3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²"/>
              <a:tabLst/>
              <a:defRPr sz="825">
                <a:solidFill>
                  <a:schemeClr val="tx1"/>
                </a:solidFill>
              </a:defRPr>
            </a:lvl3pPr>
            <a:lvl4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³"/>
              <a:tabLst/>
              <a:defRPr sz="825">
                <a:solidFill>
                  <a:schemeClr val="tx1"/>
                </a:solidFill>
              </a:defRPr>
            </a:lvl4pPr>
            <a:lvl5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⁴"/>
              <a:tabLst/>
              <a:defRPr sz="825">
                <a:solidFill>
                  <a:schemeClr val="tx1"/>
                </a:solidFill>
              </a:defRPr>
            </a:lvl5pPr>
            <a:lvl6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⁵"/>
              <a:tabLst/>
              <a:defRPr sz="825">
                <a:solidFill>
                  <a:schemeClr val="tx1"/>
                </a:solidFill>
              </a:defRPr>
            </a:lvl6pPr>
            <a:lvl7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⁶"/>
              <a:tabLst/>
              <a:defRPr sz="825">
                <a:solidFill>
                  <a:schemeClr val="tx1"/>
                </a:solidFill>
              </a:defRPr>
            </a:lvl7pPr>
            <a:lvl8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⁷"/>
              <a:tabLst/>
              <a:defRPr sz="825">
                <a:solidFill>
                  <a:schemeClr val="tx1"/>
                </a:solidFill>
              </a:defRPr>
            </a:lvl8pPr>
            <a:lvl9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⁸"/>
              <a:tabLst/>
              <a:defRPr sz="825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/>
              <a:t>Footnotes – Levels 2-9</a:t>
            </a:r>
          </a:p>
        </p:txBody>
      </p:sp>
      <p:sp>
        <p:nvSpPr>
          <p:cNvPr id="74" name="Text Placeholder 6">
            <a:extLst>
              <a:ext uri="{FF2B5EF4-FFF2-40B4-BE49-F238E27FC236}">
                <a16:creationId xmlns:a16="http://schemas.microsoft.com/office/drawing/2014/main" id="{0EEFD735-CCDF-DA48-8D5E-802BC215A699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431801" y="904607"/>
            <a:ext cx="1432443" cy="303826"/>
          </a:xfrm>
          <a:blipFill dpi="0" rotWithShape="1">
            <a:blip r:embed="rId2"/>
            <a:srcRect/>
            <a:tile tx="0" ty="0" sx="100000" sy="100000" flip="xy" algn="b"/>
          </a:blipFill>
          <a:effectLst/>
        </p:spPr>
        <p:txBody>
          <a:bodyPr wrap="none" bIns="54000" anchor="b">
            <a:spAutoFit/>
          </a:bodyPr>
          <a:lstStyle>
            <a:lvl1pPr marL="2381" indent="0">
              <a:spcBef>
                <a:spcPts val="75"/>
              </a:spcBef>
              <a:spcAft>
                <a:spcPts val="0"/>
              </a:spcAft>
              <a:tabLst/>
              <a:defRPr sz="900">
                <a:solidFill>
                  <a:schemeClr val="tx1"/>
                </a:solidFill>
              </a:defRPr>
            </a:lvl1pPr>
            <a:lvl2pPr marL="2381" indent="0">
              <a:spcAft>
                <a:spcPts val="0"/>
              </a:spcAft>
              <a:buFont typeface="Arial" panose="020B0604020202020204" pitchFamily="34" charset="0"/>
              <a:buNone/>
              <a:tabLst/>
              <a:defRPr sz="900">
                <a:solidFill>
                  <a:schemeClr val="tx1"/>
                </a:solidFill>
              </a:defRPr>
            </a:lvl2pPr>
            <a:lvl3pPr marL="2381" indent="0">
              <a:buNone/>
              <a:tabLst/>
              <a:defRPr sz="900">
                <a:solidFill>
                  <a:schemeClr val="tx1"/>
                </a:solidFill>
              </a:defRPr>
            </a:lvl3pPr>
            <a:lvl4pPr marL="2381" indent="0">
              <a:spcAft>
                <a:spcPts val="0"/>
              </a:spcAft>
              <a:buNone/>
              <a:tabLst/>
              <a:defRPr sz="900">
                <a:solidFill>
                  <a:schemeClr val="tx1"/>
                </a:solidFill>
              </a:defRPr>
            </a:lvl4pPr>
            <a:lvl5pPr marL="2381" indent="0">
              <a:spcAft>
                <a:spcPts val="0"/>
              </a:spcAft>
              <a:buFont typeface="Arial" panose="020B0604020202020204" pitchFamily="34" charset="0"/>
              <a:buNone/>
              <a:tabLst/>
              <a:defRPr sz="900">
                <a:solidFill>
                  <a:schemeClr val="tx1"/>
                </a:solidFill>
              </a:defRPr>
            </a:lvl5pPr>
            <a:lvl6pPr marL="2381" indent="0">
              <a:spcAft>
                <a:spcPts val="0"/>
              </a:spcAft>
              <a:buNone/>
              <a:tabLst/>
              <a:defRPr sz="900">
                <a:solidFill>
                  <a:schemeClr val="tx1"/>
                </a:solidFill>
              </a:defRPr>
            </a:lvl6pPr>
            <a:lvl7pPr marL="2381" indent="0">
              <a:spcAft>
                <a:spcPts val="0"/>
              </a:spcAft>
              <a:buNone/>
              <a:tabLst/>
              <a:defRPr sz="900">
                <a:solidFill>
                  <a:schemeClr val="tx1"/>
                </a:solidFill>
              </a:defRPr>
            </a:lvl7pPr>
            <a:lvl8pPr marL="2381" indent="0">
              <a:spcAft>
                <a:spcPts val="0"/>
              </a:spcAft>
              <a:buNone/>
              <a:tabLst/>
              <a:defRPr sz="900">
                <a:solidFill>
                  <a:schemeClr val="tx1"/>
                </a:solidFill>
              </a:defRPr>
            </a:lvl8pPr>
            <a:lvl9pPr marL="2381" indent="0">
              <a:spcAft>
                <a:spcPts val="0"/>
              </a:spcAft>
              <a:buNone/>
              <a:tabLst/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add chart title</a:t>
            </a:r>
          </a:p>
          <a:p>
            <a:pPr lvl="1"/>
            <a:r>
              <a:rPr lang="en-US"/>
              <a:t>Chart subtitle (second level)</a:t>
            </a:r>
          </a:p>
        </p:txBody>
      </p:sp>
      <p:sp>
        <p:nvSpPr>
          <p:cNvPr id="75" name="Text Placeholder 6">
            <a:extLst>
              <a:ext uri="{FF2B5EF4-FFF2-40B4-BE49-F238E27FC236}">
                <a16:creationId xmlns:a16="http://schemas.microsoft.com/office/drawing/2014/main" id="{F2931FB7-F796-0A4B-9B3B-8EBE98CF1E80}"/>
              </a:ext>
            </a:extLst>
          </p:cNvPr>
          <p:cNvSpPr>
            <a:spLocks noGrp="1"/>
          </p:cNvSpPr>
          <p:nvPr>
            <p:ph type="body" sz="quarter" idx="115" hasCustomPrompt="1"/>
          </p:nvPr>
        </p:nvSpPr>
        <p:spPr>
          <a:xfrm>
            <a:off x="7301754" y="904607"/>
            <a:ext cx="1410447" cy="303826"/>
          </a:xfrm>
          <a:blipFill dpi="0" rotWithShape="1">
            <a:blip r:embed="rId2"/>
            <a:srcRect/>
            <a:tile tx="0" ty="0" sx="100000" sy="100000" flip="xy" algn="b"/>
          </a:blipFill>
          <a:effectLst/>
        </p:spPr>
        <p:txBody>
          <a:bodyPr wrap="square" bIns="54000" anchor="b">
            <a:spAutoFit/>
          </a:bodyPr>
          <a:lstStyle>
            <a:lvl1pPr marL="2381" indent="0" algn="ctr">
              <a:spcBef>
                <a:spcPts val="75"/>
              </a:spcBef>
              <a:spcAft>
                <a:spcPts val="0"/>
              </a:spcAft>
              <a:tabLst/>
              <a:defRPr sz="900">
                <a:solidFill>
                  <a:schemeClr val="tx1"/>
                </a:solidFill>
              </a:defRPr>
            </a:lvl1pPr>
            <a:lvl2pPr marL="2381" indent="0" algn="ctr">
              <a:spcAft>
                <a:spcPts val="0"/>
              </a:spcAft>
              <a:buFont typeface="Arial" panose="020B0604020202020204" pitchFamily="34" charset="0"/>
              <a:buNone/>
              <a:tabLst/>
              <a:defRPr sz="900">
                <a:solidFill>
                  <a:schemeClr val="tx1"/>
                </a:solidFill>
              </a:defRPr>
            </a:lvl2pPr>
            <a:lvl3pPr marL="2381" indent="0" algn="ctr">
              <a:buNone/>
              <a:tabLst/>
              <a:defRPr sz="900">
                <a:solidFill>
                  <a:schemeClr val="tx1"/>
                </a:solidFill>
              </a:defRPr>
            </a:lvl3pPr>
            <a:lvl4pPr marL="2381" indent="0" algn="ctr">
              <a:spcAft>
                <a:spcPts val="0"/>
              </a:spcAft>
              <a:buNone/>
              <a:tabLst/>
              <a:defRPr sz="900">
                <a:solidFill>
                  <a:schemeClr val="tx1"/>
                </a:solidFill>
              </a:defRPr>
            </a:lvl4pPr>
            <a:lvl5pPr marL="2381" indent="0" algn="ctr">
              <a:spcAft>
                <a:spcPts val="0"/>
              </a:spcAft>
              <a:buFont typeface="Arial" panose="020B0604020202020204" pitchFamily="34" charset="0"/>
              <a:buNone/>
              <a:tabLst/>
              <a:defRPr sz="900">
                <a:solidFill>
                  <a:schemeClr val="tx1"/>
                </a:solidFill>
              </a:defRPr>
            </a:lvl5pPr>
            <a:lvl6pPr marL="2381" indent="0" algn="ctr">
              <a:spcAft>
                <a:spcPts val="0"/>
              </a:spcAft>
              <a:buNone/>
              <a:tabLst/>
              <a:defRPr sz="900">
                <a:solidFill>
                  <a:schemeClr val="tx1"/>
                </a:solidFill>
              </a:defRPr>
            </a:lvl6pPr>
            <a:lvl7pPr marL="2381" indent="0" algn="ctr">
              <a:spcAft>
                <a:spcPts val="0"/>
              </a:spcAft>
              <a:buNone/>
              <a:tabLst/>
              <a:defRPr sz="900">
                <a:solidFill>
                  <a:schemeClr val="tx1"/>
                </a:solidFill>
              </a:defRPr>
            </a:lvl7pPr>
            <a:lvl8pPr marL="2381" indent="0" algn="ctr">
              <a:spcAft>
                <a:spcPts val="0"/>
              </a:spcAft>
              <a:buNone/>
              <a:tabLst/>
              <a:defRPr sz="900">
                <a:solidFill>
                  <a:schemeClr val="tx1"/>
                </a:solidFill>
              </a:defRPr>
            </a:lvl8pPr>
            <a:lvl9pPr marL="2381" indent="0" algn="ctr">
              <a:spcAft>
                <a:spcPts val="0"/>
              </a:spcAft>
              <a:buNone/>
              <a:tabLst/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add topic</a:t>
            </a:r>
          </a:p>
          <a:p>
            <a:pPr lvl="1"/>
            <a:r>
              <a:rPr lang="en-US"/>
              <a:t>Subtit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0E0EC71-9467-C940-A5C4-5AE2C2306E07}"/>
              </a:ext>
            </a:extLst>
          </p:cNvPr>
          <p:cNvSpPr>
            <a:spLocks noGrp="1"/>
          </p:cNvSpPr>
          <p:nvPr userDrawn="1">
            <p:ph type="dt" sz="half" idx="1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1040711-9799-2949-9707-943424D7AC7C}"/>
              </a:ext>
            </a:extLst>
          </p:cNvPr>
          <p:cNvSpPr>
            <a:spLocks noGrp="1"/>
          </p:cNvSpPr>
          <p:nvPr userDrawn="1">
            <p:ph type="ftr" sz="quarter" idx="1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CAA4B3A-4569-BE43-A665-117BBA2442D6}"/>
              </a:ext>
            </a:extLst>
          </p:cNvPr>
          <p:cNvSpPr>
            <a:spLocks noGrp="1"/>
          </p:cNvSpPr>
          <p:nvPr userDrawn="1">
            <p:ph type="sldNum" sz="quarter" idx="118"/>
          </p:nvPr>
        </p:nvSpPr>
        <p:spPr/>
        <p:txBody>
          <a:bodyPr/>
          <a:lstStyle/>
          <a:p>
            <a:pPr marL="9525"/>
            <a:fld id="{078C017C-E1B9-8443-B047-B08AAA027B45}" type="slidenum">
              <a:rPr lang="en-US" smtClean="0"/>
              <a:pPr marL="9525"/>
              <a:t>‹#›</a:t>
            </a:fld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864070E-A16B-8540-98EE-429756CFB812}"/>
              </a:ext>
            </a:extLst>
          </p:cNvPr>
          <p:cNvGrpSpPr/>
          <p:nvPr userDrawn="1"/>
        </p:nvGrpSpPr>
        <p:grpSpPr>
          <a:xfrm>
            <a:off x="9399183" y="0"/>
            <a:ext cx="2961715" cy="6950990"/>
            <a:chOff x="9399182" y="-1"/>
            <a:chExt cx="2961715" cy="9267987"/>
          </a:xfrm>
        </p:grpSpPr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0603B78C-BC30-1640-816E-69DA7CE83E2F}"/>
                </a:ext>
              </a:extLst>
            </p:cNvPr>
            <p:cNvSpPr/>
            <p:nvPr userDrawn="1"/>
          </p:nvSpPr>
          <p:spPr>
            <a:xfrm>
              <a:off x="9399182" y="-1"/>
              <a:ext cx="2798651" cy="926798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050"/>
            </a:p>
          </p:txBody>
        </p:sp>
        <p:pic>
          <p:nvPicPr>
            <p:cNvPr id="56" name="Picture 55">
              <a:extLst>
                <a:ext uri="{FF2B5EF4-FFF2-40B4-BE49-F238E27FC236}">
                  <a16:creationId xmlns:a16="http://schemas.microsoft.com/office/drawing/2014/main" id="{9826FF71-3274-F14B-B6F7-E4981E06565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r="36104"/>
            <a:stretch/>
          </p:blipFill>
          <p:spPr>
            <a:xfrm>
              <a:off x="9558497" y="1330741"/>
              <a:ext cx="2639329" cy="522522"/>
            </a:xfrm>
            <a:prstGeom prst="rect">
              <a:avLst/>
            </a:prstGeom>
          </p:spPr>
        </p:pic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98722430-68E5-C049-90EB-29339645DED9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28459255-E604-9343-87B1-649A2191144C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105" name="TextBox 104">
                <a:extLst>
                  <a:ext uri="{FF2B5EF4-FFF2-40B4-BE49-F238E27FC236}">
                    <a16:creationId xmlns:a16="http://schemas.microsoft.com/office/drawing/2014/main" id="{69499230-744A-E14B-9620-23F5B206215C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1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106" name="Picture 105">
                <a:extLst>
                  <a:ext uri="{FF2B5EF4-FFF2-40B4-BE49-F238E27FC236}">
                    <a16:creationId xmlns:a16="http://schemas.microsoft.com/office/drawing/2014/main" id="{8FC05E41-787F-E742-AC69-7912BA0ECCDD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70A88B44-6F55-9D4E-AAE3-48BC61C70445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1670329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sz="825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2EAF79B9-3FFF-124B-B1AD-B933F83802D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E91BEBAB-D308-674B-BF77-07962DFE1A2B}"/>
                </a:ext>
              </a:extLst>
            </p:cNvPr>
            <p:cNvGrpSpPr/>
            <p:nvPr userDrawn="1"/>
          </p:nvGrpSpPr>
          <p:grpSpPr>
            <a:xfrm>
              <a:off x="9521833" y="8003265"/>
              <a:ext cx="2676002" cy="1074276"/>
              <a:chOff x="9521833" y="2036288"/>
              <a:chExt cx="2676002" cy="1074276"/>
            </a:xfrm>
          </p:grpSpPr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8E29CC56-D7E0-A743-8545-C70D5769BB5C}"/>
                  </a:ext>
                </a:extLst>
              </p:cNvPr>
              <p:cNvSpPr txBox="1"/>
              <p:nvPr userDrawn="1"/>
            </p:nvSpPr>
            <p:spPr>
              <a:xfrm>
                <a:off x="9558507" y="2036288"/>
                <a:ext cx="993862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sz="825">
                    <a:solidFill>
                      <a:schemeClr val="bg1"/>
                    </a:solidFill>
                  </a:rPr>
                  <a:t>ADD A NEW CHART</a:t>
                </a:r>
              </a:p>
            </p:txBody>
          </p:sp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37B40757-D8C1-EC41-9432-9B3652E3815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558507" y="223890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00" name="Group 99">
                <a:extLst>
                  <a:ext uri="{FF2B5EF4-FFF2-40B4-BE49-F238E27FC236}">
                    <a16:creationId xmlns:a16="http://schemas.microsoft.com/office/drawing/2014/main" id="{8B671BCA-8DB9-E644-88C5-5BC2E18F782D}"/>
                  </a:ext>
                </a:extLst>
              </p:cNvPr>
              <p:cNvGrpSpPr/>
              <p:nvPr userDrawn="1"/>
            </p:nvGrpSpPr>
            <p:grpSpPr>
              <a:xfrm>
                <a:off x="9521833" y="2361408"/>
                <a:ext cx="2557391" cy="323337"/>
                <a:chOff x="12352022" y="513115"/>
                <a:chExt cx="2557391" cy="323337"/>
              </a:xfrm>
            </p:grpSpPr>
            <p:sp>
              <p:nvSpPr>
                <p:cNvPr id="102" name="TextBox 101">
                  <a:extLst>
                    <a:ext uri="{FF2B5EF4-FFF2-40B4-BE49-F238E27FC236}">
                      <a16:creationId xmlns:a16="http://schemas.microsoft.com/office/drawing/2014/main" id="{BEB784B2-AE05-A243-8FAF-336308ECBC8D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375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103" name="TextBox 102">
                  <a:extLst>
                    <a:ext uri="{FF2B5EF4-FFF2-40B4-BE49-F238E27FC236}">
                      <a16:creationId xmlns:a16="http://schemas.microsoft.com/office/drawing/2014/main" id="{D7E60B24-6CF0-D146-894F-6A8172D604DE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392798" cy="32333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sz="788"/>
                    <a:t>Open the </a:t>
                  </a:r>
                  <a:r>
                    <a:rPr lang="en-US" sz="788" b="1"/>
                    <a:t>VEDP Template Assets file </a:t>
                  </a:r>
                  <a:r>
                    <a:rPr lang="en-US" sz="788"/>
                    <a:t>and copy the desired chart type into your presentation.</a:t>
                  </a:r>
                </a:p>
              </p:txBody>
            </p:sp>
          </p:grpSp>
          <p:sp>
            <p:nvSpPr>
              <p:cNvPr id="101" name="TextBox 100">
                <a:extLst>
                  <a:ext uri="{FF2B5EF4-FFF2-40B4-BE49-F238E27FC236}">
                    <a16:creationId xmlns:a16="http://schemas.microsoft.com/office/drawing/2014/main" id="{F035D1A9-98A9-1540-B091-D067CCAC007C}"/>
                  </a:ext>
                </a:extLst>
              </p:cNvPr>
              <p:cNvSpPr txBox="1"/>
              <p:nvPr userDrawn="1"/>
            </p:nvSpPr>
            <p:spPr>
              <a:xfrm>
                <a:off x="9686426" y="2895120"/>
                <a:ext cx="2120429" cy="21544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/>
                  <a:t>These samples slide have further instructions and have been set up so you can easily edit the data.</a:t>
                </a:r>
              </a:p>
            </p:txBody>
          </p:sp>
        </p:grp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FFA433AB-7A83-FE46-B7D5-E3E9223C94FE}"/>
                </a:ext>
              </a:extLst>
            </p:cNvPr>
            <p:cNvSpPr txBox="1"/>
            <p:nvPr userDrawn="1"/>
          </p:nvSpPr>
          <p:spPr>
            <a:xfrm>
              <a:off x="9558507" y="4314602"/>
              <a:ext cx="1537280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sz="825">
                  <a:solidFill>
                    <a:schemeClr val="bg1"/>
                  </a:solidFill>
                </a:rPr>
                <a:t>FORMAT AN EXISTING CHART</a:t>
              </a:r>
            </a:p>
          </p:txBody>
        </p: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1B09943F-2379-404A-B5DA-E7E4342B6C8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4517219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BFB006C8-D07C-804E-A72A-C50DBCE312C1}"/>
                </a:ext>
              </a:extLst>
            </p:cNvPr>
            <p:cNvSpPr txBox="1">
              <a:spLocks noChangeAspect="1"/>
            </p:cNvSpPr>
            <p:nvPr userDrawn="1"/>
          </p:nvSpPr>
          <p:spPr>
            <a:xfrm>
              <a:off x="9521833" y="4664749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375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1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98FC336D-B4A7-4A4A-8AD2-1F9EF034E3AD}"/>
                </a:ext>
              </a:extLst>
            </p:cNvPr>
            <p:cNvSpPr txBox="1">
              <a:spLocks noChangeAspect="1"/>
            </p:cNvSpPr>
            <p:nvPr userDrawn="1"/>
          </p:nvSpPr>
          <p:spPr>
            <a:xfrm>
              <a:off x="9521833" y="5391799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375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2</a:t>
              </a: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84AF85FC-1918-5741-B46D-5BD00B98A8B4}"/>
                </a:ext>
              </a:extLst>
            </p:cNvPr>
            <p:cNvSpPr txBox="1"/>
            <p:nvPr userDrawn="1"/>
          </p:nvSpPr>
          <p:spPr>
            <a:xfrm>
              <a:off x="9686426" y="4639722"/>
              <a:ext cx="2453290" cy="32333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sz="788"/>
                <a:t>Select the chart placeholder and then paste your existing chart.</a:t>
              </a: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D674EEFB-EF3C-2340-BE36-9233624B9308}"/>
                </a:ext>
              </a:extLst>
            </p:cNvPr>
            <p:cNvSpPr txBox="1"/>
            <p:nvPr userDrawn="1"/>
          </p:nvSpPr>
          <p:spPr>
            <a:xfrm>
              <a:off x="9686426" y="5368929"/>
              <a:ext cx="2453290" cy="32333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sz="788"/>
                <a:t>Right-click on the chart and choose “Change Chart Type…”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C863F9D4-3950-0241-850A-C88B4A8B95D4}"/>
                </a:ext>
              </a:extLst>
            </p:cNvPr>
            <p:cNvSpPr txBox="1">
              <a:spLocks noChangeAspect="1"/>
            </p:cNvSpPr>
            <p:nvPr userDrawn="1"/>
          </p:nvSpPr>
          <p:spPr>
            <a:xfrm>
              <a:off x="9521833" y="5854789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375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3</a:t>
              </a: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157780A7-784A-CE4E-A107-6AD67C7614A3}"/>
                </a:ext>
              </a:extLst>
            </p:cNvPr>
            <p:cNvSpPr txBox="1"/>
            <p:nvPr userDrawn="1"/>
          </p:nvSpPr>
          <p:spPr>
            <a:xfrm>
              <a:off x="9686426" y="5831918"/>
              <a:ext cx="2453290" cy="32333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sz="788"/>
                <a:t>Choose one of the VEDP chart styles from the ‘Templates’ category.</a:t>
              </a: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E018981E-3F1A-7146-9B4B-4485D3EC3895}"/>
                </a:ext>
              </a:extLst>
            </p:cNvPr>
            <p:cNvSpPr txBox="1"/>
            <p:nvPr userDrawn="1"/>
          </p:nvSpPr>
          <p:spPr>
            <a:xfrm>
              <a:off x="9674268" y="5002945"/>
              <a:ext cx="2297650" cy="215444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525"/>
                <a:t>Note: Make sure that you have access to any linked files, or you won’t be able to apply the chart style successfully.</a:t>
              </a:r>
            </a:p>
          </p:txBody>
        </p:sp>
        <p:grpSp>
          <p:nvGrpSpPr>
            <p:cNvPr id="91" name="Group 90">
              <a:extLst>
                <a:ext uri="{FF2B5EF4-FFF2-40B4-BE49-F238E27FC236}">
                  <a16:creationId xmlns:a16="http://schemas.microsoft.com/office/drawing/2014/main" id="{A9C1A1AE-A143-5B45-A93F-D2BC596FED56}"/>
                </a:ext>
              </a:extLst>
            </p:cNvPr>
            <p:cNvGrpSpPr/>
            <p:nvPr userDrawn="1"/>
          </p:nvGrpSpPr>
          <p:grpSpPr>
            <a:xfrm>
              <a:off x="9541497" y="6326507"/>
              <a:ext cx="2735151" cy="1475581"/>
              <a:chOff x="9296567" y="4910411"/>
              <a:chExt cx="2735151" cy="1475581"/>
            </a:xfrm>
          </p:grpSpPr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205C3E47-B0FB-6D42-8FE4-533A345103DB}"/>
                  </a:ext>
                </a:extLst>
              </p:cNvPr>
              <p:cNvSpPr/>
              <p:nvPr userDrawn="1"/>
            </p:nvSpPr>
            <p:spPr>
              <a:xfrm>
                <a:off x="9296567" y="4910411"/>
                <a:ext cx="2735151" cy="1475581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05B3AB36-11C1-B345-B1C6-7001A0937B3A}"/>
                  </a:ext>
                </a:extLst>
              </p:cNvPr>
              <p:cNvSpPr txBox="1"/>
              <p:nvPr userDrawn="1"/>
            </p:nvSpPr>
            <p:spPr>
              <a:xfrm>
                <a:off x="9662758" y="5039211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Re-apply chart style</a:t>
                </a:r>
              </a:p>
            </p:txBody>
          </p:sp>
          <p:pic>
            <p:nvPicPr>
              <p:cNvPr id="94" name="Graphic 93">
                <a:extLst>
                  <a:ext uri="{FF2B5EF4-FFF2-40B4-BE49-F238E27FC236}">
                    <a16:creationId xmlns:a16="http://schemas.microsoft.com/office/drawing/2014/main" id="{26163978-6874-234F-A1D2-D12DAC94998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9456790" y="5049494"/>
                <a:ext cx="155227" cy="155227"/>
              </a:xfrm>
              <a:prstGeom prst="rect">
                <a:avLst/>
              </a:prstGeom>
            </p:spPr>
          </p:pic>
          <p:sp>
            <p:nvSpPr>
              <p:cNvPr id="95" name="TextBox 94">
                <a:extLst>
                  <a:ext uri="{FF2B5EF4-FFF2-40B4-BE49-F238E27FC236}">
                    <a16:creationId xmlns:a16="http://schemas.microsoft.com/office/drawing/2014/main" id="{69B7DBB9-0A63-934A-91F0-2514D4B24140}"/>
                  </a:ext>
                </a:extLst>
              </p:cNvPr>
              <p:cNvSpPr txBox="1"/>
              <p:nvPr userDrawn="1"/>
            </p:nvSpPr>
            <p:spPr>
              <a:xfrm>
                <a:off x="9471805" y="5300350"/>
                <a:ext cx="2399065" cy="103789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spcBef>
                    <a:spcPts val="200"/>
                  </a:spcBef>
                  <a:defRPr sz="9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49225" lvl="1" indent="-149225">
                  <a:spcBef>
                    <a:spcPts val="200"/>
                  </a:spcBef>
                  <a:spcAft>
                    <a:spcPts val="0"/>
                  </a:spcAft>
                  <a:defRPr sz="9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</a:lstStyle>
              <a:p>
                <a:r>
                  <a:rPr lang="en-US" sz="675"/>
                  <a:t>In case of error, return legend entries, data labels, and/or chart formatting by re-applying the current VEDP chart style template.</a:t>
                </a:r>
              </a:p>
              <a:p>
                <a:pPr lvl="1"/>
                <a:r>
                  <a:rPr lang="en-US" sz="675"/>
                  <a:t>Right-click the chart and choose</a:t>
                </a:r>
                <a:br>
                  <a:rPr lang="en-US" sz="675"/>
                </a:br>
                <a:r>
                  <a:rPr lang="en-US" sz="675"/>
                  <a:t>“Change Chart Type”</a:t>
                </a:r>
              </a:p>
              <a:p>
                <a:pPr lvl="1"/>
                <a:r>
                  <a:rPr lang="en-US" sz="675"/>
                  <a:t>Then choose the matching VEDP chart style from the ‘Templates’ category.</a:t>
                </a:r>
              </a:p>
            </p:txBody>
          </p:sp>
        </p:grp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EDC97BF0-6494-054B-BAC7-76B18D15D463}"/>
                </a:ext>
              </a:extLst>
            </p:cNvPr>
            <p:cNvGrpSpPr/>
            <p:nvPr userDrawn="1"/>
          </p:nvGrpSpPr>
          <p:grpSpPr>
            <a:xfrm>
              <a:off x="9541497" y="1990481"/>
              <a:ext cx="2735151" cy="2124319"/>
              <a:chOff x="9296567" y="4910411"/>
              <a:chExt cx="2735151" cy="2124319"/>
            </a:xfrm>
          </p:grpSpPr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6EA5BD78-0CA6-1D44-AE20-16CD67196734}"/>
                  </a:ext>
                </a:extLst>
              </p:cNvPr>
              <p:cNvSpPr/>
              <p:nvPr userDrawn="1"/>
            </p:nvSpPr>
            <p:spPr>
              <a:xfrm>
                <a:off x="9296567" y="4910411"/>
                <a:ext cx="2735151" cy="2124319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C9B44842-1EC0-ED4A-8AFC-859D10E283B5}"/>
                  </a:ext>
                </a:extLst>
              </p:cNvPr>
              <p:cNvSpPr txBox="1"/>
              <p:nvPr userDrawn="1"/>
            </p:nvSpPr>
            <p:spPr>
              <a:xfrm>
                <a:off x="9662758" y="5039211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Use a table to add data column</a:t>
                </a:r>
              </a:p>
            </p:txBody>
          </p:sp>
          <p:pic>
            <p:nvPicPr>
              <p:cNvPr id="49" name="Graphic 48">
                <a:extLst>
                  <a:ext uri="{FF2B5EF4-FFF2-40B4-BE49-F238E27FC236}">
                    <a16:creationId xmlns:a16="http://schemas.microsoft.com/office/drawing/2014/main" id="{B936CAA9-65A1-FC4A-875A-7639F7F131D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9456790" y="5049494"/>
                <a:ext cx="155227" cy="155227"/>
              </a:xfrm>
              <a:prstGeom prst="rect">
                <a:avLst/>
              </a:prstGeom>
            </p:spPr>
          </p:pic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101400F7-2DF9-9C4E-8B1C-7F2315B8FDAC}"/>
                  </a:ext>
                </a:extLst>
              </p:cNvPr>
              <p:cNvSpPr txBox="1"/>
              <p:nvPr userDrawn="1"/>
            </p:nvSpPr>
            <p:spPr>
              <a:xfrm>
                <a:off x="9471805" y="5300350"/>
                <a:ext cx="2399065" cy="72669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spcBef>
                    <a:spcPts val="200"/>
                  </a:spcBef>
                  <a:defRPr sz="9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49225" lvl="1" indent="-149225">
                  <a:spcBef>
                    <a:spcPts val="200"/>
                  </a:spcBef>
                  <a:spcAft>
                    <a:spcPts val="0"/>
                  </a:spcAft>
                  <a:defRPr sz="9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</a:lstStyle>
              <a:p>
                <a:pPr lvl="1"/>
                <a:r>
                  <a:rPr lang="en-US" sz="675"/>
                  <a:t>Click the table icon and insert a table with</a:t>
                </a:r>
                <a:br>
                  <a:rPr lang="en-US" sz="675"/>
                </a:br>
                <a:r>
                  <a:rPr lang="en-US" sz="675"/>
                  <a:t>1 column and the same number of rows as categories in your chart.</a:t>
                </a:r>
              </a:p>
              <a:p>
                <a:pPr lvl="1"/>
                <a:r>
                  <a:rPr lang="en-US" sz="675"/>
                  <a:t>In the Table Design tab, choose the</a:t>
                </a:r>
                <a:br>
                  <a:rPr lang="en-US" sz="675"/>
                </a:br>
                <a:r>
                  <a:rPr lang="en-US" sz="675"/>
                  <a:t>“No Style, No Grid” table style.</a:t>
                </a:r>
              </a:p>
            </p:txBody>
          </p: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3BF0B28D-ACDE-694B-AE6D-61241B43B83E}"/>
                  </a:ext>
                </a:extLst>
              </p:cNvPr>
              <p:cNvSpPr txBox="1"/>
              <p:nvPr userDrawn="1"/>
            </p:nvSpPr>
            <p:spPr>
              <a:xfrm>
                <a:off x="9471805" y="6471925"/>
                <a:ext cx="2284765" cy="311196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spcBef>
                    <a:spcPts val="200"/>
                  </a:spcBef>
                  <a:defRPr sz="9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49225" lvl="1" indent="-149225">
                  <a:spcBef>
                    <a:spcPts val="200"/>
                  </a:spcBef>
                  <a:spcAft>
                    <a:spcPts val="0"/>
                  </a:spcAft>
                  <a:defRPr sz="9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</a:lstStyle>
              <a:p>
                <a:pPr lvl="1"/>
                <a:r>
                  <a:rPr lang="en-US" sz="675"/>
                  <a:t>Change the text alignment to “Center”</a:t>
                </a:r>
              </a:p>
              <a:p>
                <a:pPr lvl="1"/>
                <a:r>
                  <a:rPr lang="en-US" sz="675"/>
                  <a:t>Change the vertical alignment of the cells to “Middle”</a:t>
                </a:r>
              </a:p>
            </p:txBody>
          </p:sp>
        </p:grp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59A68EBB-78D1-BF41-BBB4-FEEDFBED003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9779333" y="3076329"/>
              <a:ext cx="2265030" cy="324185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B9CE2B6D-A88E-BF47-88F9-0FD3CD4DD4D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/>
            <a:srcRect l="1073" t="3423" r="1434" b="3096"/>
            <a:stretch/>
          </p:blipFill>
          <p:spPr>
            <a:xfrm>
              <a:off x="10594975" y="3279775"/>
              <a:ext cx="739775" cy="1841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1423074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and Callou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2B99E022-6BD1-074D-A651-0F1D3CDA165E}"/>
              </a:ext>
            </a:extLst>
          </p:cNvPr>
          <p:cNvSpPr/>
          <p:nvPr userDrawn="1"/>
        </p:nvSpPr>
        <p:spPr>
          <a:xfrm>
            <a:off x="9399183" y="0"/>
            <a:ext cx="2798651" cy="634918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050"/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9C63083C-E80F-E145-8345-4B0E6010FB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43480"/>
          <a:stretch/>
        </p:blipFill>
        <p:spPr>
          <a:xfrm>
            <a:off x="9558505" y="1821879"/>
            <a:ext cx="2639324" cy="701279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A3E7C59C-7AB2-FD4B-9D3E-CA7E0D8CB2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Slide TITLE. ALL CAPS. TWO LINES max.</a:t>
            </a:r>
          </a:p>
        </p:txBody>
      </p:sp>
      <p:sp>
        <p:nvSpPr>
          <p:cNvPr id="16" name="Chart Placeholder 2">
            <a:extLst>
              <a:ext uri="{FF2B5EF4-FFF2-40B4-BE49-F238E27FC236}">
                <a16:creationId xmlns:a16="http://schemas.microsoft.com/office/drawing/2014/main" id="{A52282EC-86DC-8D43-96A4-DCB61C454A07}"/>
              </a:ext>
            </a:extLst>
          </p:cNvPr>
          <p:cNvSpPr>
            <a:spLocks noGrp="1"/>
          </p:cNvSpPr>
          <p:nvPr>
            <p:ph type="chart" sz="quarter" idx="113"/>
          </p:nvPr>
        </p:nvSpPr>
        <p:spPr>
          <a:xfrm>
            <a:off x="431799" y="1301353"/>
            <a:ext cx="5762524" cy="3323034"/>
          </a:xfrm>
        </p:spPr>
        <p:txBody>
          <a:bodyPr/>
          <a:lstStyle>
            <a:lvl1pPr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047063-0C39-EB47-B9DB-09006681A5FA}"/>
              </a:ext>
            </a:extLst>
          </p:cNvPr>
          <p:cNvSpPr>
            <a:spLocks noGrp="1"/>
          </p:cNvSpPr>
          <p:nvPr>
            <p:ph type="body" sz="quarter" idx="114" hasCustomPrompt="1"/>
          </p:nvPr>
        </p:nvSpPr>
        <p:spPr>
          <a:xfrm>
            <a:off x="6533536" y="1301354"/>
            <a:ext cx="2178665" cy="3323034"/>
          </a:xfrm>
          <a:ln w="12700">
            <a:solidFill>
              <a:schemeClr val="accent1"/>
            </a:solidFill>
          </a:ln>
        </p:spPr>
        <p:txBody>
          <a:bodyPr lIns="216000" tIns="360000" rIns="216000" bIns="216000" anchor="t"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450"/>
              </a:spcBef>
              <a:spcAft>
                <a:spcPts val="225"/>
              </a:spcAft>
              <a:buClrTx/>
              <a:buSzTx/>
              <a:buFont typeface="Wingdings" pitchFamily="2" charset="2"/>
              <a:buNone/>
              <a:tabLst/>
              <a:defRPr lang="en-US" sz="2400"/>
            </a:lvl1pPr>
            <a:lvl2pPr>
              <a:defRPr lang="en-US" dirty="0"/>
            </a:lvl2pPr>
            <a:lvl3pPr marL="0" indent="0">
              <a:buFontTx/>
              <a:buNone/>
              <a:defRPr lang="en-US" dirty="0"/>
            </a:lvl3pPr>
            <a:lvl4pPr marL="0" indent="0">
              <a:buFontTx/>
              <a:buNone/>
              <a:defRPr lang="en-US" dirty="0"/>
            </a:lvl4pPr>
            <a:lvl5pPr marL="0" indent="0">
              <a:buFontTx/>
              <a:buNone/>
              <a:defRPr lang="en-US" dirty="0"/>
            </a:lvl5pPr>
            <a:lvl6pPr marL="0" indent="0">
              <a:buFontTx/>
              <a:buNone/>
              <a:defRPr/>
            </a:lvl6pPr>
            <a:lvl7pPr marL="0" indent="0">
              <a:buFontTx/>
              <a:buNone/>
              <a:defRPr/>
            </a:lvl7pPr>
            <a:lvl8pPr marL="0" indent="0">
              <a:buFontTx/>
              <a:buNone/>
              <a:defRPr/>
            </a:lvl8pPr>
            <a:lvl9pPr marL="0" indent="0">
              <a:buFontTx/>
              <a:buNone/>
              <a:defRPr/>
            </a:lvl9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450"/>
              </a:spcBef>
              <a:spcAft>
                <a:spcPts val="225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/>
              <a:t>XX%</a:t>
            </a:r>
          </a:p>
          <a:p>
            <a:pPr lvl="1"/>
            <a:r>
              <a:rPr lang="en-US"/>
              <a:t>Body text (second level)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67041110-B28F-8541-8B72-CE723F208693}"/>
              </a:ext>
            </a:extLst>
          </p:cNvPr>
          <p:cNvSpPr>
            <a:spLocks noGrp="1"/>
          </p:cNvSpPr>
          <p:nvPr>
            <p:ph type="body" sz="quarter" idx="115" hasCustomPrompt="1"/>
          </p:nvPr>
        </p:nvSpPr>
        <p:spPr>
          <a:xfrm>
            <a:off x="7069268" y="1183768"/>
            <a:ext cx="1107208" cy="249299"/>
          </a:xfrm>
          <a:solidFill>
            <a:schemeClr val="bg1"/>
          </a:solidFill>
          <a:effectLst/>
        </p:spPr>
        <p:txBody>
          <a:bodyPr wrap="none" lIns="72000" tIns="0" rIns="72000" bIns="0" anchor="ctr">
            <a:spAutoFit/>
          </a:bodyPr>
          <a:lstStyle>
            <a:lvl1pPr algn="ctr">
              <a:spcBef>
                <a:spcPts val="75"/>
              </a:spcBef>
              <a:spcAft>
                <a:spcPts val="0"/>
              </a:spcAft>
              <a:defRPr sz="900">
                <a:solidFill>
                  <a:schemeClr val="accent1"/>
                </a:solidFill>
              </a:defRPr>
            </a:lvl1pPr>
            <a:lvl2pPr marL="2381" indent="0" algn="ctr">
              <a:spcAft>
                <a:spcPts val="0"/>
              </a:spcAft>
              <a:buFont typeface="Arial" panose="020B0604020202020204" pitchFamily="34" charset="0"/>
              <a:buNone/>
              <a:tabLst/>
              <a:defRPr sz="900">
                <a:solidFill>
                  <a:schemeClr val="accent1"/>
                </a:solidFill>
              </a:defRPr>
            </a:lvl2pPr>
            <a:lvl3pPr marL="7144" indent="0" algn="ctr">
              <a:buNone/>
              <a:tabLst/>
              <a:defRPr sz="900">
                <a:solidFill>
                  <a:schemeClr val="accent1"/>
                </a:solidFill>
              </a:defRPr>
            </a:lvl3pPr>
            <a:lvl4pPr marL="7144" indent="0" algn="ctr">
              <a:buNone/>
              <a:tabLst/>
              <a:defRPr sz="900">
                <a:solidFill>
                  <a:schemeClr val="accent1"/>
                </a:solidFill>
              </a:defRPr>
            </a:lvl4pPr>
            <a:lvl5pPr marL="7144" indent="0" algn="ctr">
              <a:buFont typeface="Arial" panose="020B0604020202020204" pitchFamily="34" charset="0"/>
              <a:buNone/>
              <a:tabLst/>
              <a:defRPr sz="900">
                <a:solidFill>
                  <a:schemeClr val="accent1"/>
                </a:solidFill>
              </a:defRPr>
            </a:lvl5pPr>
            <a:lvl6pPr marL="7144" indent="0" algn="ctr">
              <a:buNone/>
              <a:tabLst/>
              <a:defRPr sz="900">
                <a:solidFill>
                  <a:schemeClr val="accent1"/>
                </a:solidFill>
              </a:defRPr>
            </a:lvl6pPr>
            <a:lvl7pPr marL="7144" indent="0" algn="ctr">
              <a:buNone/>
              <a:tabLst/>
              <a:defRPr sz="900">
                <a:solidFill>
                  <a:schemeClr val="accent1"/>
                </a:solidFill>
              </a:defRPr>
            </a:lvl7pPr>
            <a:lvl8pPr marL="7144" indent="0" algn="ctr">
              <a:buNone/>
              <a:tabLst/>
              <a:defRPr sz="900">
                <a:solidFill>
                  <a:schemeClr val="accent1"/>
                </a:solidFill>
              </a:defRPr>
            </a:lvl8pPr>
            <a:lvl9pPr marL="7144" indent="0" algn="ctr">
              <a:buNone/>
              <a:tabLst/>
              <a:defRPr sz="9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add topic</a:t>
            </a:r>
          </a:p>
          <a:p>
            <a:pPr lvl="1"/>
            <a:r>
              <a:rPr lang="en-US"/>
              <a:t>Subtopic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60CEA154-018A-D041-9D08-46D2C2864923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800" y="4650581"/>
            <a:ext cx="7440613" cy="379131"/>
          </a:xfrm>
        </p:spPr>
        <p:txBody>
          <a:bodyPr bIns="0" anchor="b"/>
          <a:lstStyle>
            <a:lvl1pPr marL="4763" indent="-1191">
              <a:spcBef>
                <a:spcPts val="56"/>
              </a:spcBef>
              <a:spcAft>
                <a:spcPts val="56"/>
              </a:spcAft>
              <a:buSzPct val="100000"/>
              <a:buFontTx/>
              <a:buNone/>
              <a:tabLst/>
              <a:defRPr sz="825" b="0">
                <a:solidFill>
                  <a:schemeClr val="tx1"/>
                </a:solidFill>
              </a:defRPr>
            </a:lvl1pPr>
            <a:lvl2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¹"/>
              <a:tabLst/>
              <a:defRPr sz="825" b="0" i="0">
                <a:solidFill>
                  <a:schemeClr val="tx1"/>
                </a:solidFill>
              </a:defRPr>
            </a:lvl2pPr>
            <a:lvl3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²"/>
              <a:tabLst/>
              <a:defRPr sz="825">
                <a:solidFill>
                  <a:schemeClr val="tx1"/>
                </a:solidFill>
              </a:defRPr>
            </a:lvl3pPr>
            <a:lvl4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³"/>
              <a:tabLst/>
              <a:defRPr sz="825">
                <a:solidFill>
                  <a:schemeClr val="tx1"/>
                </a:solidFill>
              </a:defRPr>
            </a:lvl4pPr>
            <a:lvl5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⁴"/>
              <a:tabLst/>
              <a:defRPr sz="825">
                <a:solidFill>
                  <a:schemeClr val="tx1"/>
                </a:solidFill>
              </a:defRPr>
            </a:lvl5pPr>
            <a:lvl6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⁵"/>
              <a:tabLst/>
              <a:defRPr sz="825">
                <a:solidFill>
                  <a:schemeClr val="tx1"/>
                </a:solidFill>
              </a:defRPr>
            </a:lvl6pPr>
            <a:lvl7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⁶"/>
              <a:tabLst/>
              <a:defRPr sz="825">
                <a:solidFill>
                  <a:schemeClr val="tx1"/>
                </a:solidFill>
              </a:defRPr>
            </a:lvl7pPr>
            <a:lvl8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⁷"/>
              <a:tabLst/>
              <a:defRPr sz="825">
                <a:solidFill>
                  <a:schemeClr val="tx1"/>
                </a:solidFill>
              </a:defRPr>
            </a:lvl8pPr>
            <a:lvl9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⁸"/>
              <a:tabLst/>
              <a:defRPr sz="825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/>
              <a:t>Footnotes – Levels 2-9</a:t>
            </a:r>
          </a:p>
        </p:txBody>
      </p:sp>
      <p:sp>
        <p:nvSpPr>
          <p:cNvPr id="71" name="Text Placeholder 6">
            <a:extLst>
              <a:ext uri="{FF2B5EF4-FFF2-40B4-BE49-F238E27FC236}">
                <a16:creationId xmlns:a16="http://schemas.microsoft.com/office/drawing/2014/main" id="{5097C055-E96E-DC48-9B57-3C90E8692550}"/>
              </a:ext>
            </a:extLst>
          </p:cNvPr>
          <p:cNvSpPr>
            <a:spLocks noGrp="1"/>
          </p:cNvSpPr>
          <p:nvPr userDrawn="1">
            <p:ph type="body" sz="quarter" idx="108" hasCustomPrompt="1"/>
          </p:nvPr>
        </p:nvSpPr>
        <p:spPr>
          <a:xfrm>
            <a:off x="431801" y="904607"/>
            <a:ext cx="1432443" cy="303826"/>
          </a:xfrm>
          <a:blipFill dpi="0" rotWithShape="1">
            <a:blip r:embed="rId3"/>
            <a:srcRect/>
            <a:tile tx="0" ty="0" sx="100000" sy="100000" flip="xy" algn="b"/>
          </a:blipFill>
          <a:effectLst/>
        </p:spPr>
        <p:txBody>
          <a:bodyPr wrap="none" bIns="54000" anchor="b">
            <a:spAutoFit/>
          </a:bodyPr>
          <a:lstStyle>
            <a:lvl1pPr marL="2381" indent="0">
              <a:spcBef>
                <a:spcPts val="75"/>
              </a:spcBef>
              <a:spcAft>
                <a:spcPts val="0"/>
              </a:spcAft>
              <a:tabLst/>
              <a:defRPr sz="900">
                <a:solidFill>
                  <a:schemeClr val="tx1"/>
                </a:solidFill>
              </a:defRPr>
            </a:lvl1pPr>
            <a:lvl2pPr marL="2381" indent="0">
              <a:spcAft>
                <a:spcPts val="0"/>
              </a:spcAft>
              <a:buFont typeface="Arial" panose="020B0604020202020204" pitchFamily="34" charset="0"/>
              <a:buNone/>
              <a:tabLst/>
              <a:defRPr sz="900">
                <a:solidFill>
                  <a:schemeClr val="tx1"/>
                </a:solidFill>
              </a:defRPr>
            </a:lvl2pPr>
            <a:lvl3pPr marL="2381" indent="0">
              <a:buNone/>
              <a:tabLst/>
              <a:defRPr sz="900">
                <a:solidFill>
                  <a:schemeClr val="tx1"/>
                </a:solidFill>
              </a:defRPr>
            </a:lvl3pPr>
            <a:lvl4pPr marL="2381" indent="0">
              <a:spcAft>
                <a:spcPts val="0"/>
              </a:spcAft>
              <a:buNone/>
              <a:tabLst/>
              <a:defRPr sz="900">
                <a:solidFill>
                  <a:schemeClr val="tx1"/>
                </a:solidFill>
              </a:defRPr>
            </a:lvl4pPr>
            <a:lvl5pPr marL="2381" indent="0">
              <a:spcAft>
                <a:spcPts val="0"/>
              </a:spcAft>
              <a:buFont typeface="Arial" panose="020B0604020202020204" pitchFamily="34" charset="0"/>
              <a:buNone/>
              <a:tabLst/>
              <a:defRPr sz="900">
                <a:solidFill>
                  <a:schemeClr val="tx1"/>
                </a:solidFill>
              </a:defRPr>
            </a:lvl5pPr>
            <a:lvl6pPr marL="2381" indent="0">
              <a:spcAft>
                <a:spcPts val="0"/>
              </a:spcAft>
              <a:buNone/>
              <a:tabLst/>
              <a:defRPr sz="900">
                <a:solidFill>
                  <a:schemeClr val="tx1"/>
                </a:solidFill>
              </a:defRPr>
            </a:lvl6pPr>
            <a:lvl7pPr marL="2381" indent="0">
              <a:spcAft>
                <a:spcPts val="0"/>
              </a:spcAft>
              <a:buNone/>
              <a:tabLst/>
              <a:defRPr sz="900">
                <a:solidFill>
                  <a:schemeClr val="tx1"/>
                </a:solidFill>
              </a:defRPr>
            </a:lvl7pPr>
            <a:lvl8pPr marL="2381" indent="0">
              <a:spcAft>
                <a:spcPts val="0"/>
              </a:spcAft>
              <a:buNone/>
              <a:tabLst/>
              <a:defRPr sz="900">
                <a:solidFill>
                  <a:schemeClr val="tx1"/>
                </a:solidFill>
              </a:defRPr>
            </a:lvl8pPr>
            <a:lvl9pPr marL="2381" indent="0">
              <a:spcAft>
                <a:spcPts val="0"/>
              </a:spcAft>
              <a:buNone/>
              <a:tabLst/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add chart title</a:t>
            </a:r>
          </a:p>
          <a:p>
            <a:pPr lvl="1"/>
            <a:r>
              <a:rPr lang="en-US"/>
              <a:t>Chart subtitle (second level)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304FF1D-0CE8-E345-906B-4A0F37157528}"/>
              </a:ext>
            </a:extLst>
          </p:cNvPr>
          <p:cNvGrpSpPr/>
          <p:nvPr userDrawn="1"/>
        </p:nvGrpSpPr>
        <p:grpSpPr>
          <a:xfrm>
            <a:off x="9541497" y="121831"/>
            <a:ext cx="2819400" cy="610883"/>
            <a:chOff x="-3644733" y="165205"/>
            <a:chExt cx="2819400" cy="8145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A4CD39F0-34C6-E349-B508-223A8EC300CE}"/>
                </a:ext>
              </a:extLst>
            </p:cNvPr>
            <p:cNvSpPr/>
            <p:nvPr userDrawn="1"/>
          </p:nvSpPr>
          <p:spPr>
            <a:xfrm>
              <a:off x="-3644733" y="165205"/>
              <a:ext cx="2819400" cy="814510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/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ACF4FF2B-41D7-814F-ADC3-B8F4D688F688}"/>
                </a:ext>
              </a:extLst>
            </p:cNvPr>
            <p:cNvSpPr txBox="1"/>
            <p:nvPr userDrawn="1"/>
          </p:nvSpPr>
          <p:spPr>
            <a:xfrm>
              <a:off x="-3039170" y="309204"/>
              <a:ext cx="2129588" cy="507830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algn="l"/>
              <a:r>
                <a:rPr lang="en-US" sz="8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Access programmed text formats by using the ‘Indent More’ button to change the indent level.</a:t>
              </a:r>
            </a:p>
          </p:txBody>
        </p:sp>
        <p:pic>
          <p:nvPicPr>
            <p:cNvPr id="50" name="Picture 49">
              <a:extLst>
                <a:ext uri="{FF2B5EF4-FFF2-40B4-BE49-F238E27FC236}">
                  <a16:creationId xmlns:a16="http://schemas.microsoft.com/office/drawing/2014/main" id="{26933AA9-32A1-AC4B-BE8F-5AD8531E5B2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l="8882" t="5165" r="-1"/>
            <a:stretch/>
          </p:blipFill>
          <p:spPr>
            <a:xfrm>
              <a:off x="-3491292" y="414013"/>
              <a:ext cx="324017" cy="289055"/>
            </a:xfrm>
            <a:prstGeom prst="roundRect">
              <a:avLst/>
            </a:prstGeom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5B92A826-7A09-9E44-916B-E29522B6D922}"/>
              </a:ext>
            </a:extLst>
          </p:cNvPr>
          <p:cNvGrpSpPr/>
          <p:nvPr userDrawn="1"/>
        </p:nvGrpSpPr>
        <p:grpSpPr>
          <a:xfrm>
            <a:off x="9558507" y="839919"/>
            <a:ext cx="2639328" cy="151963"/>
            <a:chOff x="9303325" y="149270"/>
            <a:chExt cx="2639328" cy="202617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E88FFA9C-3A10-3948-84B4-9B1DF715F79D}"/>
                </a:ext>
              </a:extLst>
            </p:cNvPr>
            <p:cNvSpPr txBox="1"/>
            <p:nvPr userDrawn="1"/>
          </p:nvSpPr>
          <p:spPr>
            <a:xfrm>
              <a:off x="9303325" y="149270"/>
              <a:ext cx="1670329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sz="825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EC121F51-5A96-A745-9B63-72CEF196AD6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303325" y="351887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5AC2D6C2-0BE1-AA4F-AB14-C27A2EB40593}"/>
              </a:ext>
            </a:extLst>
          </p:cNvPr>
          <p:cNvGrpSpPr/>
          <p:nvPr userDrawn="1"/>
        </p:nvGrpSpPr>
        <p:grpSpPr>
          <a:xfrm>
            <a:off x="9521834" y="1042272"/>
            <a:ext cx="2617883" cy="121252"/>
            <a:chOff x="12352022" y="513115"/>
            <a:chExt cx="2617883" cy="161669"/>
          </a:xfrm>
        </p:grpSpPr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7BC9D9FD-67BD-FB47-8182-C2E4CCB01CA9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12352022" y="538142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375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1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5C58E318-D8E3-D542-BEA7-9E8EF8674240}"/>
                </a:ext>
              </a:extLst>
            </p:cNvPr>
            <p:cNvSpPr txBox="1"/>
            <p:nvPr userDrawn="1"/>
          </p:nvSpPr>
          <p:spPr>
            <a:xfrm>
              <a:off x="12516615" y="513115"/>
              <a:ext cx="2453290" cy="16166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sz="788"/>
                <a:t>Chart Title</a:t>
              </a: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5616D80C-A2C8-7A41-97B1-0131E7C240B3}"/>
              </a:ext>
            </a:extLst>
          </p:cNvPr>
          <p:cNvGrpSpPr/>
          <p:nvPr userDrawn="1"/>
        </p:nvGrpSpPr>
        <p:grpSpPr>
          <a:xfrm>
            <a:off x="9521834" y="1675483"/>
            <a:ext cx="2617883" cy="121252"/>
            <a:chOff x="12352022" y="513115"/>
            <a:chExt cx="2617883" cy="161669"/>
          </a:xfrm>
        </p:grpSpPr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F96FB928-F772-BE46-A91F-588D2B103C8E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12352022" y="538142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375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2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57CCCD1E-0E8A-7F4E-8102-CB018E6B6E8F}"/>
                </a:ext>
              </a:extLst>
            </p:cNvPr>
            <p:cNvSpPr txBox="1"/>
            <p:nvPr userDrawn="1"/>
          </p:nvSpPr>
          <p:spPr>
            <a:xfrm>
              <a:off x="12516615" y="513115"/>
              <a:ext cx="2453290" cy="16166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sz="788"/>
                <a:t>Callout Box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30AAE65-D135-5F4E-A8FA-538A1821D4A0}"/>
              </a:ext>
            </a:extLst>
          </p:cNvPr>
          <p:cNvGrpSpPr/>
          <p:nvPr userDrawn="1"/>
        </p:nvGrpSpPr>
        <p:grpSpPr>
          <a:xfrm>
            <a:off x="9521834" y="2626667"/>
            <a:ext cx="2754815" cy="3617254"/>
            <a:chOff x="9521833" y="3656659"/>
            <a:chExt cx="2754815" cy="4823005"/>
          </a:xfrm>
        </p:grpSpPr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FF00C3E3-3773-C749-A347-050E2BBEB510}"/>
                </a:ext>
              </a:extLst>
            </p:cNvPr>
            <p:cNvGrpSpPr/>
            <p:nvPr userDrawn="1"/>
          </p:nvGrpSpPr>
          <p:grpSpPr>
            <a:xfrm>
              <a:off x="9521833" y="7405388"/>
              <a:ext cx="2676002" cy="1074276"/>
              <a:chOff x="9521833" y="2036288"/>
              <a:chExt cx="2676002" cy="1074276"/>
            </a:xfrm>
          </p:grpSpPr>
          <p:sp>
            <p:nvSpPr>
              <p:cNvPr id="94" name="TextBox 93">
                <a:extLst>
                  <a:ext uri="{FF2B5EF4-FFF2-40B4-BE49-F238E27FC236}">
                    <a16:creationId xmlns:a16="http://schemas.microsoft.com/office/drawing/2014/main" id="{82CAC38A-6253-2D46-A9C1-302180EED363}"/>
                  </a:ext>
                </a:extLst>
              </p:cNvPr>
              <p:cNvSpPr txBox="1"/>
              <p:nvPr userDrawn="1"/>
            </p:nvSpPr>
            <p:spPr>
              <a:xfrm>
                <a:off x="9558507" y="2036288"/>
                <a:ext cx="993862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sz="825">
                    <a:solidFill>
                      <a:schemeClr val="bg1"/>
                    </a:solidFill>
                  </a:rPr>
                  <a:t>ADD A NEW CHART</a:t>
                </a:r>
              </a:p>
            </p:txBody>
          </p: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AD2B3722-E54B-F241-BF5C-4E06D9858D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558507" y="223890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96" name="Group 95">
                <a:extLst>
                  <a:ext uri="{FF2B5EF4-FFF2-40B4-BE49-F238E27FC236}">
                    <a16:creationId xmlns:a16="http://schemas.microsoft.com/office/drawing/2014/main" id="{DE6DD331-B8FF-724A-88A0-EDAB740240BC}"/>
                  </a:ext>
                </a:extLst>
              </p:cNvPr>
              <p:cNvGrpSpPr/>
              <p:nvPr userDrawn="1"/>
            </p:nvGrpSpPr>
            <p:grpSpPr>
              <a:xfrm>
                <a:off x="9521833" y="2361408"/>
                <a:ext cx="2557391" cy="323337"/>
                <a:chOff x="12352022" y="513115"/>
                <a:chExt cx="2557391" cy="323337"/>
              </a:xfrm>
            </p:grpSpPr>
            <p:sp>
              <p:nvSpPr>
                <p:cNvPr id="98" name="TextBox 97">
                  <a:extLst>
                    <a:ext uri="{FF2B5EF4-FFF2-40B4-BE49-F238E27FC236}">
                      <a16:creationId xmlns:a16="http://schemas.microsoft.com/office/drawing/2014/main" id="{01BD870A-BDFF-AD42-9F9F-680AB538E99D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375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99" name="TextBox 98">
                  <a:extLst>
                    <a:ext uri="{FF2B5EF4-FFF2-40B4-BE49-F238E27FC236}">
                      <a16:creationId xmlns:a16="http://schemas.microsoft.com/office/drawing/2014/main" id="{D46E1157-8158-3D41-83D2-9C0A0041030B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392798" cy="32333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sz="788"/>
                    <a:t>Open the </a:t>
                  </a:r>
                  <a:r>
                    <a:rPr lang="en-US" sz="788" b="1"/>
                    <a:t>VEDP Template Assets file </a:t>
                  </a:r>
                  <a:r>
                    <a:rPr lang="en-US" sz="788"/>
                    <a:t>and copy the desired chart type into your presentation.</a:t>
                  </a:r>
                </a:p>
              </p:txBody>
            </p:sp>
          </p:grpSp>
          <p:sp>
            <p:nvSpPr>
              <p:cNvPr id="97" name="TextBox 96">
                <a:extLst>
                  <a:ext uri="{FF2B5EF4-FFF2-40B4-BE49-F238E27FC236}">
                    <a16:creationId xmlns:a16="http://schemas.microsoft.com/office/drawing/2014/main" id="{C12B8CA1-E11D-D840-A89D-9BDC9316EDA6}"/>
                  </a:ext>
                </a:extLst>
              </p:cNvPr>
              <p:cNvSpPr txBox="1"/>
              <p:nvPr userDrawn="1"/>
            </p:nvSpPr>
            <p:spPr>
              <a:xfrm>
                <a:off x="9686426" y="2895120"/>
                <a:ext cx="2120429" cy="21544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/>
                  <a:t>These samples slide have further instructions and have been set up so you can easily edit the data.</a:t>
                </a:r>
              </a:p>
            </p:txBody>
          </p:sp>
        </p:grp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19F3EA98-82D3-ED4F-B900-49458C4A36FA}"/>
                </a:ext>
              </a:extLst>
            </p:cNvPr>
            <p:cNvSpPr txBox="1"/>
            <p:nvPr userDrawn="1"/>
          </p:nvSpPr>
          <p:spPr>
            <a:xfrm>
              <a:off x="9558507" y="3656659"/>
              <a:ext cx="1537280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sz="825">
                  <a:solidFill>
                    <a:schemeClr val="bg1"/>
                  </a:solidFill>
                </a:rPr>
                <a:t>FORMAT AN EXISTING CHART</a:t>
              </a:r>
            </a:p>
          </p:txBody>
        </p: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30A1EA8F-07DE-014F-AA10-6C9333AAD7A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3859276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1807A3DB-B170-C543-827E-1797D79B35BD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9521833" y="4006806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375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1</a:t>
              </a: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21F6557E-4825-E045-B871-0D127A0BFF5B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9521833" y="4733856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375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2</a:t>
              </a: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A11A289F-F032-6D42-A3A4-E7A6C9F596ED}"/>
                </a:ext>
              </a:extLst>
            </p:cNvPr>
            <p:cNvSpPr txBox="1"/>
            <p:nvPr userDrawn="1"/>
          </p:nvSpPr>
          <p:spPr>
            <a:xfrm>
              <a:off x="9686426" y="3981779"/>
              <a:ext cx="2453290" cy="32333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sz="788"/>
                <a:t>Select the chart placeholder and then paste your existing chart.</a:t>
              </a: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56CC7998-FBBA-984A-B3BB-B8422CBF5A84}"/>
                </a:ext>
              </a:extLst>
            </p:cNvPr>
            <p:cNvSpPr txBox="1"/>
            <p:nvPr userDrawn="1"/>
          </p:nvSpPr>
          <p:spPr>
            <a:xfrm>
              <a:off x="9686426" y="4710986"/>
              <a:ext cx="2453290" cy="32333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sz="788"/>
                <a:t>Right-click on the chart and choose “Change Chart Type…”</a:t>
              </a: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18527B35-9EDF-3247-A18C-B5CEAF526738}"/>
                </a:ext>
              </a:extLst>
            </p:cNvPr>
            <p:cNvSpPr txBox="1">
              <a:spLocks noChangeAspect="1"/>
            </p:cNvSpPr>
            <p:nvPr userDrawn="1"/>
          </p:nvSpPr>
          <p:spPr>
            <a:xfrm>
              <a:off x="9521833" y="5196846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375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3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26539DAF-BEC6-744B-B400-8FA0A0079295}"/>
                </a:ext>
              </a:extLst>
            </p:cNvPr>
            <p:cNvSpPr txBox="1"/>
            <p:nvPr userDrawn="1"/>
          </p:nvSpPr>
          <p:spPr>
            <a:xfrm>
              <a:off x="9686426" y="5173975"/>
              <a:ext cx="2453290" cy="32333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sz="788"/>
                <a:t>Choose one of the VEDP chart styles from the ‘Templates’ category.</a:t>
              </a: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85DB54E3-20CB-F84D-BA87-AE6461071775}"/>
                </a:ext>
              </a:extLst>
            </p:cNvPr>
            <p:cNvSpPr txBox="1"/>
            <p:nvPr userDrawn="1"/>
          </p:nvSpPr>
          <p:spPr>
            <a:xfrm>
              <a:off x="9674268" y="4345002"/>
              <a:ext cx="2297650" cy="215444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525"/>
                <a:t>Note: Make sure that you have access to any linked files, or you won’t be able to apply the chart style successfully.</a:t>
              </a:r>
            </a:p>
          </p:txBody>
        </p: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FF601E2C-20C4-8448-BDCB-09817050A9EF}"/>
                </a:ext>
              </a:extLst>
            </p:cNvPr>
            <p:cNvGrpSpPr/>
            <p:nvPr userDrawn="1"/>
          </p:nvGrpSpPr>
          <p:grpSpPr>
            <a:xfrm>
              <a:off x="9541497" y="5668564"/>
              <a:ext cx="2735151" cy="1538827"/>
              <a:chOff x="9296567" y="4910411"/>
              <a:chExt cx="2735151" cy="1538827"/>
            </a:xfrm>
          </p:grpSpPr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10D997EE-0253-9948-A6ED-E7D0D161D2C0}"/>
                  </a:ext>
                </a:extLst>
              </p:cNvPr>
              <p:cNvSpPr/>
              <p:nvPr userDrawn="1"/>
            </p:nvSpPr>
            <p:spPr>
              <a:xfrm>
                <a:off x="9296567" y="4910411"/>
                <a:ext cx="2735151" cy="1538827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697CF5BD-F20F-DE4A-92B5-C2CEBD4ED538}"/>
                  </a:ext>
                </a:extLst>
              </p:cNvPr>
              <p:cNvSpPr txBox="1"/>
              <p:nvPr userDrawn="1"/>
            </p:nvSpPr>
            <p:spPr>
              <a:xfrm>
                <a:off x="9662758" y="5039211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Re-apply chart style</a:t>
                </a:r>
              </a:p>
            </p:txBody>
          </p:sp>
          <p:pic>
            <p:nvPicPr>
              <p:cNvPr id="90" name="Graphic 89">
                <a:extLst>
                  <a:ext uri="{FF2B5EF4-FFF2-40B4-BE49-F238E27FC236}">
                    <a16:creationId xmlns:a16="http://schemas.microsoft.com/office/drawing/2014/main" id="{8F021B2D-63E0-7348-9C34-06C74EB29FA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9456790" y="5049494"/>
                <a:ext cx="155227" cy="155227"/>
              </a:xfrm>
              <a:prstGeom prst="rect">
                <a:avLst/>
              </a:prstGeom>
            </p:spPr>
          </p:pic>
          <p:sp>
            <p:nvSpPr>
              <p:cNvPr id="91" name="TextBox 90">
                <a:extLst>
                  <a:ext uri="{FF2B5EF4-FFF2-40B4-BE49-F238E27FC236}">
                    <a16:creationId xmlns:a16="http://schemas.microsoft.com/office/drawing/2014/main" id="{547D6D74-E159-4349-960D-F7C54F8A34D8}"/>
                  </a:ext>
                </a:extLst>
              </p:cNvPr>
              <p:cNvSpPr txBox="1"/>
              <p:nvPr userDrawn="1"/>
            </p:nvSpPr>
            <p:spPr>
              <a:xfrm>
                <a:off x="9471805" y="5300350"/>
                <a:ext cx="2399065" cy="1037891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spcBef>
                    <a:spcPts val="200"/>
                  </a:spcBef>
                  <a:defRPr sz="9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49225" lvl="1" indent="-149225">
                  <a:spcBef>
                    <a:spcPts val="200"/>
                  </a:spcBef>
                  <a:spcAft>
                    <a:spcPts val="0"/>
                  </a:spcAft>
                  <a:defRPr sz="9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</a:lstStyle>
              <a:p>
                <a:r>
                  <a:rPr lang="en-US" sz="675"/>
                  <a:t>In case of error, return legend entries, data labels, and/or chart formatting by re-applying the current VEDP chart style template.</a:t>
                </a:r>
              </a:p>
              <a:p>
                <a:pPr lvl="1"/>
                <a:r>
                  <a:rPr lang="en-US" sz="675"/>
                  <a:t>Right-click the chart and choose</a:t>
                </a:r>
                <a:br>
                  <a:rPr lang="en-US" sz="675"/>
                </a:br>
                <a:r>
                  <a:rPr lang="en-US" sz="675"/>
                  <a:t>“Change Chart Type”</a:t>
                </a:r>
              </a:p>
              <a:p>
                <a:pPr lvl="1"/>
                <a:r>
                  <a:rPr lang="en-US" sz="675"/>
                  <a:t>Then choose the matching VEDP chart style from the ‘Templates’ category.</a:t>
                </a:r>
              </a:p>
            </p:txBody>
          </p:sp>
        </p:grpSp>
      </p:grpSp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C9A997CF-9195-6143-A783-C6007CE38DB9}"/>
              </a:ext>
            </a:extLst>
          </p:cNvPr>
          <p:cNvSpPr>
            <a:spLocks noGrp="1"/>
          </p:cNvSpPr>
          <p:nvPr>
            <p:ph type="dt" sz="half" idx="1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7816C2B4-6EA9-7D40-A112-32D7F9DB85D9}"/>
              </a:ext>
            </a:extLst>
          </p:cNvPr>
          <p:cNvSpPr>
            <a:spLocks noGrp="1"/>
          </p:cNvSpPr>
          <p:nvPr>
            <p:ph type="ftr" sz="quarter" idx="1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6C8A9A10-E846-7A4E-B2F3-E64EB163031D}"/>
              </a:ext>
            </a:extLst>
          </p:cNvPr>
          <p:cNvSpPr>
            <a:spLocks noGrp="1"/>
          </p:cNvSpPr>
          <p:nvPr>
            <p:ph type="sldNum" sz="quarter" idx="118"/>
          </p:nvPr>
        </p:nvSpPr>
        <p:spPr/>
        <p:txBody>
          <a:bodyPr/>
          <a:lstStyle/>
          <a:p>
            <a:pPr marL="9525"/>
            <a:fld id="{078C017C-E1B9-8443-B047-B08AAA027B45}" type="slidenum">
              <a:rPr lang="en-US" smtClean="0"/>
              <a:pPr marL="9525"/>
              <a:t>‹#›</a:t>
            </a:fld>
            <a:endParaRPr lang="en-US"/>
          </a:p>
        </p:txBody>
      </p:sp>
      <p:pic>
        <p:nvPicPr>
          <p:cNvPr id="104" name="Picture 103">
            <a:extLst>
              <a:ext uri="{FF2B5EF4-FFF2-40B4-BE49-F238E27FC236}">
                <a16:creationId xmlns:a16="http://schemas.microsoft.com/office/drawing/2014/main" id="{E76FC806-1745-034B-9D8A-1CAFCD9FE3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r="36104"/>
          <a:stretch/>
        </p:blipFill>
        <p:spPr>
          <a:xfrm>
            <a:off x="9558498" y="1207659"/>
            <a:ext cx="2639329" cy="391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758550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hoto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A3E7C59C-7AB2-FD4B-9D3E-CA7E0D8CB2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Slide TITLE. ALL CAPS. TWO LINES max.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F7232953-10D7-9346-B58D-EA3D767D05C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31784" y="925231"/>
            <a:ext cx="3941999" cy="1601037"/>
          </a:xfrm>
          <a:solidFill>
            <a:schemeClr val="accent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hoto</a:t>
            </a: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5852B5E0-86AD-3749-B882-594E0C76181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70778" y="925116"/>
            <a:ext cx="3941422" cy="1601204"/>
          </a:xfrm>
          <a:solidFill>
            <a:schemeClr val="accent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hoto</a:t>
            </a: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D753A27-0B53-3B44-A318-323612277CF2}"/>
              </a:ext>
            </a:extLst>
          </p:cNvPr>
          <p:cNvCxnSpPr>
            <a:cxnSpLocks/>
          </p:cNvCxnSpPr>
          <p:nvPr userDrawn="1"/>
        </p:nvCxnSpPr>
        <p:spPr>
          <a:xfrm>
            <a:off x="4572000" y="925116"/>
            <a:ext cx="0" cy="3699272"/>
          </a:xfrm>
          <a:prstGeom prst="line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0" name="Caption">
            <a:extLst>
              <a:ext uri="{FF2B5EF4-FFF2-40B4-BE49-F238E27FC236}">
                <a16:creationId xmlns:a16="http://schemas.microsoft.com/office/drawing/2014/main" id="{CF4AE758-84F6-C54D-A7DE-052D01982D22}"/>
              </a:ext>
            </a:extLst>
          </p:cNvPr>
          <p:cNvSpPr>
            <a:spLocks noGrp="1"/>
          </p:cNvSpPr>
          <p:nvPr>
            <p:ph type="body" sz="quarter" idx="500" hasCustomPrompt="1"/>
          </p:nvPr>
        </p:nvSpPr>
        <p:spPr>
          <a:xfrm>
            <a:off x="431225" y="1976130"/>
            <a:ext cx="3941998" cy="550190"/>
          </a:xfrm>
          <a:gradFill>
            <a:gsLst>
              <a:gs pos="0">
                <a:schemeClr val="tx2">
                  <a:alpha val="0"/>
                </a:schemeClr>
              </a:gs>
              <a:gs pos="100000">
                <a:schemeClr val="tx1">
                  <a:alpha val="67000"/>
                </a:schemeClr>
              </a:gs>
            </a:gsLst>
            <a:lin ang="5400000" scaled="1"/>
          </a:gradFill>
          <a:effectLst/>
        </p:spPr>
        <p:txBody>
          <a:bodyPr wrap="square" tIns="0" rIns="180000" bIns="180000" anchor="b">
            <a:noAutofit/>
          </a:bodyPr>
          <a:lstStyle>
            <a:lvl1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 b="0">
                <a:solidFill>
                  <a:schemeClr val="bg1"/>
                </a:solidFill>
                <a:effectLst/>
              </a:defRPr>
            </a:lvl1pPr>
            <a:lvl2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2pPr>
            <a:lvl3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3pPr>
            <a:lvl4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4pPr>
            <a:lvl5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5pPr>
            <a:lvl6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6pPr>
            <a:lvl7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7pPr>
            <a:lvl8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8pPr>
            <a:lvl9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photo caption</a:t>
            </a:r>
          </a:p>
        </p:txBody>
      </p:sp>
      <p:sp>
        <p:nvSpPr>
          <p:cNvPr id="502" name="Caption 2">
            <a:extLst>
              <a:ext uri="{FF2B5EF4-FFF2-40B4-BE49-F238E27FC236}">
                <a16:creationId xmlns:a16="http://schemas.microsoft.com/office/drawing/2014/main" id="{AC269ED5-A2B1-6A4F-BE9E-2525E65191C5}"/>
              </a:ext>
            </a:extLst>
          </p:cNvPr>
          <p:cNvSpPr>
            <a:spLocks noGrp="1"/>
          </p:cNvSpPr>
          <p:nvPr>
            <p:ph type="body" sz="quarter" idx="502" hasCustomPrompt="1"/>
          </p:nvPr>
        </p:nvSpPr>
        <p:spPr>
          <a:xfrm>
            <a:off x="4770202" y="1976130"/>
            <a:ext cx="3941998" cy="550190"/>
          </a:xfrm>
          <a:gradFill>
            <a:gsLst>
              <a:gs pos="0">
                <a:schemeClr val="tx2">
                  <a:alpha val="0"/>
                </a:schemeClr>
              </a:gs>
              <a:gs pos="100000">
                <a:schemeClr val="tx1">
                  <a:alpha val="67000"/>
                </a:schemeClr>
              </a:gs>
            </a:gsLst>
            <a:lin ang="5400000" scaled="1"/>
          </a:gradFill>
          <a:effectLst/>
        </p:spPr>
        <p:txBody>
          <a:bodyPr wrap="square" tIns="0" rIns="180000" bIns="180000" anchor="b">
            <a:noAutofit/>
          </a:bodyPr>
          <a:lstStyle>
            <a:lvl1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 b="0">
                <a:solidFill>
                  <a:schemeClr val="bg1"/>
                </a:solidFill>
                <a:effectLst/>
              </a:defRPr>
            </a:lvl1pPr>
            <a:lvl2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2pPr>
            <a:lvl3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3pPr>
            <a:lvl4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4pPr>
            <a:lvl5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5pPr>
            <a:lvl6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6pPr>
            <a:lvl7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7pPr>
            <a:lvl8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8pPr>
            <a:lvl9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photo caption</a:t>
            </a:r>
          </a:p>
        </p:txBody>
      </p:sp>
      <p:sp>
        <p:nvSpPr>
          <p:cNvPr id="499" name="Text Placeholder 1">
            <a:extLst>
              <a:ext uri="{FF2B5EF4-FFF2-40B4-BE49-F238E27FC236}">
                <a16:creationId xmlns:a16="http://schemas.microsoft.com/office/drawing/2014/main" id="{41B64066-3F3A-DB41-BCF0-E80DA5C45921}"/>
              </a:ext>
            </a:extLst>
          </p:cNvPr>
          <p:cNvSpPr>
            <a:spLocks noGrp="1"/>
          </p:cNvSpPr>
          <p:nvPr>
            <p:ph type="body" sz="quarter" idx="499"/>
          </p:nvPr>
        </p:nvSpPr>
        <p:spPr>
          <a:xfrm>
            <a:off x="431801" y="2651637"/>
            <a:ext cx="3941763" cy="19727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01" name="Text Placeholder 2">
            <a:extLst>
              <a:ext uri="{FF2B5EF4-FFF2-40B4-BE49-F238E27FC236}">
                <a16:creationId xmlns:a16="http://schemas.microsoft.com/office/drawing/2014/main" id="{260EFF75-E658-614B-A491-3B51B67CB5AB}"/>
              </a:ext>
            </a:extLst>
          </p:cNvPr>
          <p:cNvSpPr>
            <a:spLocks noGrp="1"/>
          </p:cNvSpPr>
          <p:nvPr>
            <p:ph type="body" sz="quarter" idx="501"/>
          </p:nvPr>
        </p:nvSpPr>
        <p:spPr>
          <a:xfrm>
            <a:off x="4770438" y="2651637"/>
            <a:ext cx="3941763" cy="19727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C2462BB1-A914-C04A-8D72-3148BA19C440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800" y="4650581"/>
            <a:ext cx="7440613" cy="379131"/>
          </a:xfrm>
        </p:spPr>
        <p:txBody>
          <a:bodyPr bIns="0" anchor="b"/>
          <a:lstStyle>
            <a:lvl1pPr marL="4763" indent="-1191">
              <a:spcBef>
                <a:spcPts val="56"/>
              </a:spcBef>
              <a:spcAft>
                <a:spcPts val="56"/>
              </a:spcAft>
              <a:buSzPct val="100000"/>
              <a:buFontTx/>
              <a:buNone/>
              <a:tabLst/>
              <a:defRPr sz="825" b="0">
                <a:solidFill>
                  <a:schemeClr val="tx1"/>
                </a:solidFill>
              </a:defRPr>
            </a:lvl1pPr>
            <a:lvl2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¹"/>
              <a:tabLst/>
              <a:defRPr sz="825" b="0" i="0">
                <a:solidFill>
                  <a:schemeClr val="tx1"/>
                </a:solidFill>
              </a:defRPr>
            </a:lvl2pPr>
            <a:lvl3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²"/>
              <a:tabLst/>
              <a:defRPr sz="825">
                <a:solidFill>
                  <a:schemeClr val="tx1"/>
                </a:solidFill>
              </a:defRPr>
            </a:lvl3pPr>
            <a:lvl4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³"/>
              <a:tabLst/>
              <a:defRPr sz="825">
                <a:solidFill>
                  <a:schemeClr val="tx1"/>
                </a:solidFill>
              </a:defRPr>
            </a:lvl4pPr>
            <a:lvl5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⁴"/>
              <a:tabLst/>
              <a:defRPr sz="825">
                <a:solidFill>
                  <a:schemeClr val="tx1"/>
                </a:solidFill>
              </a:defRPr>
            </a:lvl5pPr>
            <a:lvl6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⁵"/>
              <a:tabLst/>
              <a:defRPr sz="825">
                <a:solidFill>
                  <a:schemeClr val="tx1"/>
                </a:solidFill>
              </a:defRPr>
            </a:lvl6pPr>
            <a:lvl7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⁶"/>
              <a:tabLst/>
              <a:defRPr sz="825">
                <a:solidFill>
                  <a:schemeClr val="tx1"/>
                </a:solidFill>
              </a:defRPr>
            </a:lvl7pPr>
            <a:lvl8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⁷"/>
              <a:tabLst/>
              <a:defRPr sz="825">
                <a:solidFill>
                  <a:schemeClr val="tx1"/>
                </a:solidFill>
              </a:defRPr>
            </a:lvl8pPr>
            <a:lvl9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⁸"/>
              <a:tabLst/>
              <a:defRPr sz="825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/>
              <a:t>Footnotes – Levels 2-9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60B3C8A-5655-8B44-8713-F8E0DC8EB268}"/>
              </a:ext>
            </a:extLst>
          </p:cNvPr>
          <p:cNvSpPr>
            <a:spLocks noGrp="1"/>
          </p:cNvSpPr>
          <p:nvPr userDrawn="1">
            <p:ph type="dt" sz="half" idx="1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A55FF92-D07E-284C-BB1E-EFB0F62B0728}"/>
              </a:ext>
            </a:extLst>
          </p:cNvPr>
          <p:cNvSpPr>
            <a:spLocks noGrp="1"/>
          </p:cNvSpPr>
          <p:nvPr userDrawn="1">
            <p:ph type="ftr" sz="quarter" idx="1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25CB6C4-3F83-8C46-9B51-1523B5214FBC}"/>
              </a:ext>
            </a:extLst>
          </p:cNvPr>
          <p:cNvSpPr>
            <a:spLocks noGrp="1"/>
          </p:cNvSpPr>
          <p:nvPr userDrawn="1">
            <p:ph type="sldNum" sz="quarter" idx="114"/>
          </p:nvPr>
        </p:nvSpPr>
        <p:spPr/>
        <p:txBody>
          <a:bodyPr/>
          <a:lstStyle/>
          <a:p>
            <a:pPr marL="9525"/>
            <a:fld id="{078C017C-E1B9-8443-B047-B08AAA027B45}" type="slidenum">
              <a:rPr lang="en-US" smtClean="0"/>
              <a:pPr marL="9525"/>
              <a:t>‹#›</a:t>
            </a:fld>
            <a:endParaRPr lang="en-US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5DD4673-07D8-2F47-AE16-41FB7DB1F691}"/>
              </a:ext>
            </a:extLst>
          </p:cNvPr>
          <p:cNvGrpSpPr/>
          <p:nvPr userDrawn="1"/>
        </p:nvGrpSpPr>
        <p:grpSpPr>
          <a:xfrm>
            <a:off x="9399182" y="-1"/>
            <a:ext cx="2974470" cy="7327054"/>
            <a:chOff x="9399182" y="-2"/>
            <a:chExt cx="2974470" cy="9769405"/>
          </a:xfrm>
        </p:grpSpPr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1EB07126-E360-1041-9164-DD8BA167A8AB}"/>
                </a:ext>
              </a:extLst>
            </p:cNvPr>
            <p:cNvSpPr/>
            <p:nvPr userDrawn="1"/>
          </p:nvSpPr>
          <p:spPr>
            <a:xfrm>
              <a:off x="9399182" y="-2"/>
              <a:ext cx="2798651" cy="965503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050"/>
            </a:p>
          </p:txBody>
        </p:sp>
        <p:pic>
          <p:nvPicPr>
            <p:cNvPr id="58" name="Picture 57">
              <a:extLst>
                <a:ext uri="{FF2B5EF4-FFF2-40B4-BE49-F238E27FC236}">
                  <a16:creationId xmlns:a16="http://schemas.microsoft.com/office/drawing/2014/main" id="{6821E402-D350-E444-8856-CC46A758A65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41694"/>
            <a:stretch/>
          </p:blipFill>
          <p:spPr>
            <a:xfrm>
              <a:off x="9558506" y="1322104"/>
              <a:ext cx="2639328" cy="995540"/>
            </a:xfrm>
            <a:prstGeom prst="rect">
              <a:avLst/>
            </a:prstGeom>
          </p:spPr>
        </p:pic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66715B48-D70E-A34F-8B62-E282410AAC7D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87" name="Rectangle 86">
                <a:extLst>
                  <a:ext uri="{FF2B5EF4-FFF2-40B4-BE49-F238E27FC236}">
                    <a16:creationId xmlns:a16="http://schemas.microsoft.com/office/drawing/2014/main" id="{258C8417-A50B-8A40-AAC7-69B29D878C19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88" name="TextBox 87">
                <a:extLst>
                  <a:ext uri="{FF2B5EF4-FFF2-40B4-BE49-F238E27FC236}">
                    <a16:creationId xmlns:a16="http://schemas.microsoft.com/office/drawing/2014/main" id="{D5350C49-A777-6241-98F9-3A4F555D085D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89" name="Picture 88">
                <a:extLst>
                  <a:ext uri="{FF2B5EF4-FFF2-40B4-BE49-F238E27FC236}">
                    <a16:creationId xmlns:a16="http://schemas.microsoft.com/office/drawing/2014/main" id="{6602266A-7721-2749-BEF8-F0041AD01BC9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CA2A2AE4-DD6D-8844-B557-F45A9D1F1E5E}"/>
                </a:ext>
              </a:extLst>
            </p:cNvPr>
            <p:cNvGrpSpPr/>
            <p:nvPr userDrawn="1"/>
          </p:nvGrpSpPr>
          <p:grpSpPr>
            <a:xfrm>
              <a:off x="9521833" y="3755578"/>
              <a:ext cx="2754815" cy="6013825"/>
              <a:chOff x="9521833" y="2566288"/>
              <a:chExt cx="2754815" cy="6013825"/>
            </a:xfrm>
          </p:grpSpPr>
          <p:sp>
            <p:nvSpPr>
              <p:cNvPr id="63" name="TextBox 62">
                <a:extLst>
                  <a:ext uri="{FF2B5EF4-FFF2-40B4-BE49-F238E27FC236}">
                    <a16:creationId xmlns:a16="http://schemas.microsoft.com/office/drawing/2014/main" id="{399905FA-4468-DE44-8356-F030E128DE0E}"/>
                  </a:ext>
                </a:extLst>
              </p:cNvPr>
              <p:cNvSpPr txBox="1"/>
              <p:nvPr userDrawn="1"/>
            </p:nvSpPr>
            <p:spPr>
              <a:xfrm>
                <a:off x="9558507" y="2566288"/>
                <a:ext cx="1231106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sz="825">
                    <a:solidFill>
                      <a:schemeClr val="bg1"/>
                    </a:solidFill>
                  </a:rPr>
                  <a:t>HOW TO ADD AN IMAGE</a:t>
                </a:r>
              </a:p>
            </p:txBody>
          </p:sp>
          <p:cxnSp>
            <p:nvCxnSpPr>
              <p:cNvPr id="64" name="Straight Connector 63">
                <a:extLst>
                  <a:ext uri="{FF2B5EF4-FFF2-40B4-BE49-F238E27FC236}">
                    <a16:creationId xmlns:a16="http://schemas.microsoft.com/office/drawing/2014/main" id="{EEB7F7FC-6FB7-6B48-A4C7-1784FFA3B47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558507" y="276890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CFB53592-0368-5E42-BA03-98211B0977AE}"/>
                  </a:ext>
                </a:extLst>
              </p:cNvPr>
              <p:cNvSpPr txBox="1"/>
              <p:nvPr userDrawn="1"/>
            </p:nvSpPr>
            <p:spPr>
              <a:xfrm>
                <a:off x="9686426" y="3627215"/>
                <a:ext cx="2297338" cy="28913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 b="1"/>
                  <a:t>Method 1: </a:t>
                </a:r>
                <a:r>
                  <a:rPr lang="en-US" sz="450" b="0"/>
                  <a:t>from file browser</a:t>
                </a:r>
              </a:p>
              <a:p>
                <a:pPr lvl="1">
                  <a:buNone/>
                </a:pPr>
                <a:r>
                  <a:rPr lang="en-US" sz="788"/>
                  <a:t>Drag the image onto the slide.</a:t>
                </a:r>
              </a:p>
            </p:txBody>
          </p:sp>
          <p:grpSp>
            <p:nvGrpSpPr>
              <p:cNvPr id="66" name="Group 65">
                <a:extLst>
                  <a:ext uri="{FF2B5EF4-FFF2-40B4-BE49-F238E27FC236}">
                    <a16:creationId xmlns:a16="http://schemas.microsoft.com/office/drawing/2014/main" id="{70D6C76B-0CBD-8541-947F-B20A36C671CF}"/>
                  </a:ext>
                </a:extLst>
              </p:cNvPr>
              <p:cNvGrpSpPr/>
              <p:nvPr userDrawn="1"/>
            </p:nvGrpSpPr>
            <p:grpSpPr>
              <a:xfrm>
                <a:off x="9541497" y="7168798"/>
                <a:ext cx="2735151" cy="1411315"/>
                <a:chOff x="9296567" y="4910411"/>
                <a:chExt cx="2735151" cy="1411315"/>
              </a:xfrm>
            </p:grpSpPr>
            <p:sp>
              <p:nvSpPr>
                <p:cNvPr id="81" name="Rectangle 80">
                  <a:extLst>
                    <a:ext uri="{FF2B5EF4-FFF2-40B4-BE49-F238E27FC236}">
                      <a16:creationId xmlns:a16="http://schemas.microsoft.com/office/drawing/2014/main" id="{7B060E3F-3460-1340-A955-A0E0058CA96A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141131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  <p:sp>
              <p:nvSpPr>
                <p:cNvPr id="82" name="TextBox 81">
                  <a:extLst>
                    <a:ext uri="{FF2B5EF4-FFF2-40B4-BE49-F238E27FC236}">
                      <a16:creationId xmlns:a16="http://schemas.microsoft.com/office/drawing/2014/main" id="{CF89F7B0-F650-8844-A28B-9665EB78F563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8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hange Image</a:t>
                  </a:r>
                </a:p>
              </p:txBody>
            </p:sp>
            <p:pic>
              <p:nvPicPr>
                <p:cNvPr id="83" name="Graphic 82">
                  <a:extLst>
                    <a:ext uri="{FF2B5EF4-FFF2-40B4-BE49-F238E27FC236}">
                      <a16:creationId xmlns:a16="http://schemas.microsoft.com/office/drawing/2014/main" id="{AC2297FF-4363-464B-AD47-EFF94E8CC136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84" name="TextBox 83">
                  <a:extLst>
                    <a:ext uri="{FF2B5EF4-FFF2-40B4-BE49-F238E27FC236}">
                      <a16:creationId xmlns:a16="http://schemas.microsoft.com/office/drawing/2014/main" id="{ECD7ABCD-E747-9145-B364-C6EE6679ED8D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619194"/>
                  <a:ext cx="2422981" cy="37394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01204" lvl="1" indent="-98822" algn="l" defTabSz="6858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225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Deleting the image may bring the image placeholder to the top layer. Right-click on the placeholder and choose “Send to Back”.</a:t>
                  </a:r>
                </a:p>
              </p:txBody>
            </p:sp>
            <p:sp>
              <p:nvSpPr>
                <p:cNvPr id="85" name="TextBox 84">
                  <a:extLst>
                    <a:ext uri="{FF2B5EF4-FFF2-40B4-BE49-F238E27FC236}">
                      <a16:creationId xmlns:a16="http://schemas.microsoft.com/office/drawing/2014/main" id="{9D2EDEA1-AFD7-8144-9BFE-E95C524E5D81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300350"/>
                  <a:ext cx="2422981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685800" rtl="0" eaLnBrk="1" latinLnBrk="0" hangingPunct="1">
                    <a:spcBef>
                      <a:spcPts val="150"/>
                    </a:spcBef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First, delete the existing image to reset the photo placeholder functionality.</a:t>
                  </a:r>
                </a:p>
              </p:txBody>
            </p:sp>
            <p:sp>
              <p:nvSpPr>
                <p:cNvPr id="86" name="TextBox 85">
                  <a:extLst>
                    <a:ext uri="{FF2B5EF4-FFF2-40B4-BE49-F238E27FC236}">
                      <a16:creationId xmlns:a16="http://schemas.microsoft.com/office/drawing/2014/main" id="{5D7D6192-8EC2-3147-944F-C9990998399D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068871"/>
                  <a:ext cx="2422981" cy="138500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685800" rtl="0" eaLnBrk="1" latinLnBrk="0" hangingPunct="1">
                    <a:spcBef>
                      <a:spcPts val="150"/>
                    </a:spcBef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You can now add a new image as normal.</a:t>
                  </a:r>
                </a:p>
              </p:txBody>
            </p:sp>
          </p:grpSp>
          <p:grpSp>
            <p:nvGrpSpPr>
              <p:cNvPr id="67" name="Group 66">
                <a:extLst>
                  <a:ext uri="{FF2B5EF4-FFF2-40B4-BE49-F238E27FC236}">
                    <a16:creationId xmlns:a16="http://schemas.microsoft.com/office/drawing/2014/main" id="{07C54234-03B7-ED4C-95A6-74560FB7E24D}"/>
                  </a:ext>
                </a:extLst>
              </p:cNvPr>
              <p:cNvGrpSpPr/>
              <p:nvPr userDrawn="1"/>
            </p:nvGrpSpPr>
            <p:grpSpPr>
              <a:xfrm>
                <a:off x="9541497" y="5812142"/>
                <a:ext cx="2735151" cy="1280928"/>
                <a:chOff x="9286315" y="6976989"/>
                <a:chExt cx="2735151" cy="1280928"/>
              </a:xfrm>
            </p:grpSpPr>
            <p:sp>
              <p:nvSpPr>
                <p:cNvPr id="76" name="Rectangle 75">
                  <a:extLst>
                    <a:ext uri="{FF2B5EF4-FFF2-40B4-BE49-F238E27FC236}">
                      <a16:creationId xmlns:a16="http://schemas.microsoft.com/office/drawing/2014/main" id="{F53BB598-EA50-564F-ACB0-AF0849D9E4EA}"/>
                    </a:ext>
                  </a:extLst>
                </p:cNvPr>
                <p:cNvSpPr/>
                <p:nvPr userDrawn="1"/>
              </p:nvSpPr>
              <p:spPr>
                <a:xfrm>
                  <a:off x="9286315" y="6976989"/>
                  <a:ext cx="2735151" cy="1280928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  <p:sp>
              <p:nvSpPr>
                <p:cNvPr id="77" name="TextBox 76">
                  <a:extLst>
                    <a:ext uri="{FF2B5EF4-FFF2-40B4-BE49-F238E27FC236}">
                      <a16:creationId xmlns:a16="http://schemas.microsoft.com/office/drawing/2014/main" id="{5709B753-3BAD-BA41-9041-2E20667632BC}"/>
                    </a:ext>
                  </a:extLst>
                </p:cNvPr>
                <p:cNvSpPr txBox="1"/>
                <p:nvPr userDrawn="1"/>
              </p:nvSpPr>
              <p:spPr>
                <a:xfrm>
                  <a:off x="9652506" y="7105788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8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rop Image</a:t>
                  </a:r>
                </a:p>
              </p:txBody>
            </p:sp>
            <p:pic>
              <p:nvPicPr>
                <p:cNvPr id="78" name="Graphic 77">
                  <a:extLst>
                    <a:ext uri="{FF2B5EF4-FFF2-40B4-BE49-F238E27FC236}">
                      <a16:creationId xmlns:a16="http://schemas.microsoft.com/office/drawing/2014/main" id="{506AF462-47AB-2D41-9BC3-AFB0E9F9D827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46538" y="7116071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79" name="TextBox 78">
                  <a:extLst>
                    <a:ext uri="{FF2B5EF4-FFF2-40B4-BE49-F238E27FC236}">
                      <a16:creationId xmlns:a16="http://schemas.microsoft.com/office/drawing/2014/main" id="{9A627AE6-C7F3-334D-A34F-2BC4E58C2E95}"/>
                    </a:ext>
                  </a:extLst>
                </p:cNvPr>
                <p:cNvSpPr txBox="1"/>
                <p:nvPr userDrawn="1"/>
              </p:nvSpPr>
              <p:spPr>
                <a:xfrm>
                  <a:off x="9446538" y="7369972"/>
                  <a:ext cx="2384904" cy="777136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Right-click on the image.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Choose “Crop” from the menu. (       )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Adjust the size and position of the image.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Press Esc or click outside the image area to exit the cropping mode.</a:t>
                  </a:r>
                </a:p>
              </p:txBody>
            </p:sp>
            <p:pic>
              <p:nvPicPr>
                <p:cNvPr id="80" name="Picture 79">
                  <a:extLst>
                    <a:ext uri="{FF2B5EF4-FFF2-40B4-BE49-F238E27FC236}">
                      <a16:creationId xmlns:a16="http://schemas.microsoft.com/office/drawing/2014/main" id="{BA46C26C-A1B1-3143-B061-C7CB9671CDE2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 rotWithShape="1">
                <a:blip r:embed="rId5"/>
                <a:srcRect l="33684" t="12097" r="43371" b="20368"/>
                <a:stretch/>
              </p:blipFill>
              <p:spPr>
                <a:xfrm>
                  <a:off x="11243541" y="7454405"/>
                  <a:ext cx="136897" cy="213643"/>
                </a:xfrm>
                <a:prstGeom prst="rect">
                  <a:avLst/>
                </a:prstGeom>
                <a:ln w="19050">
                  <a:solidFill>
                    <a:schemeClr val="accent3">
                      <a:lumMod val="60000"/>
                      <a:lumOff val="40000"/>
                    </a:schemeClr>
                  </a:solidFill>
                </a:ln>
              </p:spPr>
            </p:pic>
          </p:grpSp>
          <p:grpSp>
            <p:nvGrpSpPr>
              <p:cNvPr id="68" name="Group 67">
                <a:extLst>
                  <a:ext uri="{FF2B5EF4-FFF2-40B4-BE49-F238E27FC236}">
                    <a16:creationId xmlns:a16="http://schemas.microsoft.com/office/drawing/2014/main" id="{B638C602-8F7A-FF4F-9436-99BFF634F80A}"/>
                  </a:ext>
                </a:extLst>
              </p:cNvPr>
              <p:cNvGrpSpPr/>
              <p:nvPr userDrawn="1"/>
            </p:nvGrpSpPr>
            <p:grpSpPr>
              <a:xfrm>
                <a:off x="9521833" y="2891408"/>
                <a:ext cx="2617883" cy="707288"/>
                <a:chOff x="12352022" y="513115"/>
                <a:chExt cx="2617883" cy="707288"/>
              </a:xfrm>
            </p:grpSpPr>
            <p:sp>
              <p:nvSpPr>
                <p:cNvPr id="73" name="TextBox 72">
                  <a:extLst>
                    <a:ext uri="{FF2B5EF4-FFF2-40B4-BE49-F238E27FC236}">
                      <a16:creationId xmlns:a16="http://schemas.microsoft.com/office/drawing/2014/main" id="{F5E8575C-58DF-6F4D-846B-64E64AEAD4B3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375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74" name="TextBox 73">
                  <a:extLst>
                    <a:ext uri="{FF2B5EF4-FFF2-40B4-BE49-F238E27FC236}">
                      <a16:creationId xmlns:a16="http://schemas.microsoft.com/office/drawing/2014/main" id="{7F689E54-3DDE-9146-9E71-0F9EF77EB584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1033696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375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2</a:t>
                  </a:r>
                </a:p>
              </p:txBody>
            </p:sp>
            <p:sp>
              <p:nvSpPr>
                <p:cNvPr id="75" name="TextBox 74">
                  <a:extLst>
                    <a:ext uri="{FF2B5EF4-FFF2-40B4-BE49-F238E27FC236}">
                      <a16:creationId xmlns:a16="http://schemas.microsoft.com/office/drawing/2014/main" id="{E200D3D3-053D-F342-9A67-0E660D73F76B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453290" cy="70728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sz="788"/>
                    <a:t>Select and download images from the Marketing Resource Database.</a:t>
                  </a:r>
                </a:p>
                <a:p>
                  <a:pPr lvl="0"/>
                  <a:r>
                    <a:rPr lang="en-US" sz="788"/>
                    <a:t>Add the image to the placeholder.</a:t>
                  </a:r>
                </a:p>
              </p:txBody>
            </p:sp>
          </p:grpSp>
          <p:sp>
            <p:nvSpPr>
              <p:cNvPr id="69" name="TextBox 68">
                <a:extLst>
                  <a:ext uri="{FF2B5EF4-FFF2-40B4-BE49-F238E27FC236}">
                    <a16:creationId xmlns:a16="http://schemas.microsoft.com/office/drawing/2014/main" id="{7C8EB52F-15EB-7449-9FC6-CFECD8E81D6C}"/>
                  </a:ext>
                </a:extLst>
              </p:cNvPr>
              <p:cNvSpPr txBox="1"/>
              <p:nvPr userDrawn="1"/>
            </p:nvSpPr>
            <p:spPr>
              <a:xfrm>
                <a:off x="9674267" y="3910520"/>
                <a:ext cx="2374733" cy="32316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/>
                  <a:t>Note: If there are multiple image placeholders on the slide, select the intended placeholder before dragging in the image to let PowerPoint know where you want it.</a:t>
                </a:r>
              </a:p>
            </p:txBody>
          </p:sp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56C11956-D135-0244-8935-77ECF9139C68}"/>
                  </a:ext>
                </a:extLst>
              </p:cNvPr>
              <p:cNvSpPr txBox="1"/>
              <p:nvPr userDrawn="1"/>
            </p:nvSpPr>
            <p:spPr>
              <a:xfrm>
                <a:off x="9686426" y="4325777"/>
                <a:ext cx="2297338" cy="63145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/>
                  <a:t>Method 2: </a:t>
                </a:r>
                <a:r>
                  <a:rPr lang="en-US" sz="450" b="0"/>
                  <a:t>Paste from clipboard</a:t>
                </a:r>
              </a:p>
              <a:p>
                <a:pPr lvl="1">
                  <a:buNone/>
                </a:pPr>
                <a:r>
                  <a:rPr lang="en-US" sz="788"/>
                  <a:t>Select the image placeholder.</a:t>
                </a:r>
              </a:p>
              <a:p>
                <a:pPr lvl="1">
                  <a:buNone/>
                </a:pPr>
                <a:r>
                  <a:rPr lang="en-US" sz="788"/>
                  <a:t>Right-click or use keyboard shortcuts to paste the image.</a:t>
                </a:r>
              </a:p>
            </p:txBody>
          </p:sp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841BDB28-CB56-C346-9DF5-E30F5ADD0CB7}"/>
                  </a:ext>
                </a:extLst>
              </p:cNvPr>
              <p:cNvSpPr txBox="1"/>
              <p:nvPr userDrawn="1"/>
            </p:nvSpPr>
            <p:spPr>
              <a:xfrm>
                <a:off x="9686426" y="5045867"/>
                <a:ext cx="2297338" cy="4346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/>
                  <a:t>Method 3: </a:t>
                </a:r>
                <a:r>
                  <a:rPr lang="en-US" sz="450" b="0"/>
                  <a:t>Placeholder icon</a:t>
                </a:r>
              </a:p>
              <a:p>
                <a:pPr lvl="1">
                  <a:buNone/>
                </a:pPr>
                <a:r>
                  <a:rPr lang="en-US" sz="788"/>
                  <a:t>Click the image icon inside the placeholder to browse for an image.</a:t>
                </a:r>
              </a:p>
            </p:txBody>
          </p:sp>
          <p:sp>
            <p:nvSpPr>
              <p:cNvPr id="72" name="TextBox 71">
                <a:extLst>
                  <a:ext uri="{FF2B5EF4-FFF2-40B4-BE49-F238E27FC236}">
                    <a16:creationId xmlns:a16="http://schemas.microsoft.com/office/drawing/2014/main" id="{7841BCCC-4BF1-1644-8598-448D5C40EC05}"/>
                  </a:ext>
                </a:extLst>
              </p:cNvPr>
              <p:cNvSpPr txBox="1"/>
              <p:nvPr userDrawn="1"/>
            </p:nvSpPr>
            <p:spPr>
              <a:xfrm>
                <a:off x="9674267" y="5476431"/>
                <a:ext cx="2374733" cy="21544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/>
                  <a:t>Note: This icon may be covered by another element.</a:t>
                </a:r>
                <a:br>
                  <a:rPr lang="en-US" sz="525"/>
                </a:br>
                <a:r>
                  <a:rPr lang="en-US" sz="525"/>
                  <a:t>In this case use one of the other methods.</a:t>
                </a:r>
              </a:p>
            </p:txBody>
          </p:sp>
        </p:grp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A0C7E1FE-3DCE-F245-ADBB-D7351343D700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1670329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sz="825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47B69573-680F-C847-8FB3-E97B96F008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156E90A0-F5F3-7D4A-BCA0-0B455A043EC4}"/>
                </a:ext>
              </a:extLst>
            </p:cNvPr>
            <p:cNvGrpSpPr/>
            <p:nvPr userDrawn="1"/>
          </p:nvGrpSpPr>
          <p:grpSpPr>
            <a:xfrm>
              <a:off x="9554253" y="2414886"/>
              <a:ext cx="2819399" cy="1181890"/>
              <a:chOff x="9541498" y="3352649"/>
              <a:chExt cx="2819399" cy="1181890"/>
            </a:xfrm>
          </p:grpSpPr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E3B8AD0A-9353-E743-98CA-44AFA4D7C166}"/>
                  </a:ext>
                </a:extLst>
              </p:cNvPr>
              <p:cNvGrpSpPr/>
              <p:nvPr userDrawn="1"/>
            </p:nvGrpSpPr>
            <p:grpSpPr>
              <a:xfrm>
                <a:off x="9541498" y="3352649"/>
                <a:ext cx="2735150" cy="1181890"/>
                <a:chOff x="9541498" y="3751132"/>
                <a:chExt cx="2735150" cy="1181890"/>
              </a:xfrm>
            </p:grpSpPr>
            <p:grpSp>
              <p:nvGrpSpPr>
                <p:cNvPr id="55" name="Group 54">
                  <a:extLst>
                    <a:ext uri="{FF2B5EF4-FFF2-40B4-BE49-F238E27FC236}">
                      <a16:creationId xmlns:a16="http://schemas.microsoft.com/office/drawing/2014/main" id="{B0E8F800-E1AB-E746-8851-BE07C9573DF5}"/>
                    </a:ext>
                  </a:extLst>
                </p:cNvPr>
                <p:cNvGrpSpPr/>
                <p:nvPr userDrawn="1"/>
              </p:nvGrpSpPr>
              <p:grpSpPr>
                <a:xfrm>
                  <a:off x="9541498" y="3751132"/>
                  <a:ext cx="2735150" cy="1181890"/>
                  <a:chOff x="9296568" y="4910411"/>
                  <a:chExt cx="2735150" cy="1181890"/>
                </a:xfrm>
              </p:grpSpPr>
              <p:sp>
                <p:nvSpPr>
                  <p:cNvPr id="90" name="Rectangle 89">
                    <a:extLst>
                      <a:ext uri="{FF2B5EF4-FFF2-40B4-BE49-F238E27FC236}">
                        <a16:creationId xmlns:a16="http://schemas.microsoft.com/office/drawing/2014/main" id="{F0341023-B297-EE44-B1E7-3A1B988C0D34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9296568" y="4910411"/>
                    <a:ext cx="2735150" cy="1181890"/>
                  </a:xfrm>
                  <a:prstGeom prst="rect">
                    <a:avLst/>
                  </a:prstGeom>
                  <a:solidFill>
                    <a:srgbClr val="FFFADF"/>
                  </a:solidFill>
                  <a:ln w="25400">
                    <a:solidFill>
                      <a:schemeClr val="tx1">
                        <a:lumMod val="65000"/>
                        <a:lumOff val="3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50"/>
                  </a:p>
                </p:txBody>
              </p:sp>
              <p:sp>
                <p:nvSpPr>
                  <p:cNvPr id="91" name="TextBox 90">
                    <a:extLst>
                      <a:ext uri="{FF2B5EF4-FFF2-40B4-BE49-F238E27FC236}">
                        <a16:creationId xmlns:a16="http://schemas.microsoft.com/office/drawing/2014/main" id="{004FF57D-84DA-054C-BAE1-86A84ADB8BFA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662758" y="5046087"/>
                    <a:ext cx="2211394" cy="16927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 algn="l"/>
                    <a:r>
                      <a:rPr lang="en-US" sz="825">
                        <a:solidFill>
                          <a:schemeClr val="accent2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Numbered lists</a:t>
                    </a:r>
                  </a:p>
                </p:txBody>
              </p:sp>
              <p:sp>
                <p:nvSpPr>
                  <p:cNvPr id="92" name="TextBox 91">
                    <a:extLst>
                      <a:ext uri="{FF2B5EF4-FFF2-40B4-BE49-F238E27FC236}">
                        <a16:creationId xmlns:a16="http://schemas.microsoft.com/office/drawing/2014/main" id="{14A089B3-40F5-BA48-9C89-18CED644A608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471806" y="5300349"/>
                    <a:ext cx="964050" cy="55399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>
                      <a:spcBef>
                        <a:spcPts val="150"/>
                      </a:spcBef>
                    </a:pPr>
                    <a:r>
                      <a:rPr lang="en-US" sz="675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For instruction on formatting numbered lists, see the most up-to-date Asset File.</a:t>
                    </a:r>
                  </a:p>
                </p:txBody>
              </p:sp>
            </p:grpSp>
            <p:pic>
              <p:nvPicPr>
                <p:cNvPr id="56" name="Graphic 55">
                  <a:extLst>
                    <a:ext uri="{FF2B5EF4-FFF2-40B4-BE49-F238E27FC236}">
                      <a16:creationId xmlns:a16="http://schemas.microsoft.com/office/drawing/2014/main" id="{0F683FF8-BB88-8D4C-AFF7-96AC3276CB7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686425" y="3891259"/>
                  <a:ext cx="170340" cy="170340"/>
                </a:xfrm>
                <a:prstGeom prst="rect">
                  <a:avLst/>
                </a:prstGeom>
              </p:spPr>
            </p:pic>
          </p:grpSp>
          <p:pic>
            <p:nvPicPr>
              <p:cNvPr id="54" name="Picture 53">
                <a:extLst>
                  <a:ext uri="{FF2B5EF4-FFF2-40B4-BE49-F238E27FC236}">
                    <a16:creationId xmlns:a16="http://schemas.microsoft.com/office/drawing/2014/main" id="{CF48C183-4FC2-8B43-8812-4E977634650E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7"/>
              <a:srcRect r="30584"/>
              <a:stretch/>
            </p:blipFill>
            <p:spPr>
              <a:xfrm>
                <a:off x="10767220" y="3758285"/>
                <a:ext cx="1593677" cy="684608"/>
              </a:xfrm>
              <a:prstGeom prst="rect">
                <a:avLst/>
              </a:prstGeom>
              <a:solidFill>
                <a:srgbClr val="FFFADF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349662382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s and Text (Vertic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A3E7C59C-7AB2-FD4B-9D3E-CA7E0D8CB2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Slide TITLE. ALL CAPS. TWO LINES max.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F7232953-10D7-9346-B58D-EA3D767D05C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32361" y="925231"/>
            <a:ext cx="2467429" cy="1099558"/>
          </a:xfrm>
          <a:solidFill>
            <a:schemeClr val="accent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hoto</a:t>
            </a: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5852B5E0-86AD-3749-B882-594E0C76181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338925" y="925116"/>
            <a:ext cx="2467068" cy="1099672"/>
          </a:xfrm>
          <a:solidFill>
            <a:schemeClr val="accent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hoto</a:t>
            </a: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500" name="Caption">
            <a:extLst>
              <a:ext uri="{FF2B5EF4-FFF2-40B4-BE49-F238E27FC236}">
                <a16:creationId xmlns:a16="http://schemas.microsoft.com/office/drawing/2014/main" id="{CF4AE758-84F6-C54D-A7DE-052D01982D22}"/>
              </a:ext>
            </a:extLst>
          </p:cNvPr>
          <p:cNvSpPr>
            <a:spLocks noGrp="1"/>
          </p:cNvSpPr>
          <p:nvPr>
            <p:ph type="body" sz="quarter" idx="500" hasCustomPrompt="1"/>
          </p:nvPr>
        </p:nvSpPr>
        <p:spPr>
          <a:xfrm>
            <a:off x="431801" y="1610833"/>
            <a:ext cx="2467429" cy="413955"/>
          </a:xfrm>
          <a:gradFill>
            <a:gsLst>
              <a:gs pos="0">
                <a:schemeClr val="tx2">
                  <a:alpha val="0"/>
                </a:schemeClr>
              </a:gs>
              <a:gs pos="100000">
                <a:schemeClr val="tx1">
                  <a:alpha val="67000"/>
                </a:schemeClr>
              </a:gs>
            </a:gsLst>
            <a:lin ang="5400000" scaled="1"/>
          </a:gradFill>
          <a:effectLst/>
        </p:spPr>
        <p:txBody>
          <a:bodyPr wrap="square" tIns="0" rIns="180000" bIns="180000" anchor="b">
            <a:noAutofit/>
          </a:bodyPr>
          <a:lstStyle>
            <a:lvl1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 b="0">
                <a:solidFill>
                  <a:schemeClr val="bg1"/>
                </a:solidFill>
                <a:effectLst/>
              </a:defRPr>
            </a:lvl1pPr>
            <a:lvl2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2pPr>
            <a:lvl3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3pPr>
            <a:lvl4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4pPr>
            <a:lvl5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5pPr>
            <a:lvl6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6pPr>
            <a:lvl7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7pPr>
            <a:lvl8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8pPr>
            <a:lvl9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photo caption</a:t>
            </a:r>
          </a:p>
        </p:txBody>
      </p:sp>
      <p:sp>
        <p:nvSpPr>
          <p:cNvPr id="502" name="Caption 2">
            <a:extLst>
              <a:ext uri="{FF2B5EF4-FFF2-40B4-BE49-F238E27FC236}">
                <a16:creationId xmlns:a16="http://schemas.microsoft.com/office/drawing/2014/main" id="{AC269ED5-A2B1-6A4F-BE9E-2525E65191C5}"/>
              </a:ext>
            </a:extLst>
          </p:cNvPr>
          <p:cNvSpPr>
            <a:spLocks noGrp="1"/>
          </p:cNvSpPr>
          <p:nvPr>
            <p:ph type="body" sz="quarter" idx="502" hasCustomPrompt="1"/>
          </p:nvPr>
        </p:nvSpPr>
        <p:spPr>
          <a:xfrm>
            <a:off x="3338282" y="1610833"/>
            <a:ext cx="2467429" cy="413955"/>
          </a:xfrm>
          <a:gradFill>
            <a:gsLst>
              <a:gs pos="0">
                <a:schemeClr val="tx2">
                  <a:alpha val="0"/>
                </a:schemeClr>
              </a:gs>
              <a:gs pos="100000">
                <a:schemeClr val="tx1">
                  <a:alpha val="67000"/>
                </a:schemeClr>
              </a:gs>
            </a:gsLst>
            <a:lin ang="5400000" scaled="1"/>
          </a:gradFill>
          <a:effectLst/>
        </p:spPr>
        <p:txBody>
          <a:bodyPr wrap="square" tIns="0" rIns="180000" bIns="180000" anchor="b">
            <a:noAutofit/>
          </a:bodyPr>
          <a:lstStyle>
            <a:lvl1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 b="0">
                <a:solidFill>
                  <a:schemeClr val="bg1"/>
                </a:solidFill>
                <a:effectLst/>
              </a:defRPr>
            </a:lvl1pPr>
            <a:lvl2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2pPr>
            <a:lvl3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3pPr>
            <a:lvl4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4pPr>
            <a:lvl5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5pPr>
            <a:lvl6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6pPr>
            <a:lvl7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7pPr>
            <a:lvl8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8pPr>
            <a:lvl9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photo caption</a:t>
            </a:r>
          </a:p>
        </p:txBody>
      </p:sp>
      <p:sp>
        <p:nvSpPr>
          <p:cNvPr id="100" name="Photo">
            <a:extLst>
              <a:ext uri="{FF2B5EF4-FFF2-40B4-BE49-F238E27FC236}">
                <a16:creationId xmlns:a16="http://schemas.microsoft.com/office/drawing/2014/main" id="{A5A98BB7-3BBC-BF47-A9BC-1EE83DF5EEF5}"/>
              </a:ext>
            </a:extLst>
          </p:cNvPr>
          <p:cNvSpPr>
            <a:spLocks noGrp="1"/>
          </p:cNvSpPr>
          <p:nvPr>
            <p:ph type="pic" sz="quarter" idx="100" hasCustomPrompt="1"/>
          </p:nvPr>
        </p:nvSpPr>
        <p:spPr>
          <a:xfrm>
            <a:off x="6245129" y="925116"/>
            <a:ext cx="2467068" cy="1099672"/>
          </a:xfrm>
          <a:solidFill>
            <a:schemeClr val="accent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hoto</a:t>
            </a: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8F1C867-7832-304B-B6CD-BF0427937307}"/>
              </a:ext>
            </a:extLst>
          </p:cNvPr>
          <p:cNvGrpSpPr/>
          <p:nvPr userDrawn="1"/>
        </p:nvGrpSpPr>
        <p:grpSpPr>
          <a:xfrm>
            <a:off x="3119357" y="925116"/>
            <a:ext cx="2906204" cy="3699272"/>
            <a:chOff x="3119357" y="1233487"/>
            <a:chExt cx="2906204" cy="4861079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ED753A27-0B53-3B44-A318-323612277CF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119357" y="1233487"/>
              <a:ext cx="0" cy="4861079"/>
            </a:xfrm>
            <a:prstGeom prst="line">
              <a:avLst/>
            </a:prstGeom>
            <a:ln w="19050"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90281FD7-9911-134B-A7C9-82C3663644A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25561" y="1233487"/>
              <a:ext cx="0" cy="4861079"/>
            </a:xfrm>
            <a:prstGeom prst="line">
              <a:avLst/>
            </a:prstGeom>
            <a:ln w="19050"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04" name="Caption 3">
            <a:extLst>
              <a:ext uri="{FF2B5EF4-FFF2-40B4-BE49-F238E27FC236}">
                <a16:creationId xmlns:a16="http://schemas.microsoft.com/office/drawing/2014/main" id="{42868E29-E783-A54C-A4B5-63DAB28D5BEF}"/>
              </a:ext>
            </a:extLst>
          </p:cNvPr>
          <p:cNvSpPr>
            <a:spLocks noGrp="1"/>
          </p:cNvSpPr>
          <p:nvPr>
            <p:ph type="body" sz="quarter" idx="504" hasCustomPrompt="1"/>
          </p:nvPr>
        </p:nvSpPr>
        <p:spPr>
          <a:xfrm>
            <a:off x="6244768" y="1610833"/>
            <a:ext cx="2467429" cy="413955"/>
          </a:xfrm>
          <a:gradFill>
            <a:gsLst>
              <a:gs pos="0">
                <a:schemeClr val="tx2">
                  <a:alpha val="0"/>
                </a:schemeClr>
              </a:gs>
              <a:gs pos="100000">
                <a:schemeClr val="tx1">
                  <a:alpha val="67000"/>
                </a:schemeClr>
              </a:gs>
            </a:gsLst>
            <a:lin ang="5400000" scaled="1"/>
          </a:gradFill>
          <a:effectLst/>
        </p:spPr>
        <p:txBody>
          <a:bodyPr wrap="square" tIns="0" rIns="180000" bIns="180000" anchor="b">
            <a:noAutofit/>
          </a:bodyPr>
          <a:lstStyle>
            <a:lvl1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 b="0">
                <a:solidFill>
                  <a:schemeClr val="bg1"/>
                </a:solidFill>
                <a:effectLst/>
              </a:defRPr>
            </a:lvl1pPr>
            <a:lvl2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2pPr>
            <a:lvl3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3pPr>
            <a:lvl4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4pPr>
            <a:lvl5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5pPr>
            <a:lvl6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6pPr>
            <a:lvl7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7pPr>
            <a:lvl8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8pPr>
            <a:lvl9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photo caption</a:t>
            </a:r>
          </a:p>
        </p:txBody>
      </p:sp>
      <p:sp>
        <p:nvSpPr>
          <p:cNvPr id="499" name="Text Placeholder 1">
            <a:extLst>
              <a:ext uri="{FF2B5EF4-FFF2-40B4-BE49-F238E27FC236}">
                <a16:creationId xmlns:a16="http://schemas.microsoft.com/office/drawing/2014/main" id="{092CA0F9-EE9F-8C4F-9A14-8B88D9656C37}"/>
              </a:ext>
            </a:extLst>
          </p:cNvPr>
          <p:cNvSpPr>
            <a:spLocks noGrp="1"/>
          </p:cNvSpPr>
          <p:nvPr>
            <p:ph type="body" sz="quarter" idx="499"/>
          </p:nvPr>
        </p:nvSpPr>
        <p:spPr>
          <a:xfrm>
            <a:off x="431801" y="2150133"/>
            <a:ext cx="2467428" cy="24742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01" name="Text Placeholder 2">
            <a:extLst>
              <a:ext uri="{FF2B5EF4-FFF2-40B4-BE49-F238E27FC236}">
                <a16:creationId xmlns:a16="http://schemas.microsoft.com/office/drawing/2014/main" id="{781EEB42-430C-9948-97C1-B9A99786D432}"/>
              </a:ext>
            </a:extLst>
          </p:cNvPr>
          <p:cNvSpPr>
            <a:spLocks noGrp="1"/>
          </p:cNvSpPr>
          <p:nvPr>
            <p:ph type="body" sz="quarter" idx="501"/>
          </p:nvPr>
        </p:nvSpPr>
        <p:spPr>
          <a:xfrm>
            <a:off x="3338281" y="2150133"/>
            <a:ext cx="2467428" cy="24742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03" name="Text Placeholder 3">
            <a:extLst>
              <a:ext uri="{FF2B5EF4-FFF2-40B4-BE49-F238E27FC236}">
                <a16:creationId xmlns:a16="http://schemas.microsoft.com/office/drawing/2014/main" id="{8C3607B2-9D2D-5E49-86D7-3D3FC05F0012}"/>
              </a:ext>
            </a:extLst>
          </p:cNvPr>
          <p:cNvSpPr>
            <a:spLocks noGrp="1"/>
          </p:cNvSpPr>
          <p:nvPr>
            <p:ph type="body" sz="quarter" idx="503"/>
          </p:nvPr>
        </p:nvSpPr>
        <p:spPr>
          <a:xfrm>
            <a:off x="6244768" y="2150133"/>
            <a:ext cx="2467428" cy="24742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0EF6CB6B-94CC-654E-AE09-4DED2D6EA769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800" y="4650581"/>
            <a:ext cx="7440613" cy="379131"/>
          </a:xfrm>
        </p:spPr>
        <p:txBody>
          <a:bodyPr bIns="0" anchor="b"/>
          <a:lstStyle>
            <a:lvl1pPr marL="4763" indent="-1191">
              <a:spcBef>
                <a:spcPts val="56"/>
              </a:spcBef>
              <a:spcAft>
                <a:spcPts val="56"/>
              </a:spcAft>
              <a:buSzPct val="100000"/>
              <a:buFontTx/>
              <a:buNone/>
              <a:tabLst/>
              <a:defRPr sz="825" b="0">
                <a:solidFill>
                  <a:schemeClr val="tx1"/>
                </a:solidFill>
              </a:defRPr>
            </a:lvl1pPr>
            <a:lvl2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¹"/>
              <a:tabLst/>
              <a:defRPr sz="825" b="0" i="0">
                <a:solidFill>
                  <a:schemeClr val="tx1"/>
                </a:solidFill>
              </a:defRPr>
            </a:lvl2pPr>
            <a:lvl3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²"/>
              <a:tabLst/>
              <a:defRPr sz="825">
                <a:solidFill>
                  <a:schemeClr val="tx1"/>
                </a:solidFill>
              </a:defRPr>
            </a:lvl3pPr>
            <a:lvl4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³"/>
              <a:tabLst/>
              <a:defRPr sz="825">
                <a:solidFill>
                  <a:schemeClr val="tx1"/>
                </a:solidFill>
              </a:defRPr>
            </a:lvl4pPr>
            <a:lvl5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⁴"/>
              <a:tabLst/>
              <a:defRPr sz="825">
                <a:solidFill>
                  <a:schemeClr val="tx1"/>
                </a:solidFill>
              </a:defRPr>
            </a:lvl5pPr>
            <a:lvl6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⁵"/>
              <a:tabLst/>
              <a:defRPr sz="825">
                <a:solidFill>
                  <a:schemeClr val="tx1"/>
                </a:solidFill>
              </a:defRPr>
            </a:lvl6pPr>
            <a:lvl7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⁶"/>
              <a:tabLst/>
              <a:defRPr sz="825">
                <a:solidFill>
                  <a:schemeClr val="tx1"/>
                </a:solidFill>
              </a:defRPr>
            </a:lvl7pPr>
            <a:lvl8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⁷"/>
              <a:tabLst/>
              <a:defRPr sz="825">
                <a:solidFill>
                  <a:schemeClr val="tx1"/>
                </a:solidFill>
              </a:defRPr>
            </a:lvl8pPr>
            <a:lvl9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⁸"/>
              <a:tabLst/>
              <a:defRPr sz="825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/>
              <a:t>Footnotes – Levels 2-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895EACF-4F1C-3842-A7FF-4AC5A2D2E696}"/>
              </a:ext>
            </a:extLst>
          </p:cNvPr>
          <p:cNvSpPr>
            <a:spLocks noGrp="1"/>
          </p:cNvSpPr>
          <p:nvPr>
            <p:ph type="dt" sz="half" idx="1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6214F30-9FE6-D845-91CA-9835E0CF8D52}"/>
              </a:ext>
            </a:extLst>
          </p:cNvPr>
          <p:cNvSpPr>
            <a:spLocks noGrp="1"/>
          </p:cNvSpPr>
          <p:nvPr>
            <p:ph type="ftr" sz="quarter" idx="1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3172460-2E71-5943-A56D-3D902E900BD0}"/>
              </a:ext>
            </a:extLst>
          </p:cNvPr>
          <p:cNvSpPr>
            <a:spLocks noGrp="1"/>
          </p:cNvSpPr>
          <p:nvPr>
            <p:ph type="sldNum" sz="quarter" idx="118"/>
          </p:nvPr>
        </p:nvSpPr>
        <p:spPr/>
        <p:txBody>
          <a:bodyPr/>
          <a:lstStyle/>
          <a:p>
            <a:pPr marL="9525"/>
            <a:fld id="{078C017C-E1B9-8443-B047-B08AAA027B45}" type="slidenum">
              <a:rPr lang="en-US" smtClean="0"/>
              <a:pPr marL="9525"/>
              <a:t>‹#›</a:t>
            </a:fld>
            <a:endParaRPr lang="en-US"/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9B420A68-79DB-DB41-B02A-F2E31E6651C4}"/>
              </a:ext>
            </a:extLst>
          </p:cNvPr>
          <p:cNvGrpSpPr/>
          <p:nvPr userDrawn="1"/>
        </p:nvGrpSpPr>
        <p:grpSpPr>
          <a:xfrm>
            <a:off x="9399182" y="-1"/>
            <a:ext cx="2974470" cy="7327054"/>
            <a:chOff x="9399182" y="-2"/>
            <a:chExt cx="2974470" cy="9769405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1FD61CBE-4EF4-9744-9738-8709C50F1AFF}"/>
                </a:ext>
              </a:extLst>
            </p:cNvPr>
            <p:cNvSpPr/>
            <p:nvPr userDrawn="1"/>
          </p:nvSpPr>
          <p:spPr>
            <a:xfrm>
              <a:off x="9399182" y="-2"/>
              <a:ext cx="2798651" cy="965503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050"/>
            </a:p>
          </p:txBody>
        </p:sp>
        <p:pic>
          <p:nvPicPr>
            <p:cNvPr id="59" name="Picture 58">
              <a:extLst>
                <a:ext uri="{FF2B5EF4-FFF2-40B4-BE49-F238E27FC236}">
                  <a16:creationId xmlns:a16="http://schemas.microsoft.com/office/drawing/2014/main" id="{A3D0F9C7-1B58-504B-9BB8-DB9D4FABA97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41694"/>
            <a:stretch/>
          </p:blipFill>
          <p:spPr>
            <a:xfrm>
              <a:off x="9558506" y="1322104"/>
              <a:ext cx="2639328" cy="995540"/>
            </a:xfrm>
            <a:prstGeom prst="rect">
              <a:avLst/>
            </a:prstGeom>
          </p:spPr>
        </p:pic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35358C56-D8B9-2D44-A534-272FE4FBDFFA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135" name="Rectangle 134">
                <a:extLst>
                  <a:ext uri="{FF2B5EF4-FFF2-40B4-BE49-F238E27FC236}">
                    <a16:creationId xmlns:a16="http://schemas.microsoft.com/office/drawing/2014/main" id="{95659F2A-19A0-4447-8057-CFEE8FF56B20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136" name="TextBox 135">
                <a:extLst>
                  <a:ext uri="{FF2B5EF4-FFF2-40B4-BE49-F238E27FC236}">
                    <a16:creationId xmlns:a16="http://schemas.microsoft.com/office/drawing/2014/main" id="{B67C9E65-EC19-3442-B39D-EF200814B684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137" name="Picture 136">
                <a:extLst>
                  <a:ext uri="{FF2B5EF4-FFF2-40B4-BE49-F238E27FC236}">
                    <a16:creationId xmlns:a16="http://schemas.microsoft.com/office/drawing/2014/main" id="{323C1721-626E-314E-A318-8CD718694A2B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B17DCDDF-F1BE-DE4A-A470-27619CEB4EA1}"/>
                </a:ext>
              </a:extLst>
            </p:cNvPr>
            <p:cNvGrpSpPr/>
            <p:nvPr userDrawn="1"/>
          </p:nvGrpSpPr>
          <p:grpSpPr>
            <a:xfrm>
              <a:off x="9521833" y="3755578"/>
              <a:ext cx="2754815" cy="6013825"/>
              <a:chOff x="9521833" y="2566288"/>
              <a:chExt cx="2754815" cy="6013825"/>
            </a:xfrm>
          </p:grpSpPr>
          <p:sp>
            <p:nvSpPr>
              <p:cNvPr id="107" name="TextBox 106">
                <a:extLst>
                  <a:ext uri="{FF2B5EF4-FFF2-40B4-BE49-F238E27FC236}">
                    <a16:creationId xmlns:a16="http://schemas.microsoft.com/office/drawing/2014/main" id="{E6F2A99C-3FE4-AD45-B484-C0BE917FD294}"/>
                  </a:ext>
                </a:extLst>
              </p:cNvPr>
              <p:cNvSpPr txBox="1"/>
              <p:nvPr userDrawn="1"/>
            </p:nvSpPr>
            <p:spPr>
              <a:xfrm>
                <a:off x="9558507" y="2566288"/>
                <a:ext cx="1231106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sz="825">
                    <a:solidFill>
                      <a:schemeClr val="bg1"/>
                    </a:solidFill>
                  </a:rPr>
                  <a:t>HOW TO ADD AN IMAGE</a:t>
                </a:r>
              </a:p>
            </p:txBody>
          </p:sp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FB66869C-518A-4E44-A5D8-215292EBADF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558507" y="276890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9" name="TextBox 108">
                <a:extLst>
                  <a:ext uri="{FF2B5EF4-FFF2-40B4-BE49-F238E27FC236}">
                    <a16:creationId xmlns:a16="http://schemas.microsoft.com/office/drawing/2014/main" id="{1E6E8BDE-A518-5A4C-8679-EEE8B59A8496}"/>
                  </a:ext>
                </a:extLst>
              </p:cNvPr>
              <p:cNvSpPr txBox="1"/>
              <p:nvPr userDrawn="1"/>
            </p:nvSpPr>
            <p:spPr>
              <a:xfrm>
                <a:off x="9686426" y="3627215"/>
                <a:ext cx="2297338" cy="28913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 b="1"/>
                  <a:t>Method 1: </a:t>
                </a:r>
                <a:r>
                  <a:rPr lang="en-US" sz="450" b="0"/>
                  <a:t>from file browser</a:t>
                </a:r>
              </a:p>
              <a:p>
                <a:pPr lvl="1">
                  <a:buNone/>
                </a:pPr>
                <a:r>
                  <a:rPr lang="en-US" sz="788"/>
                  <a:t>Drag the image onto the slide.</a:t>
                </a:r>
              </a:p>
            </p:txBody>
          </p:sp>
          <p:grpSp>
            <p:nvGrpSpPr>
              <p:cNvPr id="110" name="Group 109">
                <a:extLst>
                  <a:ext uri="{FF2B5EF4-FFF2-40B4-BE49-F238E27FC236}">
                    <a16:creationId xmlns:a16="http://schemas.microsoft.com/office/drawing/2014/main" id="{856B91D7-AFB6-D14D-9C1A-039849E808D4}"/>
                  </a:ext>
                </a:extLst>
              </p:cNvPr>
              <p:cNvGrpSpPr/>
              <p:nvPr userDrawn="1"/>
            </p:nvGrpSpPr>
            <p:grpSpPr>
              <a:xfrm>
                <a:off x="9541497" y="7168798"/>
                <a:ext cx="2735151" cy="1411315"/>
                <a:chOff x="9296567" y="4910411"/>
                <a:chExt cx="2735151" cy="1411315"/>
              </a:xfrm>
            </p:grpSpPr>
            <p:sp>
              <p:nvSpPr>
                <p:cNvPr id="129" name="Rectangle 128">
                  <a:extLst>
                    <a:ext uri="{FF2B5EF4-FFF2-40B4-BE49-F238E27FC236}">
                      <a16:creationId xmlns:a16="http://schemas.microsoft.com/office/drawing/2014/main" id="{FD2AE5C6-3677-724F-92E6-5538D45B8D48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141131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  <p:sp>
              <p:nvSpPr>
                <p:cNvPr id="130" name="TextBox 129">
                  <a:extLst>
                    <a:ext uri="{FF2B5EF4-FFF2-40B4-BE49-F238E27FC236}">
                      <a16:creationId xmlns:a16="http://schemas.microsoft.com/office/drawing/2014/main" id="{FA964FC1-48D0-784E-9777-5823D5FA266D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8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hange Image</a:t>
                  </a:r>
                </a:p>
              </p:txBody>
            </p:sp>
            <p:pic>
              <p:nvPicPr>
                <p:cNvPr id="131" name="Graphic 130">
                  <a:extLst>
                    <a:ext uri="{FF2B5EF4-FFF2-40B4-BE49-F238E27FC236}">
                      <a16:creationId xmlns:a16="http://schemas.microsoft.com/office/drawing/2014/main" id="{9A1BCB32-2903-F44E-8F4D-87C1D9ADEAAF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132" name="TextBox 131">
                  <a:extLst>
                    <a:ext uri="{FF2B5EF4-FFF2-40B4-BE49-F238E27FC236}">
                      <a16:creationId xmlns:a16="http://schemas.microsoft.com/office/drawing/2014/main" id="{55BE347B-59DF-6947-A01C-B5DC935B7398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619194"/>
                  <a:ext cx="2422981" cy="37394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01204" lvl="1" indent="-98822" algn="l" defTabSz="6858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225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Deleting the image may bring the image placeholder to the top layer. Right-click on the placeholder and choose “Send to Back”.</a:t>
                  </a:r>
                </a:p>
              </p:txBody>
            </p:sp>
            <p:sp>
              <p:nvSpPr>
                <p:cNvPr id="133" name="TextBox 132">
                  <a:extLst>
                    <a:ext uri="{FF2B5EF4-FFF2-40B4-BE49-F238E27FC236}">
                      <a16:creationId xmlns:a16="http://schemas.microsoft.com/office/drawing/2014/main" id="{31AE7AC1-83E2-C248-979E-EF4CCB978969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300350"/>
                  <a:ext cx="2422981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685800" rtl="0" eaLnBrk="1" latinLnBrk="0" hangingPunct="1">
                    <a:spcBef>
                      <a:spcPts val="150"/>
                    </a:spcBef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First, delete the existing image to reset the photo placeholder functionality.</a:t>
                  </a:r>
                </a:p>
              </p:txBody>
            </p:sp>
            <p:sp>
              <p:nvSpPr>
                <p:cNvPr id="134" name="TextBox 133">
                  <a:extLst>
                    <a:ext uri="{FF2B5EF4-FFF2-40B4-BE49-F238E27FC236}">
                      <a16:creationId xmlns:a16="http://schemas.microsoft.com/office/drawing/2014/main" id="{34ED295B-81B0-9948-AC39-03FB2489D319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068871"/>
                  <a:ext cx="2422981" cy="138500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685800" rtl="0" eaLnBrk="1" latinLnBrk="0" hangingPunct="1">
                    <a:spcBef>
                      <a:spcPts val="150"/>
                    </a:spcBef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You can now add a new image as normal.</a:t>
                  </a:r>
                </a:p>
              </p:txBody>
            </p:sp>
          </p:grpSp>
          <p:grpSp>
            <p:nvGrpSpPr>
              <p:cNvPr id="111" name="Group 110">
                <a:extLst>
                  <a:ext uri="{FF2B5EF4-FFF2-40B4-BE49-F238E27FC236}">
                    <a16:creationId xmlns:a16="http://schemas.microsoft.com/office/drawing/2014/main" id="{FA21885C-5903-6E41-AC43-23C29B0342C1}"/>
                  </a:ext>
                </a:extLst>
              </p:cNvPr>
              <p:cNvGrpSpPr/>
              <p:nvPr userDrawn="1"/>
            </p:nvGrpSpPr>
            <p:grpSpPr>
              <a:xfrm>
                <a:off x="9541497" y="5812142"/>
                <a:ext cx="2735151" cy="1280928"/>
                <a:chOff x="9286315" y="6976989"/>
                <a:chExt cx="2735151" cy="1280928"/>
              </a:xfrm>
            </p:grpSpPr>
            <p:sp>
              <p:nvSpPr>
                <p:cNvPr id="120" name="Rectangle 119">
                  <a:extLst>
                    <a:ext uri="{FF2B5EF4-FFF2-40B4-BE49-F238E27FC236}">
                      <a16:creationId xmlns:a16="http://schemas.microsoft.com/office/drawing/2014/main" id="{0CBDA1BF-3DF5-AF4A-A75B-16654E5BBE05}"/>
                    </a:ext>
                  </a:extLst>
                </p:cNvPr>
                <p:cNvSpPr/>
                <p:nvPr userDrawn="1"/>
              </p:nvSpPr>
              <p:spPr>
                <a:xfrm>
                  <a:off x="9286315" y="6976989"/>
                  <a:ext cx="2735151" cy="1280928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  <p:sp>
              <p:nvSpPr>
                <p:cNvPr id="121" name="TextBox 120">
                  <a:extLst>
                    <a:ext uri="{FF2B5EF4-FFF2-40B4-BE49-F238E27FC236}">
                      <a16:creationId xmlns:a16="http://schemas.microsoft.com/office/drawing/2014/main" id="{FB9070B7-F38E-B145-B116-93DD07A0ED7F}"/>
                    </a:ext>
                  </a:extLst>
                </p:cNvPr>
                <p:cNvSpPr txBox="1"/>
                <p:nvPr userDrawn="1"/>
              </p:nvSpPr>
              <p:spPr>
                <a:xfrm>
                  <a:off x="9652506" y="7105788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8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rop Image</a:t>
                  </a:r>
                </a:p>
              </p:txBody>
            </p:sp>
            <p:pic>
              <p:nvPicPr>
                <p:cNvPr id="126" name="Graphic 125">
                  <a:extLst>
                    <a:ext uri="{FF2B5EF4-FFF2-40B4-BE49-F238E27FC236}">
                      <a16:creationId xmlns:a16="http://schemas.microsoft.com/office/drawing/2014/main" id="{05297A0C-0DFC-3F40-AA58-4B1BF710AC18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46538" y="7116071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127" name="TextBox 126">
                  <a:extLst>
                    <a:ext uri="{FF2B5EF4-FFF2-40B4-BE49-F238E27FC236}">
                      <a16:creationId xmlns:a16="http://schemas.microsoft.com/office/drawing/2014/main" id="{B2923AFA-67A9-EE4B-A5F0-0027855F0D74}"/>
                    </a:ext>
                  </a:extLst>
                </p:cNvPr>
                <p:cNvSpPr txBox="1"/>
                <p:nvPr userDrawn="1"/>
              </p:nvSpPr>
              <p:spPr>
                <a:xfrm>
                  <a:off x="9446538" y="7369972"/>
                  <a:ext cx="2384904" cy="777136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Right-click on the image.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Choose “Crop” from the menu. (       )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Adjust the size and position of the image.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Press Esc or click outside the image area to exit the cropping mode.</a:t>
                  </a:r>
                </a:p>
              </p:txBody>
            </p:sp>
            <p:pic>
              <p:nvPicPr>
                <p:cNvPr id="128" name="Picture 127">
                  <a:extLst>
                    <a:ext uri="{FF2B5EF4-FFF2-40B4-BE49-F238E27FC236}">
                      <a16:creationId xmlns:a16="http://schemas.microsoft.com/office/drawing/2014/main" id="{140F5F94-D2B2-394D-8B07-BF813910FA32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 rotWithShape="1">
                <a:blip r:embed="rId5"/>
                <a:srcRect l="33684" t="12097" r="43371" b="20368"/>
                <a:stretch/>
              </p:blipFill>
              <p:spPr>
                <a:xfrm>
                  <a:off x="11243541" y="7454405"/>
                  <a:ext cx="136897" cy="213643"/>
                </a:xfrm>
                <a:prstGeom prst="rect">
                  <a:avLst/>
                </a:prstGeom>
                <a:ln w="19050">
                  <a:solidFill>
                    <a:schemeClr val="accent3">
                      <a:lumMod val="60000"/>
                      <a:lumOff val="40000"/>
                    </a:schemeClr>
                  </a:solidFill>
                </a:ln>
              </p:spPr>
            </p:pic>
          </p:grpSp>
          <p:grpSp>
            <p:nvGrpSpPr>
              <p:cNvPr id="112" name="Group 111">
                <a:extLst>
                  <a:ext uri="{FF2B5EF4-FFF2-40B4-BE49-F238E27FC236}">
                    <a16:creationId xmlns:a16="http://schemas.microsoft.com/office/drawing/2014/main" id="{F33273B7-FF85-EB44-BD0E-E50B420269F5}"/>
                  </a:ext>
                </a:extLst>
              </p:cNvPr>
              <p:cNvGrpSpPr/>
              <p:nvPr userDrawn="1"/>
            </p:nvGrpSpPr>
            <p:grpSpPr>
              <a:xfrm>
                <a:off x="9521833" y="2891408"/>
                <a:ext cx="2617883" cy="707288"/>
                <a:chOff x="12352022" y="513115"/>
                <a:chExt cx="2617883" cy="707288"/>
              </a:xfrm>
            </p:grpSpPr>
            <p:sp>
              <p:nvSpPr>
                <p:cNvPr id="117" name="TextBox 116">
                  <a:extLst>
                    <a:ext uri="{FF2B5EF4-FFF2-40B4-BE49-F238E27FC236}">
                      <a16:creationId xmlns:a16="http://schemas.microsoft.com/office/drawing/2014/main" id="{842D6F5C-1CCA-7743-AA36-CF22419CFF39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375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118" name="TextBox 117">
                  <a:extLst>
                    <a:ext uri="{FF2B5EF4-FFF2-40B4-BE49-F238E27FC236}">
                      <a16:creationId xmlns:a16="http://schemas.microsoft.com/office/drawing/2014/main" id="{3B5E7011-3C06-A54E-BC42-0AC71F269195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1033696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375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2</a:t>
                  </a:r>
                </a:p>
              </p:txBody>
            </p:sp>
            <p:sp>
              <p:nvSpPr>
                <p:cNvPr id="119" name="TextBox 118">
                  <a:extLst>
                    <a:ext uri="{FF2B5EF4-FFF2-40B4-BE49-F238E27FC236}">
                      <a16:creationId xmlns:a16="http://schemas.microsoft.com/office/drawing/2014/main" id="{8BABC65A-2E00-2C47-8534-CC7BF92B8C44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453290" cy="70728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sz="788"/>
                    <a:t>Select and download images from the Marketing Resource Database.</a:t>
                  </a:r>
                </a:p>
                <a:p>
                  <a:pPr lvl="0"/>
                  <a:r>
                    <a:rPr lang="en-US" sz="788"/>
                    <a:t>Add the image to the placeholder.</a:t>
                  </a:r>
                </a:p>
              </p:txBody>
            </p:sp>
          </p:grpSp>
          <p:sp>
            <p:nvSpPr>
              <p:cNvPr id="113" name="TextBox 112">
                <a:extLst>
                  <a:ext uri="{FF2B5EF4-FFF2-40B4-BE49-F238E27FC236}">
                    <a16:creationId xmlns:a16="http://schemas.microsoft.com/office/drawing/2014/main" id="{1200E688-1FCE-BE4D-ADD7-CEC6FCA2EEFD}"/>
                  </a:ext>
                </a:extLst>
              </p:cNvPr>
              <p:cNvSpPr txBox="1"/>
              <p:nvPr userDrawn="1"/>
            </p:nvSpPr>
            <p:spPr>
              <a:xfrm>
                <a:off x="9674267" y="3910520"/>
                <a:ext cx="2374733" cy="32316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/>
                  <a:t>Note: If there are multiple image placeholders on the slide, select the intended placeholder before dragging in the image to let PowerPoint know where you want it.</a:t>
                </a:r>
              </a:p>
            </p:txBody>
          </p:sp>
          <p:sp>
            <p:nvSpPr>
              <p:cNvPr id="114" name="TextBox 113">
                <a:extLst>
                  <a:ext uri="{FF2B5EF4-FFF2-40B4-BE49-F238E27FC236}">
                    <a16:creationId xmlns:a16="http://schemas.microsoft.com/office/drawing/2014/main" id="{7785D546-828D-3146-ACAC-55A0A0A07D3C}"/>
                  </a:ext>
                </a:extLst>
              </p:cNvPr>
              <p:cNvSpPr txBox="1"/>
              <p:nvPr userDrawn="1"/>
            </p:nvSpPr>
            <p:spPr>
              <a:xfrm>
                <a:off x="9686426" y="4325777"/>
                <a:ext cx="2297338" cy="63145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/>
                  <a:t>Method 2: </a:t>
                </a:r>
                <a:r>
                  <a:rPr lang="en-US" sz="450" b="0"/>
                  <a:t>Paste from clipboard</a:t>
                </a:r>
              </a:p>
              <a:p>
                <a:pPr lvl="1">
                  <a:buNone/>
                </a:pPr>
                <a:r>
                  <a:rPr lang="en-US" sz="788"/>
                  <a:t>Select the image placeholder.</a:t>
                </a:r>
              </a:p>
              <a:p>
                <a:pPr lvl="1">
                  <a:buNone/>
                </a:pPr>
                <a:r>
                  <a:rPr lang="en-US" sz="788"/>
                  <a:t>Right-click or use keyboard shortcuts to paste the image.</a:t>
                </a:r>
              </a:p>
            </p:txBody>
          </p:sp>
          <p:sp>
            <p:nvSpPr>
              <p:cNvPr id="115" name="TextBox 114">
                <a:extLst>
                  <a:ext uri="{FF2B5EF4-FFF2-40B4-BE49-F238E27FC236}">
                    <a16:creationId xmlns:a16="http://schemas.microsoft.com/office/drawing/2014/main" id="{3BD9DF96-0C2D-4240-A433-266ED2D6EDFD}"/>
                  </a:ext>
                </a:extLst>
              </p:cNvPr>
              <p:cNvSpPr txBox="1"/>
              <p:nvPr userDrawn="1"/>
            </p:nvSpPr>
            <p:spPr>
              <a:xfrm>
                <a:off x="9686426" y="5045867"/>
                <a:ext cx="2297338" cy="4346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/>
                  <a:t>Method 3: </a:t>
                </a:r>
                <a:r>
                  <a:rPr lang="en-US" sz="450" b="0"/>
                  <a:t>Placeholder icon</a:t>
                </a:r>
              </a:p>
              <a:p>
                <a:pPr lvl="1">
                  <a:buNone/>
                </a:pPr>
                <a:r>
                  <a:rPr lang="en-US" sz="788"/>
                  <a:t>Click the image icon inside the placeholder to browse for an image.</a:t>
                </a:r>
              </a:p>
            </p:txBody>
          </p:sp>
          <p:sp>
            <p:nvSpPr>
              <p:cNvPr id="116" name="TextBox 115">
                <a:extLst>
                  <a:ext uri="{FF2B5EF4-FFF2-40B4-BE49-F238E27FC236}">
                    <a16:creationId xmlns:a16="http://schemas.microsoft.com/office/drawing/2014/main" id="{E6D29337-01D2-6545-ADD5-AB53F0139F0B}"/>
                  </a:ext>
                </a:extLst>
              </p:cNvPr>
              <p:cNvSpPr txBox="1"/>
              <p:nvPr userDrawn="1"/>
            </p:nvSpPr>
            <p:spPr>
              <a:xfrm>
                <a:off x="9674267" y="5476431"/>
                <a:ext cx="2374733" cy="21544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/>
                  <a:t>Note: This icon may be covered by another element.</a:t>
                </a:r>
                <a:br>
                  <a:rPr lang="en-US" sz="525"/>
                </a:br>
                <a:r>
                  <a:rPr lang="en-US" sz="525"/>
                  <a:t>In this case use one of the other methods.</a:t>
                </a:r>
              </a:p>
            </p:txBody>
          </p:sp>
        </p:grp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A6874E17-02C1-C946-A42C-55A813E95DDC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1670329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sz="825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E676D275-6C7A-794E-B3A4-9C0D2F01BA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9E39727D-7666-D944-A279-9C6F9F522EAA}"/>
                </a:ext>
              </a:extLst>
            </p:cNvPr>
            <p:cNvGrpSpPr/>
            <p:nvPr userDrawn="1"/>
          </p:nvGrpSpPr>
          <p:grpSpPr>
            <a:xfrm>
              <a:off x="9554253" y="2414886"/>
              <a:ext cx="2819399" cy="1181890"/>
              <a:chOff x="9541498" y="3352649"/>
              <a:chExt cx="2819399" cy="1181890"/>
            </a:xfrm>
          </p:grpSpPr>
          <p:grpSp>
            <p:nvGrpSpPr>
              <p:cNvPr id="99" name="Group 98">
                <a:extLst>
                  <a:ext uri="{FF2B5EF4-FFF2-40B4-BE49-F238E27FC236}">
                    <a16:creationId xmlns:a16="http://schemas.microsoft.com/office/drawing/2014/main" id="{D43C113E-CE1B-0E46-8157-A4043B1705E1}"/>
                  </a:ext>
                </a:extLst>
              </p:cNvPr>
              <p:cNvGrpSpPr/>
              <p:nvPr userDrawn="1"/>
            </p:nvGrpSpPr>
            <p:grpSpPr>
              <a:xfrm>
                <a:off x="9541498" y="3352649"/>
                <a:ext cx="2735150" cy="1181890"/>
                <a:chOff x="9541498" y="3751132"/>
                <a:chExt cx="2735150" cy="1181890"/>
              </a:xfrm>
            </p:grpSpPr>
            <p:grpSp>
              <p:nvGrpSpPr>
                <p:cNvPr id="102" name="Group 101">
                  <a:extLst>
                    <a:ext uri="{FF2B5EF4-FFF2-40B4-BE49-F238E27FC236}">
                      <a16:creationId xmlns:a16="http://schemas.microsoft.com/office/drawing/2014/main" id="{2F7911CF-19AC-2E45-BF56-1473CD99BDBB}"/>
                    </a:ext>
                  </a:extLst>
                </p:cNvPr>
                <p:cNvGrpSpPr/>
                <p:nvPr userDrawn="1"/>
              </p:nvGrpSpPr>
              <p:grpSpPr>
                <a:xfrm>
                  <a:off x="9541498" y="3751132"/>
                  <a:ext cx="2735150" cy="1181890"/>
                  <a:chOff x="9296568" y="4910411"/>
                  <a:chExt cx="2735150" cy="1181890"/>
                </a:xfrm>
              </p:grpSpPr>
              <p:sp>
                <p:nvSpPr>
                  <p:cNvPr id="104" name="Rectangle 103">
                    <a:extLst>
                      <a:ext uri="{FF2B5EF4-FFF2-40B4-BE49-F238E27FC236}">
                        <a16:creationId xmlns:a16="http://schemas.microsoft.com/office/drawing/2014/main" id="{21935321-67DF-0942-B103-5EBEA1A11C6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9296568" y="4910411"/>
                    <a:ext cx="2735150" cy="1181890"/>
                  </a:xfrm>
                  <a:prstGeom prst="rect">
                    <a:avLst/>
                  </a:prstGeom>
                  <a:solidFill>
                    <a:srgbClr val="FFFADF"/>
                  </a:solidFill>
                  <a:ln w="25400">
                    <a:solidFill>
                      <a:schemeClr val="tx1">
                        <a:lumMod val="65000"/>
                        <a:lumOff val="3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50"/>
                  </a:p>
                </p:txBody>
              </p:sp>
              <p:sp>
                <p:nvSpPr>
                  <p:cNvPr id="105" name="TextBox 104">
                    <a:extLst>
                      <a:ext uri="{FF2B5EF4-FFF2-40B4-BE49-F238E27FC236}">
                        <a16:creationId xmlns:a16="http://schemas.microsoft.com/office/drawing/2014/main" id="{5084153E-429E-984E-9780-BCE1637F49BF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662758" y="5046087"/>
                    <a:ext cx="2211394" cy="16927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 algn="l"/>
                    <a:r>
                      <a:rPr lang="en-US" sz="825">
                        <a:solidFill>
                          <a:schemeClr val="accent2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Numbered lists</a:t>
                    </a:r>
                  </a:p>
                </p:txBody>
              </p:sp>
              <p:sp>
                <p:nvSpPr>
                  <p:cNvPr id="106" name="TextBox 105">
                    <a:extLst>
                      <a:ext uri="{FF2B5EF4-FFF2-40B4-BE49-F238E27FC236}">
                        <a16:creationId xmlns:a16="http://schemas.microsoft.com/office/drawing/2014/main" id="{FD4E6000-FEEF-524E-88BD-FDBE78CDD820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471806" y="5300349"/>
                    <a:ext cx="964050" cy="55399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>
                      <a:spcBef>
                        <a:spcPts val="150"/>
                      </a:spcBef>
                    </a:pPr>
                    <a:r>
                      <a:rPr lang="en-US" sz="675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For instruction on formatting numbered lists, see the most up-to-date Asset File.</a:t>
                    </a:r>
                  </a:p>
                </p:txBody>
              </p:sp>
            </p:grpSp>
            <p:pic>
              <p:nvPicPr>
                <p:cNvPr id="103" name="Graphic 102">
                  <a:extLst>
                    <a:ext uri="{FF2B5EF4-FFF2-40B4-BE49-F238E27FC236}">
                      <a16:creationId xmlns:a16="http://schemas.microsoft.com/office/drawing/2014/main" id="{A25C8F3C-F2C1-8A40-AD08-DDCA82F39ED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686425" y="3891259"/>
                  <a:ext cx="170340" cy="170340"/>
                </a:xfrm>
                <a:prstGeom prst="rect">
                  <a:avLst/>
                </a:prstGeom>
              </p:spPr>
            </p:pic>
          </p:grpSp>
          <p:pic>
            <p:nvPicPr>
              <p:cNvPr id="101" name="Picture 100">
                <a:extLst>
                  <a:ext uri="{FF2B5EF4-FFF2-40B4-BE49-F238E27FC236}">
                    <a16:creationId xmlns:a16="http://schemas.microsoft.com/office/drawing/2014/main" id="{BC4EC8E7-BEED-1048-9857-E678954434A6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7"/>
              <a:srcRect r="30584"/>
              <a:stretch/>
            </p:blipFill>
            <p:spPr>
              <a:xfrm>
                <a:off x="10767220" y="3758285"/>
                <a:ext cx="1593677" cy="684608"/>
              </a:xfrm>
              <a:prstGeom prst="rect">
                <a:avLst/>
              </a:prstGeom>
              <a:solidFill>
                <a:srgbClr val="FFFADF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88632812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s and Text (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A3E7C59C-7AB2-FD4B-9D3E-CA7E0D8CB2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Slide TITLE. ALL CAPS. TWO LINES max.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D753A27-0B53-3B44-A318-323612277CF2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4561949" y="-2006770"/>
            <a:ext cx="0" cy="8260335"/>
          </a:xfrm>
          <a:prstGeom prst="line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0281FD7-9911-134B-A7C9-82C3663644A9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4561949" y="-709652"/>
            <a:ext cx="0" cy="8260335"/>
          </a:xfrm>
          <a:prstGeom prst="line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9" name="Text Placeholder 1">
            <a:extLst>
              <a:ext uri="{FF2B5EF4-FFF2-40B4-BE49-F238E27FC236}">
                <a16:creationId xmlns:a16="http://schemas.microsoft.com/office/drawing/2014/main" id="{EA8D8CC5-DDED-9445-8A9A-D06B2B9A91DE}"/>
              </a:ext>
            </a:extLst>
          </p:cNvPr>
          <p:cNvSpPr>
            <a:spLocks noGrp="1"/>
          </p:cNvSpPr>
          <p:nvPr>
            <p:ph type="body" sz="quarter" idx="499"/>
          </p:nvPr>
        </p:nvSpPr>
        <p:spPr>
          <a:xfrm>
            <a:off x="2854326" y="925116"/>
            <a:ext cx="5857489" cy="11001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01" name="Text Placeholder 2">
            <a:extLst>
              <a:ext uri="{FF2B5EF4-FFF2-40B4-BE49-F238E27FC236}">
                <a16:creationId xmlns:a16="http://schemas.microsoft.com/office/drawing/2014/main" id="{65A45B82-A28A-C541-9948-969822196900}"/>
              </a:ext>
            </a:extLst>
          </p:cNvPr>
          <p:cNvSpPr>
            <a:spLocks noGrp="1"/>
          </p:cNvSpPr>
          <p:nvPr>
            <p:ph type="body" sz="quarter" idx="501"/>
          </p:nvPr>
        </p:nvSpPr>
        <p:spPr>
          <a:xfrm>
            <a:off x="2854326" y="2221888"/>
            <a:ext cx="5857489" cy="11001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03" name="Text Placeholder 3">
            <a:extLst>
              <a:ext uri="{FF2B5EF4-FFF2-40B4-BE49-F238E27FC236}">
                <a16:creationId xmlns:a16="http://schemas.microsoft.com/office/drawing/2014/main" id="{8B46136D-9E6B-7348-A230-0C0B61F4043F}"/>
              </a:ext>
            </a:extLst>
          </p:cNvPr>
          <p:cNvSpPr>
            <a:spLocks noGrp="1"/>
          </p:cNvSpPr>
          <p:nvPr>
            <p:ph type="body" sz="quarter" idx="503"/>
          </p:nvPr>
        </p:nvSpPr>
        <p:spPr>
          <a:xfrm>
            <a:off x="2854326" y="3518659"/>
            <a:ext cx="5857489" cy="11001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A9BB490B-C309-B748-9B19-AF93AAACA3CF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800" y="4650581"/>
            <a:ext cx="7440613" cy="379131"/>
          </a:xfrm>
        </p:spPr>
        <p:txBody>
          <a:bodyPr bIns="0" anchor="b"/>
          <a:lstStyle>
            <a:lvl1pPr marL="4763" indent="-1191">
              <a:spcBef>
                <a:spcPts val="56"/>
              </a:spcBef>
              <a:spcAft>
                <a:spcPts val="56"/>
              </a:spcAft>
              <a:buSzPct val="100000"/>
              <a:buFontTx/>
              <a:buNone/>
              <a:tabLst/>
              <a:defRPr sz="825" b="0">
                <a:solidFill>
                  <a:schemeClr val="tx1"/>
                </a:solidFill>
              </a:defRPr>
            </a:lvl1pPr>
            <a:lvl2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¹"/>
              <a:tabLst/>
              <a:defRPr sz="825" b="0" i="0">
                <a:solidFill>
                  <a:schemeClr val="tx1"/>
                </a:solidFill>
              </a:defRPr>
            </a:lvl2pPr>
            <a:lvl3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²"/>
              <a:tabLst/>
              <a:defRPr sz="825">
                <a:solidFill>
                  <a:schemeClr val="tx1"/>
                </a:solidFill>
              </a:defRPr>
            </a:lvl3pPr>
            <a:lvl4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³"/>
              <a:tabLst/>
              <a:defRPr sz="825">
                <a:solidFill>
                  <a:schemeClr val="tx1"/>
                </a:solidFill>
              </a:defRPr>
            </a:lvl4pPr>
            <a:lvl5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⁴"/>
              <a:tabLst/>
              <a:defRPr sz="825">
                <a:solidFill>
                  <a:schemeClr val="tx1"/>
                </a:solidFill>
              </a:defRPr>
            </a:lvl5pPr>
            <a:lvl6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⁵"/>
              <a:tabLst/>
              <a:defRPr sz="825">
                <a:solidFill>
                  <a:schemeClr val="tx1"/>
                </a:solidFill>
              </a:defRPr>
            </a:lvl6pPr>
            <a:lvl7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⁶"/>
              <a:tabLst/>
              <a:defRPr sz="825">
                <a:solidFill>
                  <a:schemeClr val="tx1"/>
                </a:solidFill>
              </a:defRPr>
            </a:lvl7pPr>
            <a:lvl8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⁷"/>
              <a:tabLst/>
              <a:defRPr sz="825">
                <a:solidFill>
                  <a:schemeClr val="tx1"/>
                </a:solidFill>
              </a:defRPr>
            </a:lvl8pPr>
            <a:lvl9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⁸"/>
              <a:tabLst/>
              <a:defRPr sz="825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/>
              <a:t>Footnotes – Levels 2-9</a:t>
            </a:r>
          </a:p>
        </p:txBody>
      </p:sp>
      <p:sp>
        <p:nvSpPr>
          <p:cNvPr id="58" name="Picture Placeholder 7">
            <a:extLst>
              <a:ext uri="{FF2B5EF4-FFF2-40B4-BE49-F238E27FC236}">
                <a16:creationId xmlns:a16="http://schemas.microsoft.com/office/drawing/2014/main" id="{6F749DAD-56A6-D649-9F35-5B56FF579CB0}"/>
              </a:ext>
            </a:extLst>
          </p:cNvPr>
          <p:cNvSpPr>
            <a:spLocks noGrp="1"/>
          </p:cNvSpPr>
          <p:nvPr userDrawn="1">
            <p:ph type="pic" sz="quarter" idx="13" hasCustomPrompt="1"/>
          </p:nvPr>
        </p:nvSpPr>
        <p:spPr>
          <a:xfrm>
            <a:off x="432361" y="925231"/>
            <a:ext cx="2172295" cy="1099558"/>
          </a:xfrm>
          <a:solidFill>
            <a:schemeClr val="accent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hoto</a:t>
            </a: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500" name="Caption">
            <a:extLst>
              <a:ext uri="{FF2B5EF4-FFF2-40B4-BE49-F238E27FC236}">
                <a16:creationId xmlns:a16="http://schemas.microsoft.com/office/drawing/2014/main" id="{D94C6D6D-4FAA-B44F-ACF0-6E5AB0A38656}"/>
              </a:ext>
            </a:extLst>
          </p:cNvPr>
          <p:cNvSpPr>
            <a:spLocks noGrp="1"/>
          </p:cNvSpPr>
          <p:nvPr userDrawn="1">
            <p:ph type="body" sz="quarter" idx="500" hasCustomPrompt="1"/>
          </p:nvPr>
        </p:nvSpPr>
        <p:spPr>
          <a:xfrm>
            <a:off x="431801" y="1610833"/>
            <a:ext cx="2172295" cy="413955"/>
          </a:xfrm>
          <a:gradFill>
            <a:gsLst>
              <a:gs pos="0">
                <a:schemeClr val="tx2">
                  <a:alpha val="0"/>
                </a:schemeClr>
              </a:gs>
              <a:gs pos="100000">
                <a:schemeClr val="tx1">
                  <a:alpha val="67000"/>
                </a:schemeClr>
              </a:gs>
            </a:gsLst>
            <a:lin ang="5400000" scaled="1"/>
          </a:gradFill>
          <a:effectLst/>
        </p:spPr>
        <p:txBody>
          <a:bodyPr wrap="square" tIns="0" rIns="180000" bIns="180000" anchor="b">
            <a:noAutofit/>
          </a:bodyPr>
          <a:lstStyle>
            <a:lvl1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 b="0">
                <a:solidFill>
                  <a:schemeClr val="bg1"/>
                </a:solidFill>
                <a:effectLst/>
              </a:defRPr>
            </a:lvl1pPr>
            <a:lvl2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2pPr>
            <a:lvl3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3pPr>
            <a:lvl4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4pPr>
            <a:lvl5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5pPr>
            <a:lvl6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6pPr>
            <a:lvl7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7pPr>
            <a:lvl8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8pPr>
            <a:lvl9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photo caption</a:t>
            </a:r>
          </a:p>
        </p:txBody>
      </p:sp>
      <p:sp>
        <p:nvSpPr>
          <p:cNvPr id="60" name="Picture Placeholder 7">
            <a:extLst>
              <a:ext uri="{FF2B5EF4-FFF2-40B4-BE49-F238E27FC236}">
                <a16:creationId xmlns:a16="http://schemas.microsoft.com/office/drawing/2014/main" id="{2D1E164C-A44E-6C43-B08A-9A9E7394EE60}"/>
              </a:ext>
            </a:extLst>
          </p:cNvPr>
          <p:cNvSpPr>
            <a:spLocks noGrp="1"/>
          </p:cNvSpPr>
          <p:nvPr userDrawn="1">
            <p:ph type="pic" sz="quarter" idx="121" hasCustomPrompt="1"/>
          </p:nvPr>
        </p:nvSpPr>
        <p:spPr>
          <a:xfrm>
            <a:off x="432361" y="2221542"/>
            <a:ext cx="2172295" cy="1099558"/>
          </a:xfrm>
          <a:solidFill>
            <a:schemeClr val="accent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hoto</a:t>
            </a: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502" name="Caption 2">
            <a:extLst>
              <a:ext uri="{FF2B5EF4-FFF2-40B4-BE49-F238E27FC236}">
                <a16:creationId xmlns:a16="http://schemas.microsoft.com/office/drawing/2014/main" id="{72DD6B82-4027-214C-907A-917585DE52E2}"/>
              </a:ext>
            </a:extLst>
          </p:cNvPr>
          <p:cNvSpPr>
            <a:spLocks noGrp="1"/>
          </p:cNvSpPr>
          <p:nvPr userDrawn="1">
            <p:ph type="body" sz="quarter" idx="502" hasCustomPrompt="1"/>
          </p:nvPr>
        </p:nvSpPr>
        <p:spPr>
          <a:xfrm>
            <a:off x="431801" y="2907143"/>
            <a:ext cx="2172295" cy="413955"/>
          </a:xfrm>
          <a:gradFill>
            <a:gsLst>
              <a:gs pos="0">
                <a:schemeClr val="tx2">
                  <a:alpha val="0"/>
                </a:schemeClr>
              </a:gs>
              <a:gs pos="100000">
                <a:schemeClr val="tx1">
                  <a:alpha val="67000"/>
                </a:schemeClr>
              </a:gs>
            </a:gsLst>
            <a:lin ang="5400000" scaled="1"/>
          </a:gradFill>
          <a:effectLst/>
        </p:spPr>
        <p:txBody>
          <a:bodyPr wrap="square" tIns="0" rIns="180000" bIns="180000" anchor="b">
            <a:noAutofit/>
          </a:bodyPr>
          <a:lstStyle>
            <a:lvl1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 b="0">
                <a:solidFill>
                  <a:schemeClr val="bg1"/>
                </a:solidFill>
                <a:effectLst/>
              </a:defRPr>
            </a:lvl1pPr>
            <a:lvl2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2pPr>
            <a:lvl3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3pPr>
            <a:lvl4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4pPr>
            <a:lvl5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5pPr>
            <a:lvl6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6pPr>
            <a:lvl7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7pPr>
            <a:lvl8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8pPr>
            <a:lvl9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photo caption</a:t>
            </a:r>
          </a:p>
        </p:txBody>
      </p:sp>
      <p:sp>
        <p:nvSpPr>
          <p:cNvPr id="62" name="Picture Placeholder 7">
            <a:extLst>
              <a:ext uri="{FF2B5EF4-FFF2-40B4-BE49-F238E27FC236}">
                <a16:creationId xmlns:a16="http://schemas.microsoft.com/office/drawing/2014/main" id="{12ACC18C-7823-4243-80B6-3AD22ABEB0F0}"/>
              </a:ext>
            </a:extLst>
          </p:cNvPr>
          <p:cNvSpPr>
            <a:spLocks noGrp="1"/>
          </p:cNvSpPr>
          <p:nvPr userDrawn="1">
            <p:ph type="pic" sz="quarter" idx="123" hasCustomPrompt="1"/>
          </p:nvPr>
        </p:nvSpPr>
        <p:spPr>
          <a:xfrm>
            <a:off x="432361" y="3518658"/>
            <a:ext cx="2172295" cy="1099558"/>
          </a:xfrm>
          <a:solidFill>
            <a:schemeClr val="accent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hoto</a:t>
            </a: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504" name="Caption 3">
            <a:extLst>
              <a:ext uri="{FF2B5EF4-FFF2-40B4-BE49-F238E27FC236}">
                <a16:creationId xmlns:a16="http://schemas.microsoft.com/office/drawing/2014/main" id="{BFF4272A-93C5-194D-96DD-141C47B60F8F}"/>
              </a:ext>
            </a:extLst>
          </p:cNvPr>
          <p:cNvSpPr>
            <a:spLocks noGrp="1"/>
          </p:cNvSpPr>
          <p:nvPr userDrawn="1">
            <p:ph type="body" sz="quarter" idx="504" hasCustomPrompt="1"/>
          </p:nvPr>
        </p:nvSpPr>
        <p:spPr>
          <a:xfrm>
            <a:off x="431801" y="4204260"/>
            <a:ext cx="2172295" cy="413955"/>
          </a:xfrm>
          <a:gradFill>
            <a:gsLst>
              <a:gs pos="0">
                <a:schemeClr val="tx2">
                  <a:alpha val="0"/>
                </a:schemeClr>
              </a:gs>
              <a:gs pos="100000">
                <a:schemeClr val="tx1">
                  <a:alpha val="67000"/>
                </a:schemeClr>
              </a:gs>
            </a:gsLst>
            <a:lin ang="5400000" scaled="1"/>
          </a:gradFill>
          <a:effectLst/>
        </p:spPr>
        <p:txBody>
          <a:bodyPr wrap="square" tIns="0" rIns="180000" bIns="180000" anchor="b">
            <a:noAutofit/>
          </a:bodyPr>
          <a:lstStyle>
            <a:lvl1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 b="0">
                <a:solidFill>
                  <a:schemeClr val="bg1"/>
                </a:solidFill>
                <a:effectLst/>
              </a:defRPr>
            </a:lvl1pPr>
            <a:lvl2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2pPr>
            <a:lvl3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3pPr>
            <a:lvl4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4pPr>
            <a:lvl5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5pPr>
            <a:lvl6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6pPr>
            <a:lvl7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7pPr>
            <a:lvl8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8pPr>
            <a:lvl9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photo caption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5D5C0E79-A3BD-5144-8C77-5A57F1DFDA10}"/>
              </a:ext>
            </a:extLst>
          </p:cNvPr>
          <p:cNvSpPr>
            <a:spLocks noGrp="1"/>
          </p:cNvSpPr>
          <p:nvPr userDrawn="1">
            <p:ph type="dt" sz="half" idx="1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AA4A8FA1-CC46-7144-84B1-17C00BC259EB}"/>
              </a:ext>
            </a:extLst>
          </p:cNvPr>
          <p:cNvSpPr>
            <a:spLocks noGrp="1"/>
          </p:cNvSpPr>
          <p:nvPr userDrawn="1">
            <p:ph type="ftr" sz="quarter" idx="1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ACB2D2FD-3057-D74D-B44D-0EB64193CE1C}"/>
              </a:ext>
            </a:extLst>
          </p:cNvPr>
          <p:cNvSpPr>
            <a:spLocks noGrp="1"/>
          </p:cNvSpPr>
          <p:nvPr userDrawn="1">
            <p:ph type="sldNum" sz="quarter" idx="127"/>
          </p:nvPr>
        </p:nvSpPr>
        <p:spPr/>
        <p:txBody>
          <a:bodyPr/>
          <a:lstStyle/>
          <a:p>
            <a:pPr marL="9525"/>
            <a:fld id="{078C017C-E1B9-8443-B047-B08AAA027B45}" type="slidenum">
              <a:rPr lang="en-US" smtClean="0"/>
              <a:pPr marL="9525"/>
              <a:t>‹#›</a:t>
            </a:fld>
            <a:endParaRPr lang="en-US"/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05E9C379-DDF1-7B44-89A9-61472AAB938F}"/>
              </a:ext>
            </a:extLst>
          </p:cNvPr>
          <p:cNvGrpSpPr/>
          <p:nvPr userDrawn="1"/>
        </p:nvGrpSpPr>
        <p:grpSpPr>
          <a:xfrm>
            <a:off x="9399182" y="-1"/>
            <a:ext cx="2974470" cy="7327054"/>
            <a:chOff x="9399182" y="-2"/>
            <a:chExt cx="2974470" cy="9769405"/>
          </a:xfrm>
        </p:grpSpPr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02AA4587-5464-694B-A0E3-F705C2D6C38B}"/>
                </a:ext>
              </a:extLst>
            </p:cNvPr>
            <p:cNvSpPr/>
            <p:nvPr userDrawn="1"/>
          </p:nvSpPr>
          <p:spPr>
            <a:xfrm>
              <a:off x="9399182" y="-2"/>
              <a:ext cx="2798651" cy="965503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050"/>
            </a:p>
          </p:txBody>
        </p:sp>
        <p:pic>
          <p:nvPicPr>
            <p:cNvPr id="59" name="Picture 58">
              <a:extLst>
                <a:ext uri="{FF2B5EF4-FFF2-40B4-BE49-F238E27FC236}">
                  <a16:creationId xmlns:a16="http://schemas.microsoft.com/office/drawing/2014/main" id="{184225E7-8754-CD4D-AE0E-53076B27076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41694"/>
            <a:stretch/>
          </p:blipFill>
          <p:spPr>
            <a:xfrm>
              <a:off x="9558506" y="1322104"/>
              <a:ext cx="2639328" cy="995540"/>
            </a:xfrm>
            <a:prstGeom prst="rect">
              <a:avLst/>
            </a:prstGeom>
          </p:spPr>
        </p:pic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53ED5C7E-A3C9-E44F-9C13-86E78B48E65F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136" name="Rectangle 135">
                <a:extLst>
                  <a:ext uri="{FF2B5EF4-FFF2-40B4-BE49-F238E27FC236}">
                    <a16:creationId xmlns:a16="http://schemas.microsoft.com/office/drawing/2014/main" id="{ACE05B8D-FE1E-1145-90BB-9998F8CA2CAB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137" name="TextBox 136">
                <a:extLst>
                  <a:ext uri="{FF2B5EF4-FFF2-40B4-BE49-F238E27FC236}">
                    <a16:creationId xmlns:a16="http://schemas.microsoft.com/office/drawing/2014/main" id="{443BD4B2-7A49-7B4D-A180-98D5EB1AD433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138" name="Picture 137">
                <a:extLst>
                  <a:ext uri="{FF2B5EF4-FFF2-40B4-BE49-F238E27FC236}">
                    <a16:creationId xmlns:a16="http://schemas.microsoft.com/office/drawing/2014/main" id="{08065AFB-7BEE-0F47-BED7-2DE8C591FB2B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764EAB81-6824-4047-9BA3-6AFFE7AE03F3}"/>
                </a:ext>
              </a:extLst>
            </p:cNvPr>
            <p:cNvGrpSpPr/>
            <p:nvPr userDrawn="1"/>
          </p:nvGrpSpPr>
          <p:grpSpPr>
            <a:xfrm>
              <a:off x="9521833" y="3755578"/>
              <a:ext cx="2754815" cy="6013825"/>
              <a:chOff x="9521833" y="2566288"/>
              <a:chExt cx="2754815" cy="6013825"/>
            </a:xfrm>
          </p:grpSpPr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B89A63E2-40AE-6F46-A362-BFE20BF1B080}"/>
                  </a:ext>
                </a:extLst>
              </p:cNvPr>
              <p:cNvSpPr txBox="1"/>
              <p:nvPr userDrawn="1"/>
            </p:nvSpPr>
            <p:spPr>
              <a:xfrm>
                <a:off x="9558507" y="2566288"/>
                <a:ext cx="1231106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sz="825">
                    <a:solidFill>
                      <a:schemeClr val="bg1"/>
                    </a:solidFill>
                  </a:rPr>
                  <a:t>HOW TO ADD AN IMAGE</a:t>
                </a:r>
              </a:p>
            </p:txBody>
          </p: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1DD9B0EE-DBC0-FE43-992A-95582817972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558507" y="276890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2099CD36-FA5E-D446-83AD-9BEB40BDDA39}"/>
                  </a:ext>
                </a:extLst>
              </p:cNvPr>
              <p:cNvSpPr txBox="1"/>
              <p:nvPr userDrawn="1"/>
            </p:nvSpPr>
            <p:spPr>
              <a:xfrm>
                <a:off x="9686426" y="3627215"/>
                <a:ext cx="2297338" cy="28913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 b="1"/>
                  <a:t>Method 1: </a:t>
                </a:r>
                <a:r>
                  <a:rPr lang="en-US" sz="450" b="0"/>
                  <a:t>from file browser</a:t>
                </a:r>
              </a:p>
              <a:p>
                <a:pPr lvl="1">
                  <a:buNone/>
                </a:pPr>
                <a:r>
                  <a:rPr lang="en-US" sz="788"/>
                  <a:t>Drag the image onto the slide.</a:t>
                </a:r>
              </a:p>
            </p:txBody>
          </p:sp>
          <p:grpSp>
            <p:nvGrpSpPr>
              <p:cNvPr id="77" name="Group 76">
                <a:extLst>
                  <a:ext uri="{FF2B5EF4-FFF2-40B4-BE49-F238E27FC236}">
                    <a16:creationId xmlns:a16="http://schemas.microsoft.com/office/drawing/2014/main" id="{506D11A7-2578-BA40-896C-CE07CC36B340}"/>
                  </a:ext>
                </a:extLst>
              </p:cNvPr>
              <p:cNvGrpSpPr/>
              <p:nvPr userDrawn="1"/>
            </p:nvGrpSpPr>
            <p:grpSpPr>
              <a:xfrm>
                <a:off x="9541497" y="7168798"/>
                <a:ext cx="2735151" cy="1411315"/>
                <a:chOff x="9296567" y="4910411"/>
                <a:chExt cx="2735151" cy="1411315"/>
              </a:xfrm>
            </p:grpSpPr>
            <p:sp>
              <p:nvSpPr>
                <p:cNvPr id="130" name="Rectangle 129">
                  <a:extLst>
                    <a:ext uri="{FF2B5EF4-FFF2-40B4-BE49-F238E27FC236}">
                      <a16:creationId xmlns:a16="http://schemas.microsoft.com/office/drawing/2014/main" id="{234AFB33-F664-1B42-AC5B-833976E236C4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141131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  <p:sp>
              <p:nvSpPr>
                <p:cNvPr id="131" name="TextBox 130">
                  <a:extLst>
                    <a:ext uri="{FF2B5EF4-FFF2-40B4-BE49-F238E27FC236}">
                      <a16:creationId xmlns:a16="http://schemas.microsoft.com/office/drawing/2014/main" id="{DC3973FE-EA67-1446-90F5-00311B24E762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8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hange Image</a:t>
                  </a:r>
                </a:p>
              </p:txBody>
            </p:sp>
            <p:pic>
              <p:nvPicPr>
                <p:cNvPr id="132" name="Graphic 131">
                  <a:extLst>
                    <a:ext uri="{FF2B5EF4-FFF2-40B4-BE49-F238E27FC236}">
                      <a16:creationId xmlns:a16="http://schemas.microsoft.com/office/drawing/2014/main" id="{9754AA2E-1658-B94E-BD64-D044C2E502BF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133" name="TextBox 132">
                  <a:extLst>
                    <a:ext uri="{FF2B5EF4-FFF2-40B4-BE49-F238E27FC236}">
                      <a16:creationId xmlns:a16="http://schemas.microsoft.com/office/drawing/2014/main" id="{DFCE0AA6-50EE-9641-B168-FBEF90AE66A2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619194"/>
                  <a:ext cx="2422981" cy="37394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01204" lvl="1" indent="-98822" algn="l" defTabSz="6858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225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Deleting the image may bring the image placeholder to the top layer. Right-click on the placeholder and choose “Send to Back”.</a:t>
                  </a:r>
                </a:p>
              </p:txBody>
            </p:sp>
            <p:sp>
              <p:nvSpPr>
                <p:cNvPr id="134" name="TextBox 133">
                  <a:extLst>
                    <a:ext uri="{FF2B5EF4-FFF2-40B4-BE49-F238E27FC236}">
                      <a16:creationId xmlns:a16="http://schemas.microsoft.com/office/drawing/2014/main" id="{A15B11FC-4E91-5D4F-8B9F-F43F6D56913E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300350"/>
                  <a:ext cx="2422981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685800" rtl="0" eaLnBrk="1" latinLnBrk="0" hangingPunct="1">
                    <a:spcBef>
                      <a:spcPts val="150"/>
                    </a:spcBef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First, delete the existing image to reset the photo placeholder functionality.</a:t>
                  </a:r>
                </a:p>
              </p:txBody>
            </p:sp>
            <p:sp>
              <p:nvSpPr>
                <p:cNvPr id="135" name="TextBox 134">
                  <a:extLst>
                    <a:ext uri="{FF2B5EF4-FFF2-40B4-BE49-F238E27FC236}">
                      <a16:creationId xmlns:a16="http://schemas.microsoft.com/office/drawing/2014/main" id="{93BEE3EB-479B-2440-BD75-3378D4FCFF3D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068871"/>
                  <a:ext cx="2422981" cy="138500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685800" rtl="0" eaLnBrk="1" latinLnBrk="0" hangingPunct="1">
                    <a:spcBef>
                      <a:spcPts val="150"/>
                    </a:spcBef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You can now add a new image as normal.</a:t>
                  </a:r>
                </a:p>
              </p:txBody>
            </p:sp>
          </p:grpSp>
          <p:grpSp>
            <p:nvGrpSpPr>
              <p:cNvPr id="78" name="Group 77">
                <a:extLst>
                  <a:ext uri="{FF2B5EF4-FFF2-40B4-BE49-F238E27FC236}">
                    <a16:creationId xmlns:a16="http://schemas.microsoft.com/office/drawing/2014/main" id="{434F34EB-E608-1447-8D3A-0EA4F1F48519}"/>
                  </a:ext>
                </a:extLst>
              </p:cNvPr>
              <p:cNvGrpSpPr/>
              <p:nvPr userDrawn="1"/>
            </p:nvGrpSpPr>
            <p:grpSpPr>
              <a:xfrm>
                <a:off x="9541497" y="5812142"/>
                <a:ext cx="2735151" cy="1280928"/>
                <a:chOff x="9286315" y="6976989"/>
                <a:chExt cx="2735151" cy="1280928"/>
              </a:xfrm>
            </p:grpSpPr>
            <p:sp>
              <p:nvSpPr>
                <p:cNvPr id="87" name="Rectangle 86">
                  <a:extLst>
                    <a:ext uri="{FF2B5EF4-FFF2-40B4-BE49-F238E27FC236}">
                      <a16:creationId xmlns:a16="http://schemas.microsoft.com/office/drawing/2014/main" id="{E32A3E2E-D1F0-9741-A8EE-7BC84B4DE0D3}"/>
                    </a:ext>
                  </a:extLst>
                </p:cNvPr>
                <p:cNvSpPr/>
                <p:nvPr userDrawn="1"/>
              </p:nvSpPr>
              <p:spPr>
                <a:xfrm>
                  <a:off x="9286315" y="6976989"/>
                  <a:ext cx="2735151" cy="1280928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  <p:sp>
              <p:nvSpPr>
                <p:cNvPr id="88" name="TextBox 87">
                  <a:extLst>
                    <a:ext uri="{FF2B5EF4-FFF2-40B4-BE49-F238E27FC236}">
                      <a16:creationId xmlns:a16="http://schemas.microsoft.com/office/drawing/2014/main" id="{BDA4BD56-D03C-1548-978A-67CE2301B253}"/>
                    </a:ext>
                  </a:extLst>
                </p:cNvPr>
                <p:cNvSpPr txBox="1"/>
                <p:nvPr userDrawn="1"/>
              </p:nvSpPr>
              <p:spPr>
                <a:xfrm>
                  <a:off x="9652506" y="7105788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8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rop Image</a:t>
                  </a:r>
                </a:p>
              </p:txBody>
            </p:sp>
            <p:pic>
              <p:nvPicPr>
                <p:cNvPr id="127" name="Graphic 126">
                  <a:extLst>
                    <a:ext uri="{FF2B5EF4-FFF2-40B4-BE49-F238E27FC236}">
                      <a16:creationId xmlns:a16="http://schemas.microsoft.com/office/drawing/2014/main" id="{02277E74-6CD2-4746-AB10-BAC27E952C6B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46538" y="7116071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128" name="TextBox 127">
                  <a:extLst>
                    <a:ext uri="{FF2B5EF4-FFF2-40B4-BE49-F238E27FC236}">
                      <a16:creationId xmlns:a16="http://schemas.microsoft.com/office/drawing/2014/main" id="{2E41B035-7E95-6047-BBDE-7C5B9457A0AD}"/>
                    </a:ext>
                  </a:extLst>
                </p:cNvPr>
                <p:cNvSpPr txBox="1"/>
                <p:nvPr userDrawn="1"/>
              </p:nvSpPr>
              <p:spPr>
                <a:xfrm>
                  <a:off x="9446538" y="7369972"/>
                  <a:ext cx="2384904" cy="777136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Right-click on the image.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Choose “Crop” from the menu. (       )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Adjust the size and position of the image.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Press Esc or click outside the image area to exit the cropping mode.</a:t>
                  </a:r>
                </a:p>
              </p:txBody>
            </p:sp>
            <p:pic>
              <p:nvPicPr>
                <p:cNvPr id="129" name="Picture 128">
                  <a:extLst>
                    <a:ext uri="{FF2B5EF4-FFF2-40B4-BE49-F238E27FC236}">
                      <a16:creationId xmlns:a16="http://schemas.microsoft.com/office/drawing/2014/main" id="{7B58D3BB-E0DF-CE47-A88C-EBD63D7D6A44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 rotWithShape="1">
                <a:blip r:embed="rId5"/>
                <a:srcRect l="33684" t="12097" r="43371" b="20368"/>
                <a:stretch/>
              </p:blipFill>
              <p:spPr>
                <a:xfrm>
                  <a:off x="11243541" y="7454405"/>
                  <a:ext cx="136897" cy="213643"/>
                </a:xfrm>
                <a:prstGeom prst="rect">
                  <a:avLst/>
                </a:prstGeom>
                <a:ln w="19050">
                  <a:solidFill>
                    <a:schemeClr val="accent3">
                      <a:lumMod val="60000"/>
                      <a:lumOff val="40000"/>
                    </a:schemeClr>
                  </a:solidFill>
                </a:ln>
              </p:spPr>
            </p:pic>
          </p:grpSp>
          <p:grpSp>
            <p:nvGrpSpPr>
              <p:cNvPr id="79" name="Group 78">
                <a:extLst>
                  <a:ext uri="{FF2B5EF4-FFF2-40B4-BE49-F238E27FC236}">
                    <a16:creationId xmlns:a16="http://schemas.microsoft.com/office/drawing/2014/main" id="{C8A25EA3-4BB5-0948-9768-F661F9D2B441}"/>
                  </a:ext>
                </a:extLst>
              </p:cNvPr>
              <p:cNvGrpSpPr/>
              <p:nvPr userDrawn="1"/>
            </p:nvGrpSpPr>
            <p:grpSpPr>
              <a:xfrm>
                <a:off x="9521833" y="2891408"/>
                <a:ext cx="2617883" cy="707288"/>
                <a:chOff x="12352022" y="513115"/>
                <a:chExt cx="2617883" cy="707288"/>
              </a:xfrm>
            </p:grpSpPr>
            <p:sp>
              <p:nvSpPr>
                <p:cNvPr id="84" name="TextBox 83">
                  <a:extLst>
                    <a:ext uri="{FF2B5EF4-FFF2-40B4-BE49-F238E27FC236}">
                      <a16:creationId xmlns:a16="http://schemas.microsoft.com/office/drawing/2014/main" id="{812E9279-E3E5-A242-A2DB-550E662BE6CB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375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85" name="TextBox 84">
                  <a:extLst>
                    <a:ext uri="{FF2B5EF4-FFF2-40B4-BE49-F238E27FC236}">
                      <a16:creationId xmlns:a16="http://schemas.microsoft.com/office/drawing/2014/main" id="{916869B2-51AC-8042-BAC1-566B99834406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1033696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375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2</a:t>
                  </a:r>
                </a:p>
              </p:txBody>
            </p:sp>
            <p:sp>
              <p:nvSpPr>
                <p:cNvPr id="86" name="TextBox 85">
                  <a:extLst>
                    <a:ext uri="{FF2B5EF4-FFF2-40B4-BE49-F238E27FC236}">
                      <a16:creationId xmlns:a16="http://schemas.microsoft.com/office/drawing/2014/main" id="{6A901D3D-F415-AC4E-A011-9D50733FCE8E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453290" cy="70728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sz="788"/>
                    <a:t>Select and download images from the Marketing Resource Database.</a:t>
                  </a:r>
                </a:p>
                <a:p>
                  <a:pPr lvl="0"/>
                  <a:r>
                    <a:rPr lang="en-US" sz="788"/>
                    <a:t>Add the image to the placeholder.</a:t>
                  </a:r>
                </a:p>
              </p:txBody>
            </p:sp>
          </p:grpSp>
          <p:sp>
            <p:nvSpPr>
              <p:cNvPr id="80" name="TextBox 79">
                <a:extLst>
                  <a:ext uri="{FF2B5EF4-FFF2-40B4-BE49-F238E27FC236}">
                    <a16:creationId xmlns:a16="http://schemas.microsoft.com/office/drawing/2014/main" id="{EA1A97BD-9E28-EB42-8C33-224FE0567041}"/>
                  </a:ext>
                </a:extLst>
              </p:cNvPr>
              <p:cNvSpPr txBox="1"/>
              <p:nvPr userDrawn="1"/>
            </p:nvSpPr>
            <p:spPr>
              <a:xfrm>
                <a:off x="9674267" y="3910520"/>
                <a:ext cx="2374733" cy="32316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/>
                  <a:t>Note: If there are multiple image placeholders on the slide, select the intended placeholder before dragging in the image to let PowerPoint know where you want it.</a:t>
                </a:r>
              </a:p>
            </p:txBody>
          </p:sp>
          <p:sp>
            <p:nvSpPr>
              <p:cNvPr id="81" name="TextBox 80">
                <a:extLst>
                  <a:ext uri="{FF2B5EF4-FFF2-40B4-BE49-F238E27FC236}">
                    <a16:creationId xmlns:a16="http://schemas.microsoft.com/office/drawing/2014/main" id="{FCE719BC-ADE3-DB4E-AE64-4310A0F56B22}"/>
                  </a:ext>
                </a:extLst>
              </p:cNvPr>
              <p:cNvSpPr txBox="1"/>
              <p:nvPr userDrawn="1"/>
            </p:nvSpPr>
            <p:spPr>
              <a:xfrm>
                <a:off x="9686426" y="4325777"/>
                <a:ext cx="2297338" cy="63145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/>
                  <a:t>Method 2: </a:t>
                </a:r>
                <a:r>
                  <a:rPr lang="en-US" sz="450" b="0"/>
                  <a:t>Paste from clipboard</a:t>
                </a:r>
              </a:p>
              <a:p>
                <a:pPr lvl="1">
                  <a:buNone/>
                </a:pPr>
                <a:r>
                  <a:rPr lang="en-US" sz="788"/>
                  <a:t>Select the image placeholder.</a:t>
                </a:r>
              </a:p>
              <a:p>
                <a:pPr lvl="1">
                  <a:buNone/>
                </a:pPr>
                <a:r>
                  <a:rPr lang="en-US" sz="788"/>
                  <a:t>Right-click or use keyboard shortcuts to paste the image.</a:t>
                </a:r>
              </a:p>
            </p:txBody>
          </p:sp>
          <p:sp>
            <p:nvSpPr>
              <p:cNvPr id="82" name="TextBox 81">
                <a:extLst>
                  <a:ext uri="{FF2B5EF4-FFF2-40B4-BE49-F238E27FC236}">
                    <a16:creationId xmlns:a16="http://schemas.microsoft.com/office/drawing/2014/main" id="{CF2AA2C7-9C18-8E48-8CD9-713923D584C0}"/>
                  </a:ext>
                </a:extLst>
              </p:cNvPr>
              <p:cNvSpPr txBox="1"/>
              <p:nvPr userDrawn="1"/>
            </p:nvSpPr>
            <p:spPr>
              <a:xfrm>
                <a:off x="9686426" y="5045867"/>
                <a:ext cx="2297338" cy="4346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/>
                  <a:t>Method 3: </a:t>
                </a:r>
                <a:r>
                  <a:rPr lang="en-US" sz="450" b="0"/>
                  <a:t>Placeholder icon</a:t>
                </a:r>
              </a:p>
              <a:p>
                <a:pPr lvl="1">
                  <a:buNone/>
                </a:pPr>
                <a:r>
                  <a:rPr lang="en-US" sz="788"/>
                  <a:t>Click the image icon inside the placeholder to browse for an image.</a:t>
                </a:r>
              </a:p>
            </p:txBody>
          </p:sp>
          <p:sp>
            <p:nvSpPr>
              <p:cNvPr id="83" name="TextBox 82">
                <a:extLst>
                  <a:ext uri="{FF2B5EF4-FFF2-40B4-BE49-F238E27FC236}">
                    <a16:creationId xmlns:a16="http://schemas.microsoft.com/office/drawing/2014/main" id="{073AAC87-9D0B-A942-AEAB-5498BE1CDE42}"/>
                  </a:ext>
                </a:extLst>
              </p:cNvPr>
              <p:cNvSpPr txBox="1"/>
              <p:nvPr userDrawn="1"/>
            </p:nvSpPr>
            <p:spPr>
              <a:xfrm>
                <a:off x="9674267" y="5476431"/>
                <a:ext cx="2374733" cy="21544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/>
                  <a:t>Note: This icon may be covered by another element.</a:t>
                </a:r>
                <a:br>
                  <a:rPr lang="en-US" sz="525"/>
                </a:br>
                <a:r>
                  <a:rPr lang="en-US" sz="525"/>
                  <a:t>In this case use one of the other methods.</a:t>
                </a:r>
              </a:p>
            </p:txBody>
          </p:sp>
        </p:grp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2718DEAF-7355-D24A-A55A-6E5AFED9A98E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1670329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sz="825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08EADCA-2DBF-C447-BEEC-89115265ADF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90D81BAF-EA14-5342-B457-9F03F6415490}"/>
                </a:ext>
              </a:extLst>
            </p:cNvPr>
            <p:cNvGrpSpPr/>
            <p:nvPr userDrawn="1"/>
          </p:nvGrpSpPr>
          <p:grpSpPr>
            <a:xfrm>
              <a:off x="9554253" y="2414886"/>
              <a:ext cx="2819399" cy="1181890"/>
              <a:chOff x="9541498" y="3352649"/>
              <a:chExt cx="2819399" cy="1181890"/>
            </a:xfrm>
          </p:grpSpPr>
          <p:grpSp>
            <p:nvGrpSpPr>
              <p:cNvPr id="67" name="Group 66">
                <a:extLst>
                  <a:ext uri="{FF2B5EF4-FFF2-40B4-BE49-F238E27FC236}">
                    <a16:creationId xmlns:a16="http://schemas.microsoft.com/office/drawing/2014/main" id="{787A14E2-9B41-3441-B537-57155291B0D0}"/>
                  </a:ext>
                </a:extLst>
              </p:cNvPr>
              <p:cNvGrpSpPr/>
              <p:nvPr userDrawn="1"/>
            </p:nvGrpSpPr>
            <p:grpSpPr>
              <a:xfrm>
                <a:off x="9541498" y="3352649"/>
                <a:ext cx="2735150" cy="1181890"/>
                <a:chOff x="9541498" y="3751132"/>
                <a:chExt cx="2735150" cy="1181890"/>
              </a:xfrm>
            </p:grpSpPr>
            <p:grpSp>
              <p:nvGrpSpPr>
                <p:cNvPr id="69" name="Group 68">
                  <a:extLst>
                    <a:ext uri="{FF2B5EF4-FFF2-40B4-BE49-F238E27FC236}">
                      <a16:creationId xmlns:a16="http://schemas.microsoft.com/office/drawing/2014/main" id="{D9193720-38CB-8C45-8CB5-9F66BE5437DF}"/>
                    </a:ext>
                  </a:extLst>
                </p:cNvPr>
                <p:cNvGrpSpPr/>
                <p:nvPr userDrawn="1"/>
              </p:nvGrpSpPr>
              <p:grpSpPr>
                <a:xfrm>
                  <a:off x="9541498" y="3751132"/>
                  <a:ext cx="2735150" cy="1181890"/>
                  <a:chOff x="9296568" y="4910411"/>
                  <a:chExt cx="2735150" cy="1181890"/>
                </a:xfrm>
              </p:grpSpPr>
              <p:sp>
                <p:nvSpPr>
                  <p:cNvPr id="71" name="Rectangle 70">
                    <a:extLst>
                      <a:ext uri="{FF2B5EF4-FFF2-40B4-BE49-F238E27FC236}">
                        <a16:creationId xmlns:a16="http://schemas.microsoft.com/office/drawing/2014/main" id="{9661E725-6578-9A4A-B314-D6021CB4CFB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9296568" y="4910411"/>
                    <a:ext cx="2735150" cy="1181890"/>
                  </a:xfrm>
                  <a:prstGeom prst="rect">
                    <a:avLst/>
                  </a:prstGeom>
                  <a:solidFill>
                    <a:srgbClr val="FFFADF"/>
                  </a:solidFill>
                  <a:ln w="25400">
                    <a:solidFill>
                      <a:schemeClr val="tx1">
                        <a:lumMod val="65000"/>
                        <a:lumOff val="3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50"/>
                  </a:p>
                </p:txBody>
              </p:sp>
              <p:sp>
                <p:nvSpPr>
                  <p:cNvPr id="72" name="TextBox 71">
                    <a:extLst>
                      <a:ext uri="{FF2B5EF4-FFF2-40B4-BE49-F238E27FC236}">
                        <a16:creationId xmlns:a16="http://schemas.microsoft.com/office/drawing/2014/main" id="{6A82AECB-20FC-D04F-9436-9AA74FD66C5B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662758" y="5046087"/>
                    <a:ext cx="2211394" cy="16927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 algn="l"/>
                    <a:r>
                      <a:rPr lang="en-US" sz="825">
                        <a:solidFill>
                          <a:schemeClr val="accent2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Numbered lists</a:t>
                    </a:r>
                  </a:p>
                </p:txBody>
              </p:sp>
              <p:sp>
                <p:nvSpPr>
                  <p:cNvPr id="73" name="TextBox 72">
                    <a:extLst>
                      <a:ext uri="{FF2B5EF4-FFF2-40B4-BE49-F238E27FC236}">
                        <a16:creationId xmlns:a16="http://schemas.microsoft.com/office/drawing/2014/main" id="{76348B4A-2ADC-7F46-BABF-CA32F5E68A17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471806" y="5300349"/>
                    <a:ext cx="964050" cy="55399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>
                      <a:spcBef>
                        <a:spcPts val="150"/>
                      </a:spcBef>
                    </a:pPr>
                    <a:r>
                      <a:rPr lang="en-US" sz="675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For instruction on formatting numbered lists, see the most up-to-date Asset File.</a:t>
                    </a:r>
                  </a:p>
                </p:txBody>
              </p:sp>
            </p:grpSp>
            <p:pic>
              <p:nvPicPr>
                <p:cNvPr id="70" name="Graphic 69">
                  <a:extLst>
                    <a:ext uri="{FF2B5EF4-FFF2-40B4-BE49-F238E27FC236}">
                      <a16:creationId xmlns:a16="http://schemas.microsoft.com/office/drawing/2014/main" id="{C86CE353-C5DB-0145-AA86-27F6522447F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686425" y="3891259"/>
                  <a:ext cx="170340" cy="170340"/>
                </a:xfrm>
                <a:prstGeom prst="rect">
                  <a:avLst/>
                </a:prstGeom>
              </p:spPr>
            </p:pic>
          </p:grpSp>
          <p:pic>
            <p:nvPicPr>
              <p:cNvPr id="68" name="Picture 67">
                <a:extLst>
                  <a:ext uri="{FF2B5EF4-FFF2-40B4-BE49-F238E27FC236}">
                    <a16:creationId xmlns:a16="http://schemas.microsoft.com/office/drawing/2014/main" id="{9DB6EC41-E4FA-B54E-A44A-FE32BE140AB8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7"/>
              <a:srcRect r="30584"/>
              <a:stretch/>
            </p:blipFill>
            <p:spPr>
              <a:xfrm>
                <a:off x="10767220" y="3758285"/>
                <a:ext cx="1593677" cy="684608"/>
              </a:xfrm>
              <a:prstGeom prst="rect">
                <a:avLst/>
              </a:prstGeom>
              <a:solidFill>
                <a:srgbClr val="FFFADF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127031511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Logo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A3E7C59C-7AB2-FD4B-9D3E-CA7E0D8CB2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Slide TITLE. ALL CAPS. TWO LINES max.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D753A27-0B53-3B44-A318-323612277CF2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4561949" y="-2006770"/>
            <a:ext cx="0" cy="8260335"/>
          </a:xfrm>
          <a:prstGeom prst="line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0281FD7-9911-134B-A7C9-82C3663644A9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4561949" y="-709652"/>
            <a:ext cx="0" cy="8260335"/>
          </a:xfrm>
          <a:prstGeom prst="line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8D8CC5-DDED-9445-8A9A-D06B2B9A91DE}"/>
              </a:ext>
            </a:extLst>
          </p:cNvPr>
          <p:cNvSpPr>
            <a:spLocks noGrp="1"/>
          </p:cNvSpPr>
          <p:nvPr>
            <p:ph type="body" sz="quarter" idx="115"/>
          </p:nvPr>
        </p:nvSpPr>
        <p:spPr>
          <a:xfrm>
            <a:off x="2854326" y="925116"/>
            <a:ext cx="5857489" cy="11001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65A45B82-A28A-C541-9948-969822196900}"/>
              </a:ext>
            </a:extLst>
          </p:cNvPr>
          <p:cNvSpPr>
            <a:spLocks noGrp="1"/>
          </p:cNvSpPr>
          <p:nvPr>
            <p:ph type="body" sz="quarter" idx="116"/>
          </p:nvPr>
        </p:nvSpPr>
        <p:spPr>
          <a:xfrm>
            <a:off x="2854326" y="2221888"/>
            <a:ext cx="5857489" cy="11001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8B46136D-9E6B-7348-A230-0C0B61F4043F}"/>
              </a:ext>
            </a:extLst>
          </p:cNvPr>
          <p:cNvSpPr>
            <a:spLocks noGrp="1"/>
          </p:cNvSpPr>
          <p:nvPr>
            <p:ph type="body" sz="quarter" idx="117"/>
          </p:nvPr>
        </p:nvSpPr>
        <p:spPr>
          <a:xfrm>
            <a:off x="2854326" y="3518659"/>
            <a:ext cx="5857489" cy="11001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A9BB490B-C309-B748-9B19-AF93AAACA3CF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800" y="4650581"/>
            <a:ext cx="7440613" cy="379131"/>
          </a:xfrm>
        </p:spPr>
        <p:txBody>
          <a:bodyPr bIns="0" anchor="b"/>
          <a:lstStyle>
            <a:lvl1pPr marL="4763" indent="-1191">
              <a:spcBef>
                <a:spcPts val="56"/>
              </a:spcBef>
              <a:spcAft>
                <a:spcPts val="56"/>
              </a:spcAft>
              <a:buSzPct val="100000"/>
              <a:buFontTx/>
              <a:buNone/>
              <a:tabLst/>
              <a:defRPr sz="825" b="0">
                <a:solidFill>
                  <a:schemeClr val="tx1"/>
                </a:solidFill>
              </a:defRPr>
            </a:lvl1pPr>
            <a:lvl2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¹"/>
              <a:tabLst/>
              <a:defRPr sz="825" b="0" i="0">
                <a:solidFill>
                  <a:schemeClr val="tx1"/>
                </a:solidFill>
              </a:defRPr>
            </a:lvl2pPr>
            <a:lvl3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²"/>
              <a:tabLst/>
              <a:defRPr sz="825">
                <a:solidFill>
                  <a:schemeClr val="tx1"/>
                </a:solidFill>
              </a:defRPr>
            </a:lvl3pPr>
            <a:lvl4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³"/>
              <a:tabLst/>
              <a:defRPr sz="825">
                <a:solidFill>
                  <a:schemeClr val="tx1"/>
                </a:solidFill>
              </a:defRPr>
            </a:lvl4pPr>
            <a:lvl5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⁴"/>
              <a:tabLst/>
              <a:defRPr sz="825">
                <a:solidFill>
                  <a:schemeClr val="tx1"/>
                </a:solidFill>
              </a:defRPr>
            </a:lvl5pPr>
            <a:lvl6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⁵"/>
              <a:tabLst/>
              <a:defRPr sz="825">
                <a:solidFill>
                  <a:schemeClr val="tx1"/>
                </a:solidFill>
              </a:defRPr>
            </a:lvl6pPr>
            <a:lvl7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⁶"/>
              <a:tabLst/>
              <a:defRPr sz="825">
                <a:solidFill>
                  <a:schemeClr val="tx1"/>
                </a:solidFill>
              </a:defRPr>
            </a:lvl7pPr>
            <a:lvl8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⁷"/>
              <a:tabLst/>
              <a:defRPr sz="825">
                <a:solidFill>
                  <a:schemeClr val="tx1"/>
                </a:solidFill>
              </a:defRPr>
            </a:lvl8pPr>
            <a:lvl9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⁸"/>
              <a:tabLst/>
              <a:defRPr sz="825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/>
              <a:t>Footnotes – Levels 2-9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5D5C0E79-A3BD-5144-8C77-5A57F1DFDA10}"/>
              </a:ext>
            </a:extLst>
          </p:cNvPr>
          <p:cNvSpPr>
            <a:spLocks noGrp="1"/>
          </p:cNvSpPr>
          <p:nvPr>
            <p:ph type="dt" sz="half" idx="1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AA4A8FA1-CC46-7144-84B1-17C00BC259EB}"/>
              </a:ext>
            </a:extLst>
          </p:cNvPr>
          <p:cNvSpPr>
            <a:spLocks noGrp="1"/>
          </p:cNvSpPr>
          <p:nvPr>
            <p:ph type="ftr" sz="quarter" idx="1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ACB2D2FD-3057-D74D-B44D-0EB64193CE1C}"/>
              </a:ext>
            </a:extLst>
          </p:cNvPr>
          <p:cNvSpPr>
            <a:spLocks noGrp="1"/>
          </p:cNvSpPr>
          <p:nvPr>
            <p:ph type="sldNum" sz="quarter" idx="127"/>
          </p:nvPr>
        </p:nvSpPr>
        <p:spPr/>
        <p:txBody>
          <a:bodyPr/>
          <a:lstStyle/>
          <a:p>
            <a:pPr marL="9525"/>
            <a:fld id="{078C017C-E1B9-8443-B047-B08AAA027B45}" type="slidenum">
              <a:rPr lang="en-US" smtClean="0"/>
              <a:pPr marL="9525"/>
              <a:t>‹#›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7ACE0C3-0640-2343-BA09-F3EFC7CFB949}"/>
              </a:ext>
            </a:extLst>
          </p:cNvPr>
          <p:cNvSpPr>
            <a:spLocks noGrp="1"/>
          </p:cNvSpPr>
          <p:nvPr>
            <p:ph sz="quarter" idx="128" hasCustomPrompt="1"/>
          </p:nvPr>
        </p:nvSpPr>
        <p:spPr>
          <a:xfrm>
            <a:off x="431801" y="925116"/>
            <a:ext cx="2238375" cy="1100138"/>
          </a:xfrm>
        </p:spPr>
        <p:txBody>
          <a:bodyPr/>
          <a:lstStyle>
            <a:lvl1pPr algn="ctr"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image icon to add logo (do not add any other types of content)</a:t>
            </a:r>
          </a:p>
        </p:txBody>
      </p:sp>
      <p:sp>
        <p:nvSpPr>
          <p:cNvPr id="56" name="Content Placeholder 4">
            <a:extLst>
              <a:ext uri="{FF2B5EF4-FFF2-40B4-BE49-F238E27FC236}">
                <a16:creationId xmlns:a16="http://schemas.microsoft.com/office/drawing/2014/main" id="{3B8A4E6F-E1C9-9641-B3D3-BDB9B2012DBB}"/>
              </a:ext>
            </a:extLst>
          </p:cNvPr>
          <p:cNvSpPr>
            <a:spLocks noGrp="1"/>
          </p:cNvSpPr>
          <p:nvPr>
            <p:ph sz="quarter" idx="129" hasCustomPrompt="1"/>
          </p:nvPr>
        </p:nvSpPr>
        <p:spPr>
          <a:xfrm>
            <a:off x="431801" y="2221888"/>
            <a:ext cx="2238375" cy="1100138"/>
          </a:xfrm>
        </p:spPr>
        <p:txBody>
          <a:bodyPr/>
          <a:lstStyle>
            <a:lvl1pPr algn="ctr"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image icon to add logo (do not add any other types of content)</a:t>
            </a:r>
          </a:p>
        </p:txBody>
      </p:sp>
      <p:sp>
        <p:nvSpPr>
          <p:cNvPr id="57" name="Content Placeholder 4">
            <a:extLst>
              <a:ext uri="{FF2B5EF4-FFF2-40B4-BE49-F238E27FC236}">
                <a16:creationId xmlns:a16="http://schemas.microsoft.com/office/drawing/2014/main" id="{04F52250-2F95-E448-A157-BA7D33261555}"/>
              </a:ext>
            </a:extLst>
          </p:cNvPr>
          <p:cNvSpPr>
            <a:spLocks noGrp="1"/>
          </p:cNvSpPr>
          <p:nvPr>
            <p:ph sz="quarter" idx="130" hasCustomPrompt="1"/>
          </p:nvPr>
        </p:nvSpPr>
        <p:spPr>
          <a:xfrm>
            <a:off x="431801" y="3518659"/>
            <a:ext cx="2238375" cy="1100138"/>
          </a:xfrm>
        </p:spPr>
        <p:txBody>
          <a:bodyPr/>
          <a:lstStyle>
            <a:lvl1pPr algn="ctr"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image icon to add logo (do not add any other types of content)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14338023-BC13-1347-A902-C2204A24D96D}"/>
              </a:ext>
            </a:extLst>
          </p:cNvPr>
          <p:cNvGrpSpPr/>
          <p:nvPr userDrawn="1"/>
        </p:nvGrpSpPr>
        <p:grpSpPr>
          <a:xfrm>
            <a:off x="9399182" y="-1"/>
            <a:ext cx="2974470" cy="7327054"/>
            <a:chOff x="9399182" y="-2"/>
            <a:chExt cx="2974470" cy="9769405"/>
          </a:xfrm>
        </p:grpSpPr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F14DF298-5DBB-564B-B56C-06F534677012}"/>
                </a:ext>
              </a:extLst>
            </p:cNvPr>
            <p:cNvSpPr/>
            <p:nvPr userDrawn="1"/>
          </p:nvSpPr>
          <p:spPr>
            <a:xfrm>
              <a:off x="9399182" y="-2"/>
              <a:ext cx="2798651" cy="965503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050"/>
            </a:p>
          </p:txBody>
        </p:sp>
        <p:pic>
          <p:nvPicPr>
            <p:cNvPr id="64" name="Picture 63">
              <a:extLst>
                <a:ext uri="{FF2B5EF4-FFF2-40B4-BE49-F238E27FC236}">
                  <a16:creationId xmlns:a16="http://schemas.microsoft.com/office/drawing/2014/main" id="{87A54F67-95E3-4D47-8A30-4154E885C7C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41694"/>
            <a:stretch/>
          </p:blipFill>
          <p:spPr>
            <a:xfrm>
              <a:off x="9558506" y="1322104"/>
              <a:ext cx="2639328" cy="995540"/>
            </a:xfrm>
            <a:prstGeom prst="rect">
              <a:avLst/>
            </a:prstGeom>
          </p:spPr>
        </p:pic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9394EAB8-8CA4-4B4D-A004-BC8697696E5A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141" name="Rectangle 140">
                <a:extLst>
                  <a:ext uri="{FF2B5EF4-FFF2-40B4-BE49-F238E27FC236}">
                    <a16:creationId xmlns:a16="http://schemas.microsoft.com/office/drawing/2014/main" id="{FFD516EB-2BCB-2E43-AFF3-5121CF79D655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142" name="TextBox 141">
                <a:extLst>
                  <a:ext uri="{FF2B5EF4-FFF2-40B4-BE49-F238E27FC236}">
                    <a16:creationId xmlns:a16="http://schemas.microsoft.com/office/drawing/2014/main" id="{BF97D8B0-4B8D-B145-87DF-8E19E86AB9CF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143" name="Picture 142">
                <a:extLst>
                  <a:ext uri="{FF2B5EF4-FFF2-40B4-BE49-F238E27FC236}">
                    <a16:creationId xmlns:a16="http://schemas.microsoft.com/office/drawing/2014/main" id="{B352A88A-0AE1-F846-9CA0-DBE561C4B649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6DC41A6A-6B56-8547-86A6-CBFAF67515C3}"/>
                </a:ext>
              </a:extLst>
            </p:cNvPr>
            <p:cNvGrpSpPr/>
            <p:nvPr userDrawn="1"/>
          </p:nvGrpSpPr>
          <p:grpSpPr>
            <a:xfrm>
              <a:off x="9521833" y="3755578"/>
              <a:ext cx="2754815" cy="6013825"/>
              <a:chOff x="9521833" y="2566288"/>
              <a:chExt cx="2754815" cy="6013825"/>
            </a:xfrm>
          </p:grpSpPr>
          <p:sp>
            <p:nvSpPr>
              <p:cNvPr id="117" name="TextBox 116">
                <a:extLst>
                  <a:ext uri="{FF2B5EF4-FFF2-40B4-BE49-F238E27FC236}">
                    <a16:creationId xmlns:a16="http://schemas.microsoft.com/office/drawing/2014/main" id="{3AD32596-DA46-734D-B2A7-5DA54F93A57C}"/>
                  </a:ext>
                </a:extLst>
              </p:cNvPr>
              <p:cNvSpPr txBox="1"/>
              <p:nvPr userDrawn="1"/>
            </p:nvSpPr>
            <p:spPr>
              <a:xfrm>
                <a:off x="9558507" y="2566288"/>
                <a:ext cx="1231106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sz="825">
                    <a:solidFill>
                      <a:schemeClr val="bg1"/>
                    </a:solidFill>
                  </a:rPr>
                  <a:t>HOW TO ADD AN IMAGE</a:t>
                </a:r>
              </a:p>
            </p:txBody>
          </p:sp>
          <p:cxnSp>
            <p:nvCxnSpPr>
              <p:cNvPr id="118" name="Straight Connector 117">
                <a:extLst>
                  <a:ext uri="{FF2B5EF4-FFF2-40B4-BE49-F238E27FC236}">
                    <a16:creationId xmlns:a16="http://schemas.microsoft.com/office/drawing/2014/main" id="{CDBD1C83-41B8-F547-BE36-B26D9D04D2C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558507" y="276890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9" name="TextBox 118">
                <a:extLst>
                  <a:ext uri="{FF2B5EF4-FFF2-40B4-BE49-F238E27FC236}">
                    <a16:creationId xmlns:a16="http://schemas.microsoft.com/office/drawing/2014/main" id="{00AA5701-68AE-A84A-8CD3-773557FA6DE2}"/>
                  </a:ext>
                </a:extLst>
              </p:cNvPr>
              <p:cNvSpPr txBox="1"/>
              <p:nvPr userDrawn="1"/>
            </p:nvSpPr>
            <p:spPr>
              <a:xfrm>
                <a:off x="9686426" y="3627215"/>
                <a:ext cx="2297338" cy="28913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 b="1"/>
                  <a:t>Method 1: </a:t>
                </a:r>
                <a:r>
                  <a:rPr lang="en-US" sz="450" b="0"/>
                  <a:t>from file browser</a:t>
                </a:r>
              </a:p>
              <a:p>
                <a:pPr lvl="1">
                  <a:buNone/>
                </a:pPr>
                <a:r>
                  <a:rPr lang="en-US" sz="788"/>
                  <a:t>Drag the image onto the slide.</a:t>
                </a: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392A157E-FDF8-C647-ABDF-ED28D6D3705D}"/>
                  </a:ext>
                </a:extLst>
              </p:cNvPr>
              <p:cNvGrpSpPr/>
              <p:nvPr userDrawn="1"/>
            </p:nvGrpSpPr>
            <p:grpSpPr>
              <a:xfrm>
                <a:off x="9541497" y="7168798"/>
                <a:ext cx="2735151" cy="1411315"/>
                <a:chOff x="9296567" y="4910411"/>
                <a:chExt cx="2735151" cy="1411315"/>
              </a:xfrm>
            </p:grpSpPr>
            <p:sp>
              <p:nvSpPr>
                <p:cNvPr id="135" name="Rectangle 134">
                  <a:extLst>
                    <a:ext uri="{FF2B5EF4-FFF2-40B4-BE49-F238E27FC236}">
                      <a16:creationId xmlns:a16="http://schemas.microsoft.com/office/drawing/2014/main" id="{02B94648-6324-8142-876C-27E337B0E1FD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141131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  <p:sp>
              <p:nvSpPr>
                <p:cNvPr id="136" name="TextBox 135">
                  <a:extLst>
                    <a:ext uri="{FF2B5EF4-FFF2-40B4-BE49-F238E27FC236}">
                      <a16:creationId xmlns:a16="http://schemas.microsoft.com/office/drawing/2014/main" id="{0618C21E-471B-BA4C-9A32-09C947BE9431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8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hange Image</a:t>
                  </a:r>
                </a:p>
              </p:txBody>
            </p:sp>
            <p:pic>
              <p:nvPicPr>
                <p:cNvPr id="137" name="Graphic 136">
                  <a:extLst>
                    <a:ext uri="{FF2B5EF4-FFF2-40B4-BE49-F238E27FC236}">
                      <a16:creationId xmlns:a16="http://schemas.microsoft.com/office/drawing/2014/main" id="{1D728239-808A-0B4C-862B-8E8C8EFDC1C4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138" name="TextBox 137">
                  <a:extLst>
                    <a:ext uri="{FF2B5EF4-FFF2-40B4-BE49-F238E27FC236}">
                      <a16:creationId xmlns:a16="http://schemas.microsoft.com/office/drawing/2014/main" id="{2DE50146-1A5A-C242-845B-1A477E0FC2F7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619194"/>
                  <a:ext cx="2422981" cy="37394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01204" lvl="1" indent="-98822" algn="l" defTabSz="6858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225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Deleting the image may bring the image placeholder to the top layer. Right-click on the placeholder and choose “Send to Back”.</a:t>
                  </a:r>
                </a:p>
              </p:txBody>
            </p:sp>
            <p:sp>
              <p:nvSpPr>
                <p:cNvPr id="139" name="TextBox 138">
                  <a:extLst>
                    <a:ext uri="{FF2B5EF4-FFF2-40B4-BE49-F238E27FC236}">
                      <a16:creationId xmlns:a16="http://schemas.microsoft.com/office/drawing/2014/main" id="{7F1E0890-D66E-AF4C-A4EE-BC8248861590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300350"/>
                  <a:ext cx="2422981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685800" rtl="0" eaLnBrk="1" latinLnBrk="0" hangingPunct="1">
                    <a:spcBef>
                      <a:spcPts val="150"/>
                    </a:spcBef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First, delete the existing image to reset the photo placeholder functionality.</a:t>
                  </a:r>
                </a:p>
              </p:txBody>
            </p:sp>
            <p:sp>
              <p:nvSpPr>
                <p:cNvPr id="140" name="TextBox 139">
                  <a:extLst>
                    <a:ext uri="{FF2B5EF4-FFF2-40B4-BE49-F238E27FC236}">
                      <a16:creationId xmlns:a16="http://schemas.microsoft.com/office/drawing/2014/main" id="{A6BB6014-5278-3B4C-AB9E-A834031F5481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068871"/>
                  <a:ext cx="2422981" cy="138500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685800" rtl="0" eaLnBrk="1" latinLnBrk="0" hangingPunct="1">
                    <a:spcBef>
                      <a:spcPts val="150"/>
                    </a:spcBef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You can now add a new image as normal.</a:t>
                  </a:r>
                </a:p>
              </p:txBody>
            </p:sp>
          </p:grpSp>
          <p:grpSp>
            <p:nvGrpSpPr>
              <p:cNvPr id="121" name="Group 120">
                <a:extLst>
                  <a:ext uri="{FF2B5EF4-FFF2-40B4-BE49-F238E27FC236}">
                    <a16:creationId xmlns:a16="http://schemas.microsoft.com/office/drawing/2014/main" id="{6DAE35F0-9F0F-B740-BC72-9824D18FBCE5}"/>
                  </a:ext>
                </a:extLst>
              </p:cNvPr>
              <p:cNvGrpSpPr/>
              <p:nvPr userDrawn="1"/>
            </p:nvGrpSpPr>
            <p:grpSpPr>
              <a:xfrm>
                <a:off x="9541497" y="5812142"/>
                <a:ext cx="2735151" cy="1280928"/>
                <a:chOff x="9286315" y="6976989"/>
                <a:chExt cx="2735151" cy="1280928"/>
              </a:xfrm>
            </p:grpSpPr>
            <p:sp>
              <p:nvSpPr>
                <p:cNvPr id="130" name="Rectangle 129">
                  <a:extLst>
                    <a:ext uri="{FF2B5EF4-FFF2-40B4-BE49-F238E27FC236}">
                      <a16:creationId xmlns:a16="http://schemas.microsoft.com/office/drawing/2014/main" id="{75EB5A98-D7E3-3246-896C-BD7C101139E3}"/>
                    </a:ext>
                  </a:extLst>
                </p:cNvPr>
                <p:cNvSpPr/>
                <p:nvPr userDrawn="1"/>
              </p:nvSpPr>
              <p:spPr>
                <a:xfrm>
                  <a:off x="9286315" y="6976989"/>
                  <a:ext cx="2735151" cy="1280928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  <p:sp>
              <p:nvSpPr>
                <p:cNvPr id="131" name="TextBox 130">
                  <a:extLst>
                    <a:ext uri="{FF2B5EF4-FFF2-40B4-BE49-F238E27FC236}">
                      <a16:creationId xmlns:a16="http://schemas.microsoft.com/office/drawing/2014/main" id="{50776269-501A-0947-87D0-CCEDC9337CD8}"/>
                    </a:ext>
                  </a:extLst>
                </p:cNvPr>
                <p:cNvSpPr txBox="1"/>
                <p:nvPr userDrawn="1"/>
              </p:nvSpPr>
              <p:spPr>
                <a:xfrm>
                  <a:off x="9652506" y="7105788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8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rop Image</a:t>
                  </a:r>
                </a:p>
              </p:txBody>
            </p:sp>
            <p:pic>
              <p:nvPicPr>
                <p:cNvPr id="132" name="Graphic 131">
                  <a:extLst>
                    <a:ext uri="{FF2B5EF4-FFF2-40B4-BE49-F238E27FC236}">
                      <a16:creationId xmlns:a16="http://schemas.microsoft.com/office/drawing/2014/main" id="{87F48501-5A93-374F-981B-4315F4383BB0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46538" y="7116071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133" name="TextBox 132">
                  <a:extLst>
                    <a:ext uri="{FF2B5EF4-FFF2-40B4-BE49-F238E27FC236}">
                      <a16:creationId xmlns:a16="http://schemas.microsoft.com/office/drawing/2014/main" id="{359DA86C-29B3-2248-B674-BD1EBB7C9A93}"/>
                    </a:ext>
                  </a:extLst>
                </p:cNvPr>
                <p:cNvSpPr txBox="1"/>
                <p:nvPr userDrawn="1"/>
              </p:nvSpPr>
              <p:spPr>
                <a:xfrm>
                  <a:off x="9446538" y="7369972"/>
                  <a:ext cx="2384904" cy="777136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Right-click on the image.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Choose “Crop” from the menu. (       )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Adjust the size and position of the image.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Press Esc or click outside the image area to exit the cropping mode.</a:t>
                  </a:r>
                </a:p>
              </p:txBody>
            </p:sp>
            <p:pic>
              <p:nvPicPr>
                <p:cNvPr id="134" name="Picture 133">
                  <a:extLst>
                    <a:ext uri="{FF2B5EF4-FFF2-40B4-BE49-F238E27FC236}">
                      <a16:creationId xmlns:a16="http://schemas.microsoft.com/office/drawing/2014/main" id="{2139862B-48B2-7C46-9307-BA667EB073A7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 rotWithShape="1">
                <a:blip r:embed="rId5"/>
                <a:srcRect l="33684" t="12097" r="43371" b="20368"/>
                <a:stretch/>
              </p:blipFill>
              <p:spPr>
                <a:xfrm>
                  <a:off x="11243541" y="7454405"/>
                  <a:ext cx="136897" cy="213643"/>
                </a:xfrm>
                <a:prstGeom prst="rect">
                  <a:avLst/>
                </a:prstGeom>
                <a:ln w="19050">
                  <a:solidFill>
                    <a:schemeClr val="accent3">
                      <a:lumMod val="60000"/>
                      <a:lumOff val="40000"/>
                    </a:schemeClr>
                  </a:solidFill>
                </a:ln>
              </p:spPr>
            </p:pic>
          </p:grpSp>
          <p:grpSp>
            <p:nvGrpSpPr>
              <p:cNvPr id="122" name="Group 121">
                <a:extLst>
                  <a:ext uri="{FF2B5EF4-FFF2-40B4-BE49-F238E27FC236}">
                    <a16:creationId xmlns:a16="http://schemas.microsoft.com/office/drawing/2014/main" id="{F542BE3A-25C8-E34D-82A2-3E5EAAC9EE28}"/>
                  </a:ext>
                </a:extLst>
              </p:cNvPr>
              <p:cNvGrpSpPr/>
              <p:nvPr userDrawn="1"/>
            </p:nvGrpSpPr>
            <p:grpSpPr>
              <a:xfrm>
                <a:off x="9521833" y="2891408"/>
                <a:ext cx="2617883" cy="707288"/>
                <a:chOff x="12352022" y="513115"/>
                <a:chExt cx="2617883" cy="707288"/>
              </a:xfrm>
            </p:grpSpPr>
            <p:sp>
              <p:nvSpPr>
                <p:cNvPr id="127" name="TextBox 126">
                  <a:extLst>
                    <a:ext uri="{FF2B5EF4-FFF2-40B4-BE49-F238E27FC236}">
                      <a16:creationId xmlns:a16="http://schemas.microsoft.com/office/drawing/2014/main" id="{11FED43B-88E5-474E-9104-8C4173B493FA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375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128" name="TextBox 127">
                  <a:extLst>
                    <a:ext uri="{FF2B5EF4-FFF2-40B4-BE49-F238E27FC236}">
                      <a16:creationId xmlns:a16="http://schemas.microsoft.com/office/drawing/2014/main" id="{72D77D68-4988-744A-BA1D-53B1BBCE8BC3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1033696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375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2</a:t>
                  </a:r>
                </a:p>
              </p:txBody>
            </p:sp>
            <p:sp>
              <p:nvSpPr>
                <p:cNvPr id="129" name="TextBox 128">
                  <a:extLst>
                    <a:ext uri="{FF2B5EF4-FFF2-40B4-BE49-F238E27FC236}">
                      <a16:creationId xmlns:a16="http://schemas.microsoft.com/office/drawing/2014/main" id="{C0677107-2EAD-8B4A-A4DC-B850078AF29D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453290" cy="70728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sz="788"/>
                    <a:t>Select and download images from the Marketing Resource Database.</a:t>
                  </a:r>
                </a:p>
                <a:p>
                  <a:pPr lvl="0"/>
                  <a:r>
                    <a:rPr lang="en-US" sz="788"/>
                    <a:t>Add the image to the placeholder.</a:t>
                  </a:r>
                </a:p>
              </p:txBody>
            </p:sp>
          </p:grpSp>
          <p:sp>
            <p:nvSpPr>
              <p:cNvPr id="123" name="TextBox 122">
                <a:extLst>
                  <a:ext uri="{FF2B5EF4-FFF2-40B4-BE49-F238E27FC236}">
                    <a16:creationId xmlns:a16="http://schemas.microsoft.com/office/drawing/2014/main" id="{BAEC99EA-B6F6-1646-92FB-80FE6823066D}"/>
                  </a:ext>
                </a:extLst>
              </p:cNvPr>
              <p:cNvSpPr txBox="1"/>
              <p:nvPr userDrawn="1"/>
            </p:nvSpPr>
            <p:spPr>
              <a:xfrm>
                <a:off x="9674267" y="3910520"/>
                <a:ext cx="2374733" cy="32316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/>
                  <a:t>Note: If there are multiple image placeholders on the slide, select the intended placeholder before dragging in the image to let PowerPoint know where you want it.</a:t>
                </a:r>
              </a:p>
            </p:txBody>
          </p:sp>
          <p:sp>
            <p:nvSpPr>
              <p:cNvPr id="124" name="TextBox 123">
                <a:extLst>
                  <a:ext uri="{FF2B5EF4-FFF2-40B4-BE49-F238E27FC236}">
                    <a16:creationId xmlns:a16="http://schemas.microsoft.com/office/drawing/2014/main" id="{CF9B3E9B-05D1-8848-ADE8-D02FE87F82F0}"/>
                  </a:ext>
                </a:extLst>
              </p:cNvPr>
              <p:cNvSpPr txBox="1"/>
              <p:nvPr userDrawn="1"/>
            </p:nvSpPr>
            <p:spPr>
              <a:xfrm>
                <a:off x="9686426" y="4325777"/>
                <a:ext cx="2297338" cy="63145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/>
                  <a:t>Method 2: </a:t>
                </a:r>
                <a:r>
                  <a:rPr lang="en-US" sz="450" b="0"/>
                  <a:t>Paste from clipboard</a:t>
                </a:r>
              </a:p>
              <a:p>
                <a:pPr lvl="1">
                  <a:buNone/>
                </a:pPr>
                <a:r>
                  <a:rPr lang="en-US" sz="788"/>
                  <a:t>Select the image placeholder.</a:t>
                </a:r>
              </a:p>
              <a:p>
                <a:pPr lvl="1">
                  <a:buNone/>
                </a:pPr>
                <a:r>
                  <a:rPr lang="en-US" sz="788"/>
                  <a:t>Right-click or use keyboard shortcuts to paste the image.</a:t>
                </a:r>
              </a:p>
            </p:txBody>
          </p:sp>
          <p:sp>
            <p:nvSpPr>
              <p:cNvPr id="125" name="TextBox 124">
                <a:extLst>
                  <a:ext uri="{FF2B5EF4-FFF2-40B4-BE49-F238E27FC236}">
                    <a16:creationId xmlns:a16="http://schemas.microsoft.com/office/drawing/2014/main" id="{9629908E-9915-5E43-B359-FDD0D3CB4A2F}"/>
                  </a:ext>
                </a:extLst>
              </p:cNvPr>
              <p:cNvSpPr txBox="1"/>
              <p:nvPr userDrawn="1"/>
            </p:nvSpPr>
            <p:spPr>
              <a:xfrm>
                <a:off x="9686426" y="5045867"/>
                <a:ext cx="2297338" cy="4346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/>
                  <a:t>Method 3: </a:t>
                </a:r>
                <a:r>
                  <a:rPr lang="en-US" sz="450" b="0"/>
                  <a:t>Placeholder icon</a:t>
                </a:r>
              </a:p>
              <a:p>
                <a:pPr lvl="1">
                  <a:buNone/>
                </a:pPr>
                <a:r>
                  <a:rPr lang="en-US" sz="788"/>
                  <a:t>Click the image icon inside the placeholder to browse for an image.</a:t>
                </a: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EAF0EC84-90D9-954F-ADAB-0B3094909692}"/>
                  </a:ext>
                </a:extLst>
              </p:cNvPr>
              <p:cNvSpPr txBox="1"/>
              <p:nvPr userDrawn="1"/>
            </p:nvSpPr>
            <p:spPr>
              <a:xfrm>
                <a:off x="9674267" y="5476431"/>
                <a:ext cx="2374733" cy="21544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/>
                  <a:t>Note: This icon may be covered by another element.</a:t>
                </a:r>
                <a:br>
                  <a:rPr lang="en-US" sz="525"/>
                </a:br>
                <a:r>
                  <a:rPr lang="en-US" sz="525"/>
                  <a:t>In this case use one of the other methods.</a:t>
                </a:r>
              </a:p>
            </p:txBody>
          </p:sp>
        </p:grp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0141B528-2023-7140-87BB-06308B73F35E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1670329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sz="825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5BB2FFFE-D291-0E44-88F0-F0BAC04393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9" name="Group 108">
              <a:extLst>
                <a:ext uri="{FF2B5EF4-FFF2-40B4-BE49-F238E27FC236}">
                  <a16:creationId xmlns:a16="http://schemas.microsoft.com/office/drawing/2014/main" id="{EB44AA9A-6F0C-7E41-8B8F-81618CAC427A}"/>
                </a:ext>
              </a:extLst>
            </p:cNvPr>
            <p:cNvGrpSpPr/>
            <p:nvPr userDrawn="1"/>
          </p:nvGrpSpPr>
          <p:grpSpPr>
            <a:xfrm>
              <a:off x="9554253" y="2414886"/>
              <a:ext cx="2819399" cy="1181890"/>
              <a:chOff x="9541498" y="3352649"/>
              <a:chExt cx="2819399" cy="1181890"/>
            </a:xfrm>
          </p:grpSpPr>
          <p:grpSp>
            <p:nvGrpSpPr>
              <p:cNvPr id="110" name="Group 109">
                <a:extLst>
                  <a:ext uri="{FF2B5EF4-FFF2-40B4-BE49-F238E27FC236}">
                    <a16:creationId xmlns:a16="http://schemas.microsoft.com/office/drawing/2014/main" id="{F5B9B122-6142-B94E-942E-E0B201D15CA1}"/>
                  </a:ext>
                </a:extLst>
              </p:cNvPr>
              <p:cNvGrpSpPr/>
              <p:nvPr userDrawn="1"/>
            </p:nvGrpSpPr>
            <p:grpSpPr>
              <a:xfrm>
                <a:off x="9541498" y="3352649"/>
                <a:ext cx="2735150" cy="1181890"/>
                <a:chOff x="9541498" y="3751132"/>
                <a:chExt cx="2735150" cy="1181890"/>
              </a:xfrm>
            </p:grpSpPr>
            <p:grpSp>
              <p:nvGrpSpPr>
                <p:cNvPr id="112" name="Group 111">
                  <a:extLst>
                    <a:ext uri="{FF2B5EF4-FFF2-40B4-BE49-F238E27FC236}">
                      <a16:creationId xmlns:a16="http://schemas.microsoft.com/office/drawing/2014/main" id="{7B291978-2AC5-9143-AD37-94A0197282B8}"/>
                    </a:ext>
                  </a:extLst>
                </p:cNvPr>
                <p:cNvGrpSpPr/>
                <p:nvPr userDrawn="1"/>
              </p:nvGrpSpPr>
              <p:grpSpPr>
                <a:xfrm>
                  <a:off x="9541498" y="3751132"/>
                  <a:ext cx="2735150" cy="1181890"/>
                  <a:chOff x="9296568" y="4910411"/>
                  <a:chExt cx="2735150" cy="1181890"/>
                </a:xfrm>
              </p:grpSpPr>
              <p:sp>
                <p:nvSpPr>
                  <p:cNvPr id="114" name="Rectangle 113">
                    <a:extLst>
                      <a:ext uri="{FF2B5EF4-FFF2-40B4-BE49-F238E27FC236}">
                        <a16:creationId xmlns:a16="http://schemas.microsoft.com/office/drawing/2014/main" id="{C0D2544A-D26D-3F41-BA73-D37F4F2465D4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9296568" y="4910411"/>
                    <a:ext cx="2735150" cy="1181890"/>
                  </a:xfrm>
                  <a:prstGeom prst="rect">
                    <a:avLst/>
                  </a:prstGeom>
                  <a:solidFill>
                    <a:srgbClr val="FFFADF"/>
                  </a:solidFill>
                  <a:ln w="25400">
                    <a:solidFill>
                      <a:schemeClr val="tx1">
                        <a:lumMod val="65000"/>
                        <a:lumOff val="3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50"/>
                  </a:p>
                </p:txBody>
              </p:sp>
              <p:sp>
                <p:nvSpPr>
                  <p:cNvPr id="115" name="TextBox 114">
                    <a:extLst>
                      <a:ext uri="{FF2B5EF4-FFF2-40B4-BE49-F238E27FC236}">
                        <a16:creationId xmlns:a16="http://schemas.microsoft.com/office/drawing/2014/main" id="{60035F06-47BB-404F-AB16-667FE44B13AB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662758" y="5046087"/>
                    <a:ext cx="2211394" cy="16927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 algn="l"/>
                    <a:r>
                      <a:rPr lang="en-US" sz="825">
                        <a:solidFill>
                          <a:schemeClr val="accent2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Numbered lists</a:t>
                    </a:r>
                  </a:p>
                </p:txBody>
              </p:sp>
              <p:sp>
                <p:nvSpPr>
                  <p:cNvPr id="116" name="TextBox 115">
                    <a:extLst>
                      <a:ext uri="{FF2B5EF4-FFF2-40B4-BE49-F238E27FC236}">
                        <a16:creationId xmlns:a16="http://schemas.microsoft.com/office/drawing/2014/main" id="{28D5443B-64CA-584A-B14F-3D6F077D622F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471806" y="5300349"/>
                    <a:ext cx="964050" cy="55399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>
                      <a:spcBef>
                        <a:spcPts val="150"/>
                      </a:spcBef>
                    </a:pPr>
                    <a:r>
                      <a:rPr lang="en-US" sz="675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For instruction on formatting numbered lists, see the most up-to-date Asset File.</a:t>
                    </a:r>
                  </a:p>
                </p:txBody>
              </p:sp>
            </p:grpSp>
            <p:pic>
              <p:nvPicPr>
                <p:cNvPr id="113" name="Graphic 112">
                  <a:extLst>
                    <a:ext uri="{FF2B5EF4-FFF2-40B4-BE49-F238E27FC236}">
                      <a16:creationId xmlns:a16="http://schemas.microsoft.com/office/drawing/2014/main" id="{86D88F2A-157A-434C-BC12-58130EFE280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686425" y="3891259"/>
                  <a:ext cx="170340" cy="170340"/>
                </a:xfrm>
                <a:prstGeom prst="rect">
                  <a:avLst/>
                </a:prstGeom>
              </p:spPr>
            </p:pic>
          </p:grpSp>
          <p:pic>
            <p:nvPicPr>
              <p:cNvPr id="111" name="Picture 110">
                <a:extLst>
                  <a:ext uri="{FF2B5EF4-FFF2-40B4-BE49-F238E27FC236}">
                    <a16:creationId xmlns:a16="http://schemas.microsoft.com/office/drawing/2014/main" id="{D10AB923-ECC0-7F44-8C4E-D2C2876526B7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7"/>
              <a:srcRect r="30584"/>
              <a:stretch/>
            </p:blipFill>
            <p:spPr>
              <a:xfrm>
                <a:off x="10767220" y="3758285"/>
                <a:ext cx="1593677" cy="684608"/>
              </a:xfrm>
              <a:prstGeom prst="rect">
                <a:avLst/>
              </a:prstGeom>
              <a:solidFill>
                <a:srgbClr val="FFFADF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266691428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AA2048-EDD2-F745-AD54-211B30AB72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EEC714A-A2AD-484A-890B-76F9195C93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BD8BF2-2AF8-9541-BC63-26C010B37A7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9525"/>
            <a:fld id="{078C017C-E1B9-8443-B047-B08AAA027B45}" type="slidenum">
              <a:rPr lang="en-US" smtClean="0"/>
              <a:pPr marL="9525"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E1AB2A-232B-AF48-94F1-8052F8A8C02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F1CC87B0-C7F2-9F44-9F26-7CF2550160B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925231"/>
            <a:ext cx="2286000" cy="3698888"/>
          </a:xfrm>
          <a:solidFill>
            <a:schemeClr val="accent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hoto</a:t>
            </a: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41F3EA96-E39D-0348-A1BC-0B903B53550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286084" y="925116"/>
            <a:ext cx="2286000" cy="3699272"/>
          </a:xfrm>
          <a:solidFill>
            <a:schemeClr val="accent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hoto</a:t>
            </a: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8" name="Caption">
            <a:extLst>
              <a:ext uri="{FF2B5EF4-FFF2-40B4-BE49-F238E27FC236}">
                <a16:creationId xmlns:a16="http://schemas.microsoft.com/office/drawing/2014/main" id="{FF765415-C64D-0745-B0AB-3D196208D3B5}"/>
              </a:ext>
            </a:extLst>
          </p:cNvPr>
          <p:cNvSpPr>
            <a:spLocks noGrp="1"/>
          </p:cNvSpPr>
          <p:nvPr>
            <p:ph type="body" sz="quarter" idx="500" hasCustomPrompt="1"/>
          </p:nvPr>
        </p:nvSpPr>
        <p:spPr>
          <a:xfrm>
            <a:off x="-559" y="3408830"/>
            <a:ext cx="2286000" cy="1215558"/>
          </a:xfrm>
          <a:gradFill>
            <a:gsLst>
              <a:gs pos="0">
                <a:schemeClr val="tx2">
                  <a:alpha val="0"/>
                </a:schemeClr>
              </a:gs>
              <a:gs pos="100000">
                <a:schemeClr val="tx1">
                  <a:alpha val="67000"/>
                </a:schemeClr>
              </a:gs>
            </a:gsLst>
            <a:lin ang="5400000" scaled="1"/>
          </a:gradFill>
          <a:effectLst/>
        </p:spPr>
        <p:txBody>
          <a:bodyPr wrap="square" tIns="0" rIns="180000" bIns="180000" anchor="b">
            <a:noAutofit/>
          </a:bodyPr>
          <a:lstStyle>
            <a:lvl1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 b="0">
                <a:solidFill>
                  <a:schemeClr val="bg1"/>
                </a:solidFill>
                <a:effectLst/>
              </a:defRPr>
            </a:lvl1pPr>
            <a:lvl2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2pPr>
            <a:lvl3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3pPr>
            <a:lvl4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4pPr>
            <a:lvl5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5pPr>
            <a:lvl6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6pPr>
            <a:lvl7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7pPr>
            <a:lvl8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8pPr>
            <a:lvl9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photo caption</a:t>
            </a:r>
          </a:p>
        </p:txBody>
      </p:sp>
      <p:sp>
        <p:nvSpPr>
          <p:cNvPr id="9" name="Caption 2">
            <a:extLst>
              <a:ext uri="{FF2B5EF4-FFF2-40B4-BE49-F238E27FC236}">
                <a16:creationId xmlns:a16="http://schemas.microsoft.com/office/drawing/2014/main" id="{A058AF6A-478D-C446-8FDA-BB66BB40EFDC}"/>
              </a:ext>
            </a:extLst>
          </p:cNvPr>
          <p:cNvSpPr>
            <a:spLocks noGrp="1"/>
          </p:cNvSpPr>
          <p:nvPr>
            <p:ph type="body" sz="quarter" idx="502" hasCustomPrompt="1"/>
          </p:nvPr>
        </p:nvSpPr>
        <p:spPr>
          <a:xfrm>
            <a:off x="2285441" y="3408830"/>
            <a:ext cx="2286000" cy="1215558"/>
          </a:xfrm>
          <a:gradFill>
            <a:gsLst>
              <a:gs pos="0">
                <a:schemeClr val="tx2">
                  <a:alpha val="0"/>
                </a:schemeClr>
              </a:gs>
              <a:gs pos="100000">
                <a:schemeClr val="tx1">
                  <a:alpha val="67000"/>
                </a:schemeClr>
              </a:gs>
            </a:gsLst>
            <a:lin ang="5400000" scaled="1"/>
          </a:gradFill>
          <a:effectLst/>
        </p:spPr>
        <p:txBody>
          <a:bodyPr wrap="square" tIns="0" rIns="180000" bIns="180000" anchor="b">
            <a:noAutofit/>
          </a:bodyPr>
          <a:lstStyle>
            <a:lvl1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 b="0">
                <a:solidFill>
                  <a:schemeClr val="bg1"/>
                </a:solidFill>
                <a:effectLst/>
              </a:defRPr>
            </a:lvl1pPr>
            <a:lvl2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2pPr>
            <a:lvl3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3pPr>
            <a:lvl4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4pPr>
            <a:lvl5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5pPr>
            <a:lvl6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6pPr>
            <a:lvl7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7pPr>
            <a:lvl8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8pPr>
            <a:lvl9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photo caption</a:t>
            </a:r>
          </a:p>
        </p:txBody>
      </p:sp>
      <p:sp>
        <p:nvSpPr>
          <p:cNvPr id="10" name="Photo">
            <a:extLst>
              <a:ext uri="{FF2B5EF4-FFF2-40B4-BE49-F238E27FC236}">
                <a16:creationId xmlns:a16="http://schemas.microsoft.com/office/drawing/2014/main" id="{512A0202-78E1-D741-BC82-143227E8914D}"/>
              </a:ext>
            </a:extLst>
          </p:cNvPr>
          <p:cNvSpPr>
            <a:spLocks noGrp="1"/>
          </p:cNvSpPr>
          <p:nvPr>
            <p:ph type="pic" sz="quarter" idx="100" hasCustomPrompt="1"/>
          </p:nvPr>
        </p:nvSpPr>
        <p:spPr>
          <a:xfrm>
            <a:off x="4571242" y="925116"/>
            <a:ext cx="2286000" cy="3699272"/>
          </a:xfrm>
          <a:solidFill>
            <a:schemeClr val="accent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hoto</a:t>
            </a: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14" name="Caption 3">
            <a:extLst>
              <a:ext uri="{FF2B5EF4-FFF2-40B4-BE49-F238E27FC236}">
                <a16:creationId xmlns:a16="http://schemas.microsoft.com/office/drawing/2014/main" id="{3D533D84-C7F7-CA45-8D50-AF88F17CA887}"/>
              </a:ext>
            </a:extLst>
          </p:cNvPr>
          <p:cNvSpPr>
            <a:spLocks noGrp="1"/>
          </p:cNvSpPr>
          <p:nvPr>
            <p:ph type="body" sz="quarter" idx="504" hasCustomPrompt="1"/>
          </p:nvPr>
        </p:nvSpPr>
        <p:spPr>
          <a:xfrm>
            <a:off x="4570881" y="3408830"/>
            <a:ext cx="2286000" cy="1215558"/>
          </a:xfrm>
          <a:gradFill>
            <a:gsLst>
              <a:gs pos="0">
                <a:schemeClr val="tx2">
                  <a:alpha val="0"/>
                </a:schemeClr>
              </a:gs>
              <a:gs pos="100000">
                <a:schemeClr val="tx1">
                  <a:alpha val="67000"/>
                </a:schemeClr>
              </a:gs>
            </a:gsLst>
            <a:lin ang="5400000" scaled="1"/>
          </a:gradFill>
          <a:effectLst/>
        </p:spPr>
        <p:txBody>
          <a:bodyPr wrap="square" tIns="0" rIns="180000" bIns="180000" anchor="b">
            <a:noAutofit/>
          </a:bodyPr>
          <a:lstStyle>
            <a:lvl1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 b="0">
                <a:solidFill>
                  <a:schemeClr val="bg1"/>
                </a:solidFill>
                <a:effectLst/>
              </a:defRPr>
            </a:lvl1pPr>
            <a:lvl2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2pPr>
            <a:lvl3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3pPr>
            <a:lvl4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4pPr>
            <a:lvl5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5pPr>
            <a:lvl6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6pPr>
            <a:lvl7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7pPr>
            <a:lvl8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8pPr>
            <a:lvl9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photo caption</a:t>
            </a:r>
          </a:p>
        </p:txBody>
      </p:sp>
      <p:sp>
        <p:nvSpPr>
          <p:cNvPr id="21" name="Photo">
            <a:extLst>
              <a:ext uri="{FF2B5EF4-FFF2-40B4-BE49-F238E27FC236}">
                <a16:creationId xmlns:a16="http://schemas.microsoft.com/office/drawing/2014/main" id="{8A6B6870-A91D-CD4C-849D-824612FE6646}"/>
              </a:ext>
            </a:extLst>
          </p:cNvPr>
          <p:cNvSpPr>
            <a:spLocks noGrp="1"/>
          </p:cNvSpPr>
          <p:nvPr>
            <p:ph type="pic" sz="quarter" idx="505" hasCustomPrompt="1"/>
          </p:nvPr>
        </p:nvSpPr>
        <p:spPr>
          <a:xfrm>
            <a:off x="6858000" y="925116"/>
            <a:ext cx="2286000" cy="3699272"/>
          </a:xfrm>
          <a:solidFill>
            <a:schemeClr val="accent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hoto</a:t>
            </a: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22" name="Caption 3">
            <a:extLst>
              <a:ext uri="{FF2B5EF4-FFF2-40B4-BE49-F238E27FC236}">
                <a16:creationId xmlns:a16="http://schemas.microsoft.com/office/drawing/2014/main" id="{8DACDE04-BA10-A24B-9665-9686CF8ADBC8}"/>
              </a:ext>
            </a:extLst>
          </p:cNvPr>
          <p:cNvSpPr>
            <a:spLocks noGrp="1"/>
          </p:cNvSpPr>
          <p:nvPr>
            <p:ph type="body" sz="quarter" idx="506" hasCustomPrompt="1"/>
          </p:nvPr>
        </p:nvSpPr>
        <p:spPr>
          <a:xfrm>
            <a:off x="6857639" y="3408830"/>
            <a:ext cx="2286000" cy="1215558"/>
          </a:xfrm>
          <a:gradFill>
            <a:gsLst>
              <a:gs pos="0">
                <a:schemeClr val="tx2">
                  <a:alpha val="0"/>
                </a:schemeClr>
              </a:gs>
              <a:gs pos="100000">
                <a:schemeClr val="tx1">
                  <a:alpha val="67000"/>
                </a:schemeClr>
              </a:gs>
            </a:gsLst>
            <a:lin ang="5400000" scaled="1"/>
          </a:gradFill>
          <a:effectLst/>
        </p:spPr>
        <p:txBody>
          <a:bodyPr wrap="square" tIns="0" rIns="180000" bIns="180000" anchor="b">
            <a:noAutofit/>
          </a:bodyPr>
          <a:lstStyle>
            <a:lvl1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 b="0">
                <a:solidFill>
                  <a:schemeClr val="bg1"/>
                </a:solidFill>
                <a:effectLst/>
              </a:defRPr>
            </a:lvl1pPr>
            <a:lvl2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2pPr>
            <a:lvl3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3pPr>
            <a:lvl4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4pPr>
            <a:lvl5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5pPr>
            <a:lvl6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6pPr>
            <a:lvl7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7pPr>
            <a:lvl8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8pPr>
            <a:lvl9pPr marL="7144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photo caption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BE6425A-D6B1-9C42-9FF8-6B1BDD2111E9}"/>
              </a:ext>
            </a:extLst>
          </p:cNvPr>
          <p:cNvGrpSpPr/>
          <p:nvPr userDrawn="1"/>
        </p:nvGrpSpPr>
        <p:grpSpPr>
          <a:xfrm>
            <a:off x="9399182" y="-1"/>
            <a:ext cx="2874210" cy="5143501"/>
            <a:chOff x="9144000" y="-1"/>
            <a:chExt cx="2874210" cy="6858001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A7F06CD3-CF26-EE4B-AB60-DED6C8D6F9CC}"/>
                </a:ext>
              </a:extLst>
            </p:cNvPr>
            <p:cNvSpPr/>
            <p:nvPr userDrawn="1"/>
          </p:nvSpPr>
          <p:spPr>
            <a:xfrm>
              <a:off x="9144000" y="-1"/>
              <a:ext cx="2798651" cy="6858001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050"/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217B8F47-0053-A745-BC3E-BCEAB1D8AEE6}"/>
                </a:ext>
              </a:extLst>
            </p:cNvPr>
            <p:cNvGrpSpPr/>
            <p:nvPr userDrawn="1"/>
          </p:nvGrpSpPr>
          <p:grpSpPr>
            <a:xfrm>
              <a:off x="9263395" y="150289"/>
              <a:ext cx="2754815" cy="6013825"/>
              <a:chOff x="9266651" y="185338"/>
              <a:chExt cx="2754815" cy="6013825"/>
            </a:xfrm>
          </p:grpSpPr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28FE4F0B-DDA2-8A4A-B29A-667129CFB748}"/>
                  </a:ext>
                </a:extLst>
              </p:cNvPr>
              <p:cNvSpPr txBox="1"/>
              <p:nvPr userDrawn="1"/>
            </p:nvSpPr>
            <p:spPr>
              <a:xfrm>
                <a:off x="9303325" y="185338"/>
                <a:ext cx="1231106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sz="825">
                    <a:solidFill>
                      <a:schemeClr val="bg1"/>
                    </a:solidFill>
                  </a:rPr>
                  <a:t>HOW TO ADD AN IMAGE</a:t>
                </a:r>
              </a:p>
            </p:txBody>
          </p: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E121F88A-F599-904C-A272-C9075C810E0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303325" y="38795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1E2A20B4-C22E-1E43-AC20-7640AF790E7F}"/>
                  </a:ext>
                </a:extLst>
              </p:cNvPr>
              <p:cNvSpPr txBox="1"/>
              <p:nvPr userDrawn="1"/>
            </p:nvSpPr>
            <p:spPr>
              <a:xfrm>
                <a:off x="9431244" y="1246265"/>
                <a:ext cx="2297338" cy="28913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 b="1"/>
                  <a:t>Method 1: </a:t>
                </a:r>
                <a:r>
                  <a:rPr lang="en-US" sz="450" b="0"/>
                  <a:t>from file browser</a:t>
                </a:r>
              </a:p>
              <a:p>
                <a:pPr lvl="1">
                  <a:buNone/>
                </a:pPr>
                <a:r>
                  <a:rPr lang="en-US" sz="788"/>
                  <a:t>Drag the image onto the slide.</a:t>
                </a: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F09AC02A-BB41-5548-8D57-D0FEF0DA6D92}"/>
                  </a:ext>
                </a:extLst>
              </p:cNvPr>
              <p:cNvGrpSpPr/>
              <p:nvPr userDrawn="1"/>
            </p:nvGrpSpPr>
            <p:grpSpPr>
              <a:xfrm>
                <a:off x="9286315" y="4787848"/>
                <a:ext cx="2735151" cy="1411315"/>
                <a:chOff x="9296567" y="4910411"/>
                <a:chExt cx="2735151" cy="1411315"/>
              </a:xfrm>
            </p:grpSpPr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A2683D67-4490-A94E-AE4F-6D1857C59756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141131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  <p:sp>
              <p:nvSpPr>
                <p:cNvPr id="51" name="TextBox 50">
                  <a:extLst>
                    <a:ext uri="{FF2B5EF4-FFF2-40B4-BE49-F238E27FC236}">
                      <a16:creationId xmlns:a16="http://schemas.microsoft.com/office/drawing/2014/main" id="{12A1897F-4969-9E45-86B4-067CA6602E6B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8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hange Image</a:t>
                  </a:r>
                </a:p>
              </p:txBody>
            </p:sp>
            <p:pic>
              <p:nvPicPr>
                <p:cNvPr id="52" name="Graphic 51">
                  <a:extLst>
                    <a:ext uri="{FF2B5EF4-FFF2-40B4-BE49-F238E27FC236}">
                      <a16:creationId xmlns:a16="http://schemas.microsoft.com/office/drawing/2014/main" id="{35439718-B1E3-AB45-AB2F-F8E48DE0FF8D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53" name="TextBox 52">
                  <a:extLst>
                    <a:ext uri="{FF2B5EF4-FFF2-40B4-BE49-F238E27FC236}">
                      <a16:creationId xmlns:a16="http://schemas.microsoft.com/office/drawing/2014/main" id="{A522DBD7-CBEB-9B4E-8695-A6A03805465E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619194"/>
                  <a:ext cx="2422981" cy="37394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01204" lvl="1" indent="-98822" algn="l" defTabSz="6858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225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Deleting the image may bring the image placeholder to the top layer. Right-click on the placeholder and choose “Send to Back”.</a:t>
                  </a:r>
                </a:p>
              </p:txBody>
            </p:sp>
            <p:sp>
              <p:nvSpPr>
                <p:cNvPr id="54" name="TextBox 53">
                  <a:extLst>
                    <a:ext uri="{FF2B5EF4-FFF2-40B4-BE49-F238E27FC236}">
                      <a16:creationId xmlns:a16="http://schemas.microsoft.com/office/drawing/2014/main" id="{98CFD1B1-8CD1-0542-9C92-6F1880C4EB61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300350"/>
                  <a:ext cx="2422981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685800" rtl="0" eaLnBrk="1" latinLnBrk="0" hangingPunct="1">
                    <a:spcBef>
                      <a:spcPts val="150"/>
                    </a:spcBef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First, delete the existing image to reset the photo placeholder functionality.</a:t>
                  </a:r>
                </a:p>
              </p:txBody>
            </p:sp>
            <p:sp>
              <p:nvSpPr>
                <p:cNvPr id="55" name="TextBox 54">
                  <a:extLst>
                    <a:ext uri="{FF2B5EF4-FFF2-40B4-BE49-F238E27FC236}">
                      <a16:creationId xmlns:a16="http://schemas.microsoft.com/office/drawing/2014/main" id="{0344AA54-A017-0344-AD5A-AF7F25189338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068871"/>
                  <a:ext cx="2422981" cy="138500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685800" rtl="0" eaLnBrk="1" latinLnBrk="0" hangingPunct="1">
                    <a:spcBef>
                      <a:spcPts val="150"/>
                    </a:spcBef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You can now add a new image as normal.</a:t>
                  </a:r>
                </a:p>
              </p:txBody>
            </p:sp>
          </p:grpSp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99C4C35A-48AA-1544-8019-14E037D79E1D}"/>
                  </a:ext>
                </a:extLst>
              </p:cNvPr>
              <p:cNvGrpSpPr/>
              <p:nvPr userDrawn="1"/>
            </p:nvGrpSpPr>
            <p:grpSpPr>
              <a:xfrm>
                <a:off x="9286315" y="3431192"/>
                <a:ext cx="2735151" cy="1280928"/>
                <a:chOff x="9286315" y="6976989"/>
                <a:chExt cx="2735151" cy="1280928"/>
              </a:xfrm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271FFA37-2AB4-2B40-A550-905F9F08D77E}"/>
                    </a:ext>
                  </a:extLst>
                </p:cNvPr>
                <p:cNvSpPr/>
                <p:nvPr userDrawn="1"/>
              </p:nvSpPr>
              <p:spPr>
                <a:xfrm>
                  <a:off x="9286315" y="6976989"/>
                  <a:ext cx="2735151" cy="1280928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  <p:sp>
              <p:nvSpPr>
                <p:cNvPr id="46" name="TextBox 45">
                  <a:extLst>
                    <a:ext uri="{FF2B5EF4-FFF2-40B4-BE49-F238E27FC236}">
                      <a16:creationId xmlns:a16="http://schemas.microsoft.com/office/drawing/2014/main" id="{34AF0656-4B26-B84A-8E33-57265E5F7B8C}"/>
                    </a:ext>
                  </a:extLst>
                </p:cNvPr>
                <p:cNvSpPr txBox="1"/>
                <p:nvPr userDrawn="1"/>
              </p:nvSpPr>
              <p:spPr>
                <a:xfrm>
                  <a:off x="9652506" y="7105788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8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rop Image</a:t>
                  </a:r>
                </a:p>
              </p:txBody>
            </p:sp>
            <p:pic>
              <p:nvPicPr>
                <p:cNvPr id="47" name="Graphic 46">
                  <a:extLst>
                    <a:ext uri="{FF2B5EF4-FFF2-40B4-BE49-F238E27FC236}">
                      <a16:creationId xmlns:a16="http://schemas.microsoft.com/office/drawing/2014/main" id="{BB8498F9-B3B1-2549-B8AF-550228F9FF01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46538" y="7116071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48" name="TextBox 47">
                  <a:extLst>
                    <a:ext uri="{FF2B5EF4-FFF2-40B4-BE49-F238E27FC236}">
                      <a16:creationId xmlns:a16="http://schemas.microsoft.com/office/drawing/2014/main" id="{F28684BB-60A4-6244-8ACD-8932E203844A}"/>
                    </a:ext>
                  </a:extLst>
                </p:cNvPr>
                <p:cNvSpPr txBox="1"/>
                <p:nvPr userDrawn="1"/>
              </p:nvSpPr>
              <p:spPr>
                <a:xfrm>
                  <a:off x="9446538" y="7369972"/>
                  <a:ext cx="2384904" cy="777136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Right-click on the image.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Choose “Crop” from the menu. (       )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Adjust the size and position of the image.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Press Esc or click outside the image area to exit the cropping mode.</a:t>
                  </a:r>
                </a:p>
              </p:txBody>
            </p:sp>
            <p:pic>
              <p:nvPicPr>
                <p:cNvPr id="49" name="Picture 48">
                  <a:extLst>
                    <a:ext uri="{FF2B5EF4-FFF2-40B4-BE49-F238E27FC236}">
                      <a16:creationId xmlns:a16="http://schemas.microsoft.com/office/drawing/2014/main" id="{D7AB3508-106A-0C4F-B290-C3FBA222A5E2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 rotWithShape="1">
                <a:blip r:embed="rId3"/>
                <a:srcRect l="33684" t="12097" r="43371" b="20368"/>
                <a:stretch/>
              </p:blipFill>
              <p:spPr>
                <a:xfrm>
                  <a:off x="11243541" y="7454405"/>
                  <a:ext cx="136897" cy="213643"/>
                </a:xfrm>
                <a:prstGeom prst="rect">
                  <a:avLst/>
                </a:prstGeom>
                <a:ln w="19050">
                  <a:solidFill>
                    <a:schemeClr val="accent3">
                      <a:lumMod val="60000"/>
                      <a:lumOff val="40000"/>
                    </a:schemeClr>
                  </a:solidFill>
                </a:ln>
              </p:spPr>
            </p:pic>
          </p:grpSp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71727728-ED63-FC48-ACDE-061C8C673F89}"/>
                  </a:ext>
                </a:extLst>
              </p:cNvPr>
              <p:cNvGrpSpPr/>
              <p:nvPr userDrawn="1"/>
            </p:nvGrpSpPr>
            <p:grpSpPr>
              <a:xfrm>
                <a:off x="9266651" y="510458"/>
                <a:ext cx="2617883" cy="707288"/>
                <a:chOff x="12352022" y="513115"/>
                <a:chExt cx="2617883" cy="707288"/>
              </a:xfrm>
            </p:grpSpPr>
            <p:sp>
              <p:nvSpPr>
                <p:cNvPr id="42" name="TextBox 41">
                  <a:extLst>
                    <a:ext uri="{FF2B5EF4-FFF2-40B4-BE49-F238E27FC236}">
                      <a16:creationId xmlns:a16="http://schemas.microsoft.com/office/drawing/2014/main" id="{2FB9D382-9D7F-1D47-8087-B98355D54A4D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375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43" name="TextBox 42">
                  <a:extLst>
                    <a:ext uri="{FF2B5EF4-FFF2-40B4-BE49-F238E27FC236}">
                      <a16:creationId xmlns:a16="http://schemas.microsoft.com/office/drawing/2014/main" id="{7B579028-EE0C-DC47-AB28-DFF135019071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1033696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375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2</a:t>
                  </a:r>
                </a:p>
              </p:txBody>
            </p:sp>
            <p:sp>
              <p:nvSpPr>
                <p:cNvPr id="44" name="TextBox 43">
                  <a:extLst>
                    <a:ext uri="{FF2B5EF4-FFF2-40B4-BE49-F238E27FC236}">
                      <a16:creationId xmlns:a16="http://schemas.microsoft.com/office/drawing/2014/main" id="{DB620138-9FB3-B145-8A69-1A634C89385E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453290" cy="70728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sz="788"/>
                    <a:t>Select and download images from the Marketing Resource Database.</a:t>
                  </a:r>
                </a:p>
                <a:p>
                  <a:pPr lvl="0"/>
                  <a:r>
                    <a:rPr lang="en-US" sz="788"/>
                    <a:t>Add the image to the placeholder.</a:t>
                  </a:r>
                </a:p>
              </p:txBody>
            </p:sp>
          </p:grp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C8D89CE9-6754-7A40-B9BD-2DF033C4391A}"/>
                  </a:ext>
                </a:extLst>
              </p:cNvPr>
              <p:cNvSpPr txBox="1"/>
              <p:nvPr userDrawn="1"/>
            </p:nvSpPr>
            <p:spPr>
              <a:xfrm>
                <a:off x="9419085" y="1529570"/>
                <a:ext cx="2374733" cy="32316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/>
                  <a:t>Note: If there are multiple image placeholders on the slide, select the intended placeholder before dragging in the image to let PowerPoint know where you want it.</a:t>
                </a: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D2FF0306-7D0A-034E-A536-BECA596486DD}"/>
                  </a:ext>
                </a:extLst>
              </p:cNvPr>
              <p:cNvSpPr txBox="1"/>
              <p:nvPr userDrawn="1"/>
            </p:nvSpPr>
            <p:spPr>
              <a:xfrm>
                <a:off x="9431244" y="1944827"/>
                <a:ext cx="2297338" cy="63145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/>
                  <a:t>Method 2: </a:t>
                </a:r>
                <a:r>
                  <a:rPr lang="en-US" sz="450" b="0"/>
                  <a:t>Paste from clipboard</a:t>
                </a:r>
              </a:p>
              <a:p>
                <a:pPr lvl="1">
                  <a:buNone/>
                </a:pPr>
                <a:r>
                  <a:rPr lang="en-US" sz="788"/>
                  <a:t>Select the image placeholder.</a:t>
                </a:r>
              </a:p>
              <a:p>
                <a:pPr lvl="1">
                  <a:buNone/>
                </a:pPr>
                <a:r>
                  <a:rPr lang="en-US" sz="788"/>
                  <a:t>Right-click or use keyboard shortcuts to paste the image.</a:t>
                </a:r>
              </a:p>
            </p:txBody>
          </p: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97CD2AB1-6289-C941-96B2-D6EE69AE6141}"/>
                  </a:ext>
                </a:extLst>
              </p:cNvPr>
              <p:cNvSpPr txBox="1"/>
              <p:nvPr userDrawn="1"/>
            </p:nvSpPr>
            <p:spPr>
              <a:xfrm>
                <a:off x="9431244" y="2664917"/>
                <a:ext cx="2297338" cy="4346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/>
                  <a:t>Method 3: </a:t>
                </a:r>
                <a:r>
                  <a:rPr lang="en-US" sz="450" b="0"/>
                  <a:t>Placeholder icon</a:t>
                </a:r>
              </a:p>
              <a:p>
                <a:pPr lvl="1">
                  <a:buNone/>
                </a:pPr>
                <a:r>
                  <a:rPr lang="en-US" sz="788"/>
                  <a:t>Click the image icon inside the placeholder to browse for an image.</a:t>
                </a:r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9754A378-846E-7E44-B72A-0009F5AF6D76}"/>
                  </a:ext>
                </a:extLst>
              </p:cNvPr>
              <p:cNvSpPr txBox="1"/>
              <p:nvPr userDrawn="1"/>
            </p:nvSpPr>
            <p:spPr>
              <a:xfrm>
                <a:off x="9419085" y="3095481"/>
                <a:ext cx="2374733" cy="21544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/>
                  <a:t>Note: This icon may be covered by another element.</a:t>
                </a:r>
                <a:br>
                  <a:rPr lang="en-US" sz="525"/>
                </a:br>
                <a:r>
                  <a:rPr lang="en-US" sz="525"/>
                  <a:t>In this case use one of the other methods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3825712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423DF32C-150B-B744-A7E1-5C3269E4E6AA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4787900" y="834629"/>
            <a:ext cx="4356100" cy="3789760"/>
          </a:xfrm>
          <a:prstGeom prst="rect">
            <a:avLst/>
          </a:prstGeom>
          <a:solidFill>
            <a:schemeClr val="accent2"/>
          </a:solidFill>
        </p:spPr>
        <p:txBody>
          <a:bodyPr wrap="square" rIns="43200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hot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C2598A-7FBA-894D-9FD9-C59942BC6A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Slide TITLE. ALL CAPS. TWO LINES max.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78B27A02-1C02-184E-8B71-04A32B7B0FFF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800" y="4650581"/>
            <a:ext cx="7440613" cy="379131"/>
          </a:xfrm>
        </p:spPr>
        <p:txBody>
          <a:bodyPr bIns="0" anchor="b"/>
          <a:lstStyle>
            <a:lvl1pPr marL="4763" indent="-1191">
              <a:spcBef>
                <a:spcPts val="56"/>
              </a:spcBef>
              <a:spcAft>
                <a:spcPts val="56"/>
              </a:spcAft>
              <a:buSzPct val="100000"/>
              <a:buFontTx/>
              <a:buNone/>
              <a:tabLst/>
              <a:defRPr sz="825" b="0">
                <a:solidFill>
                  <a:schemeClr val="tx1"/>
                </a:solidFill>
              </a:defRPr>
            </a:lvl1pPr>
            <a:lvl2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¹"/>
              <a:tabLst/>
              <a:defRPr sz="825" b="0" i="0">
                <a:solidFill>
                  <a:schemeClr val="tx1"/>
                </a:solidFill>
              </a:defRPr>
            </a:lvl2pPr>
            <a:lvl3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²"/>
              <a:tabLst/>
              <a:defRPr sz="825">
                <a:solidFill>
                  <a:schemeClr val="tx1"/>
                </a:solidFill>
              </a:defRPr>
            </a:lvl3pPr>
            <a:lvl4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³"/>
              <a:tabLst/>
              <a:defRPr sz="825">
                <a:solidFill>
                  <a:schemeClr val="tx1"/>
                </a:solidFill>
              </a:defRPr>
            </a:lvl4pPr>
            <a:lvl5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⁴"/>
              <a:tabLst/>
              <a:defRPr sz="825">
                <a:solidFill>
                  <a:schemeClr val="tx1"/>
                </a:solidFill>
              </a:defRPr>
            </a:lvl5pPr>
            <a:lvl6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⁵"/>
              <a:tabLst/>
              <a:defRPr sz="825">
                <a:solidFill>
                  <a:schemeClr val="tx1"/>
                </a:solidFill>
              </a:defRPr>
            </a:lvl6pPr>
            <a:lvl7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⁶"/>
              <a:tabLst/>
              <a:defRPr sz="825">
                <a:solidFill>
                  <a:schemeClr val="tx1"/>
                </a:solidFill>
              </a:defRPr>
            </a:lvl7pPr>
            <a:lvl8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⁷"/>
              <a:tabLst/>
              <a:defRPr sz="825">
                <a:solidFill>
                  <a:schemeClr val="tx1"/>
                </a:solidFill>
              </a:defRPr>
            </a:lvl8pPr>
            <a:lvl9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⁸"/>
              <a:tabLst/>
              <a:defRPr sz="825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/>
              <a:t>Footnotes – Levels 2-9</a:t>
            </a:r>
          </a:p>
        </p:txBody>
      </p:sp>
      <p:sp>
        <p:nvSpPr>
          <p:cNvPr id="500" name="Caption">
            <a:extLst>
              <a:ext uri="{FF2B5EF4-FFF2-40B4-BE49-F238E27FC236}">
                <a16:creationId xmlns:a16="http://schemas.microsoft.com/office/drawing/2014/main" id="{E3703CA0-7C6E-BE4A-9549-3CD18BE408F5}"/>
              </a:ext>
            </a:extLst>
          </p:cNvPr>
          <p:cNvSpPr>
            <a:spLocks noGrp="1"/>
          </p:cNvSpPr>
          <p:nvPr>
            <p:ph type="body" sz="quarter" idx="500" hasCustomPrompt="1"/>
          </p:nvPr>
        </p:nvSpPr>
        <p:spPr>
          <a:xfrm>
            <a:off x="5960285" y="4359107"/>
            <a:ext cx="2742875" cy="114262"/>
          </a:xfrm>
          <a:effectLst/>
        </p:spPr>
        <p:txBody>
          <a:bodyPr wrap="square" anchor="b">
            <a:sp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 b="0">
                <a:solidFill>
                  <a:schemeClr val="bg1"/>
                </a:solidFill>
                <a:effectLst/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photo caption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7B9ACC9-FEEA-594F-95EA-7E74907FD326}"/>
              </a:ext>
            </a:extLst>
          </p:cNvPr>
          <p:cNvSpPr>
            <a:spLocks noGrp="1"/>
          </p:cNvSpPr>
          <p:nvPr>
            <p:ph type="dt" sz="half" idx="10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C1EDE3-F4CF-9F41-BC8A-2E7BCECD6FFF}"/>
              </a:ext>
            </a:extLst>
          </p:cNvPr>
          <p:cNvSpPr>
            <a:spLocks noGrp="1"/>
          </p:cNvSpPr>
          <p:nvPr>
            <p:ph type="ftr" sz="quarter" idx="10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DC54D9D-3175-B84D-96C6-75A1EF65E81A}"/>
              </a:ext>
            </a:extLst>
          </p:cNvPr>
          <p:cNvSpPr>
            <a:spLocks noGrp="1"/>
          </p:cNvSpPr>
          <p:nvPr>
            <p:ph type="sldNum" sz="quarter" idx="103"/>
          </p:nvPr>
        </p:nvSpPr>
        <p:spPr/>
        <p:txBody>
          <a:bodyPr/>
          <a:lstStyle/>
          <a:p>
            <a:pPr marL="9525"/>
            <a:fld id="{078C017C-E1B9-8443-B047-B08AAA027B45}" type="slidenum">
              <a:rPr lang="en-US" smtClean="0"/>
              <a:pPr marL="9525"/>
              <a:t>‹#›</a:t>
            </a:fld>
            <a:endParaRPr lang="en-US"/>
          </a:p>
        </p:txBody>
      </p:sp>
      <p:sp>
        <p:nvSpPr>
          <p:cNvPr id="200" name="First Content Placeholder">
            <a:extLst>
              <a:ext uri="{FF2B5EF4-FFF2-40B4-BE49-F238E27FC236}">
                <a16:creationId xmlns:a16="http://schemas.microsoft.com/office/drawing/2014/main" id="{1C1B5872-F27A-8540-9155-0506D8591D38}"/>
              </a:ext>
            </a:extLst>
          </p:cNvPr>
          <p:cNvSpPr>
            <a:spLocks noGrp="1"/>
          </p:cNvSpPr>
          <p:nvPr>
            <p:ph type="body" sz="quarter" idx="200"/>
          </p:nvPr>
        </p:nvSpPr>
        <p:spPr>
          <a:xfrm>
            <a:off x="431800" y="925116"/>
            <a:ext cx="4140200" cy="36992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4733A701-C28D-D14B-8A54-4FABF63CD244}"/>
              </a:ext>
            </a:extLst>
          </p:cNvPr>
          <p:cNvGrpSpPr/>
          <p:nvPr userDrawn="1"/>
        </p:nvGrpSpPr>
        <p:grpSpPr>
          <a:xfrm>
            <a:off x="9399182" y="-1"/>
            <a:ext cx="2974470" cy="7327054"/>
            <a:chOff x="9399182" y="-2"/>
            <a:chExt cx="2974470" cy="9769405"/>
          </a:xfrm>
        </p:grpSpPr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751DA6CE-8EF3-4A45-8D22-D0DF488812BC}"/>
                </a:ext>
              </a:extLst>
            </p:cNvPr>
            <p:cNvSpPr/>
            <p:nvPr userDrawn="1"/>
          </p:nvSpPr>
          <p:spPr>
            <a:xfrm>
              <a:off x="9399182" y="-2"/>
              <a:ext cx="2798651" cy="965503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050"/>
            </a:p>
          </p:txBody>
        </p:sp>
        <p:pic>
          <p:nvPicPr>
            <p:cNvPr id="126" name="Picture 125">
              <a:extLst>
                <a:ext uri="{FF2B5EF4-FFF2-40B4-BE49-F238E27FC236}">
                  <a16:creationId xmlns:a16="http://schemas.microsoft.com/office/drawing/2014/main" id="{B1044BAF-5A45-8449-B9C7-80FE332259F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41694"/>
            <a:stretch/>
          </p:blipFill>
          <p:spPr>
            <a:xfrm>
              <a:off x="9558506" y="1322104"/>
              <a:ext cx="2639328" cy="995540"/>
            </a:xfrm>
            <a:prstGeom prst="rect">
              <a:avLst/>
            </a:prstGeom>
          </p:spPr>
        </p:pic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BA68E120-F0E4-E945-800D-04C9368C1492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163" name="Rectangle 162">
                <a:extLst>
                  <a:ext uri="{FF2B5EF4-FFF2-40B4-BE49-F238E27FC236}">
                    <a16:creationId xmlns:a16="http://schemas.microsoft.com/office/drawing/2014/main" id="{A2492CFD-ACE4-D440-8AB8-5C71505FB95A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164" name="TextBox 163">
                <a:extLst>
                  <a:ext uri="{FF2B5EF4-FFF2-40B4-BE49-F238E27FC236}">
                    <a16:creationId xmlns:a16="http://schemas.microsoft.com/office/drawing/2014/main" id="{D4154661-313C-224F-BD94-A72392721054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165" name="Picture 164">
                <a:extLst>
                  <a:ext uri="{FF2B5EF4-FFF2-40B4-BE49-F238E27FC236}">
                    <a16:creationId xmlns:a16="http://schemas.microsoft.com/office/drawing/2014/main" id="{73A77609-877B-8A42-8CB0-F890A6AF4803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B5788AF6-D5BE-4D46-A7FD-EEA5EC2271BC}"/>
                </a:ext>
              </a:extLst>
            </p:cNvPr>
            <p:cNvGrpSpPr/>
            <p:nvPr userDrawn="1"/>
          </p:nvGrpSpPr>
          <p:grpSpPr>
            <a:xfrm>
              <a:off x="9521833" y="3755578"/>
              <a:ext cx="2754815" cy="6013825"/>
              <a:chOff x="9521833" y="2566288"/>
              <a:chExt cx="2754815" cy="6013825"/>
            </a:xfrm>
          </p:grpSpPr>
          <p:sp>
            <p:nvSpPr>
              <p:cNvPr id="139" name="TextBox 138">
                <a:extLst>
                  <a:ext uri="{FF2B5EF4-FFF2-40B4-BE49-F238E27FC236}">
                    <a16:creationId xmlns:a16="http://schemas.microsoft.com/office/drawing/2014/main" id="{40357B56-9945-894E-8D94-FE78A1E1BBDA}"/>
                  </a:ext>
                </a:extLst>
              </p:cNvPr>
              <p:cNvSpPr txBox="1"/>
              <p:nvPr userDrawn="1"/>
            </p:nvSpPr>
            <p:spPr>
              <a:xfrm>
                <a:off x="9558507" y="2566288"/>
                <a:ext cx="1231106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sz="825">
                    <a:solidFill>
                      <a:schemeClr val="bg1"/>
                    </a:solidFill>
                  </a:rPr>
                  <a:t>HOW TO ADD AN IMAGE</a:t>
                </a:r>
              </a:p>
            </p:txBody>
          </p:sp>
          <p:cxnSp>
            <p:nvCxnSpPr>
              <p:cNvPr id="140" name="Straight Connector 139">
                <a:extLst>
                  <a:ext uri="{FF2B5EF4-FFF2-40B4-BE49-F238E27FC236}">
                    <a16:creationId xmlns:a16="http://schemas.microsoft.com/office/drawing/2014/main" id="{C48E1D43-565E-C748-AA09-8B2024B0024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558507" y="276890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1" name="TextBox 140">
                <a:extLst>
                  <a:ext uri="{FF2B5EF4-FFF2-40B4-BE49-F238E27FC236}">
                    <a16:creationId xmlns:a16="http://schemas.microsoft.com/office/drawing/2014/main" id="{9609B6B1-808D-2F47-BA9D-5471F55D00F3}"/>
                  </a:ext>
                </a:extLst>
              </p:cNvPr>
              <p:cNvSpPr txBox="1"/>
              <p:nvPr userDrawn="1"/>
            </p:nvSpPr>
            <p:spPr>
              <a:xfrm>
                <a:off x="9686426" y="3627215"/>
                <a:ext cx="2297338" cy="28913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 b="1"/>
                  <a:t>Method 1: </a:t>
                </a:r>
                <a:r>
                  <a:rPr lang="en-US" sz="450" b="0"/>
                  <a:t>from file browser</a:t>
                </a:r>
              </a:p>
              <a:p>
                <a:pPr lvl="1">
                  <a:buNone/>
                </a:pPr>
                <a:r>
                  <a:rPr lang="en-US" sz="788"/>
                  <a:t>Drag the image onto the slide.</a:t>
                </a:r>
              </a:p>
            </p:txBody>
          </p:sp>
          <p:grpSp>
            <p:nvGrpSpPr>
              <p:cNvPr id="142" name="Group 141">
                <a:extLst>
                  <a:ext uri="{FF2B5EF4-FFF2-40B4-BE49-F238E27FC236}">
                    <a16:creationId xmlns:a16="http://schemas.microsoft.com/office/drawing/2014/main" id="{B05A4C93-6C32-F549-B7C2-5264AE3CC159}"/>
                  </a:ext>
                </a:extLst>
              </p:cNvPr>
              <p:cNvGrpSpPr/>
              <p:nvPr userDrawn="1"/>
            </p:nvGrpSpPr>
            <p:grpSpPr>
              <a:xfrm>
                <a:off x="9541497" y="7168798"/>
                <a:ext cx="2735151" cy="1411315"/>
                <a:chOff x="9296567" y="4910411"/>
                <a:chExt cx="2735151" cy="1411315"/>
              </a:xfrm>
            </p:grpSpPr>
            <p:sp>
              <p:nvSpPr>
                <p:cNvPr id="157" name="Rectangle 156">
                  <a:extLst>
                    <a:ext uri="{FF2B5EF4-FFF2-40B4-BE49-F238E27FC236}">
                      <a16:creationId xmlns:a16="http://schemas.microsoft.com/office/drawing/2014/main" id="{BDC5CF10-ABF4-3548-B7A9-AFF61FDC6756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141131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  <p:sp>
              <p:nvSpPr>
                <p:cNvPr id="158" name="TextBox 157">
                  <a:extLst>
                    <a:ext uri="{FF2B5EF4-FFF2-40B4-BE49-F238E27FC236}">
                      <a16:creationId xmlns:a16="http://schemas.microsoft.com/office/drawing/2014/main" id="{697C1DF9-78D8-F946-8AEA-97C6739BC23B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8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hange Image</a:t>
                  </a:r>
                </a:p>
              </p:txBody>
            </p:sp>
            <p:pic>
              <p:nvPicPr>
                <p:cNvPr id="159" name="Graphic 158">
                  <a:extLst>
                    <a:ext uri="{FF2B5EF4-FFF2-40B4-BE49-F238E27FC236}">
                      <a16:creationId xmlns:a16="http://schemas.microsoft.com/office/drawing/2014/main" id="{5C2FF1FF-B1B7-6545-806F-1BDC30271713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160" name="TextBox 159">
                  <a:extLst>
                    <a:ext uri="{FF2B5EF4-FFF2-40B4-BE49-F238E27FC236}">
                      <a16:creationId xmlns:a16="http://schemas.microsoft.com/office/drawing/2014/main" id="{FA3C0A73-D511-3B49-8AC7-02179A31268C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619194"/>
                  <a:ext cx="2422981" cy="37394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01204" lvl="1" indent="-98822" algn="l" defTabSz="6858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225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Deleting the image may bring the image placeholder to the top layer. Right-click on the placeholder and choose “Send to Back”.</a:t>
                  </a:r>
                </a:p>
              </p:txBody>
            </p:sp>
            <p:sp>
              <p:nvSpPr>
                <p:cNvPr id="161" name="TextBox 160">
                  <a:extLst>
                    <a:ext uri="{FF2B5EF4-FFF2-40B4-BE49-F238E27FC236}">
                      <a16:creationId xmlns:a16="http://schemas.microsoft.com/office/drawing/2014/main" id="{8EA9CE81-F075-DE47-82D8-6F158387D043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300350"/>
                  <a:ext cx="2422981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685800" rtl="0" eaLnBrk="1" latinLnBrk="0" hangingPunct="1">
                    <a:spcBef>
                      <a:spcPts val="150"/>
                    </a:spcBef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First, delete the existing image to reset the photo placeholder functionality.</a:t>
                  </a:r>
                </a:p>
              </p:txBody>
            </p:sp>
            <p:sp>
              <p:nvSpPr>
                <p:cNvPr id="162" name="TextBox 161">
                  <a:extLst>
                    <a:ext uri="{FF2B5EF4-FFF2-40B4-BE49-F238E27FC236}">
                      <a16:creationId xmlns:a16="http://schemas.microsoft.com/office/drawing/2014/main" id="{78807420-9DBC-9A45-8A89-7CD0F4D92B94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068871"/>
                  <a:ext cx="2422981" cy="138500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685800" rtl="0" eaLnBrk="1" latinLnBrk="0" hangingPunct="1">
                    <a:spcBef>
                      <a:spcPts val="150"/>
                    </a:spcBef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You can now add a new image as normal.</a:t>
                  </a:r>
                </a:p>
              </p:txBody>
            </p:sp>
          </p:grpSp>
          <p:grpSp>
            <p:nvGrpSpPr>
              <p:cNvPr id="143" name="Group 142">
                <a:extLst>
                  <a:ext uri="{FF2B5EF4-FFF2-40B4-BE49-F238E27FC236}">
                    <a16:creationId xmlns:a16="http://schemas.microsoft.com/office/drawing/2014/main" id="{5C351591-2472-904B-8759-942A88D16B9D}"/>
                  </a:ext>
                </a:extLst>
              </p:cNvPr>
              <p:cNvGrpSpPr/>
              <p:nvPr userDrawn="1"/>
            </p:nvGrpSpPr>
            <p:grpSpPr>
              <a:xfrm>
                <a:off x="9541497" y="5812142"/>
                <a:ext cx="2735151" cy="1280928"/>
                <a:chOff x="9286315" y="6976989"/>
                <a:chExt cx="2735151" cy="1280928"/>
              </a:xfrm>
            </p:grpSpPr>
            <p:sp>
              <p:nvSpPr>
                <p:cNvPr id="152" name="Rectangle 151">
                  <a:extLst>
                    <a:ext uri="{FF2B5EF4-FFF2-40B4-BE49-F238E27FC236}">
                      <a16:creationId xmlns:a16="http://schemas.microsoft.com/office/drawing/2014/main" id="{BE2203C4-AADF-9846-8B18-491BE1A24360}"/>
                    </a:ext>
                  </a:extLst>
                </p:cNvPr>
                <p:cNvSpPr/>
                <p:nvPr userDrawn="1"/>
              </p:nvSpPr>
              <p:spPr>
                <a:xfrm>
                  <a:off x="9286315" y="6976989"/>
                  <a:ext cx="2735151" cy="1280928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  <p:sp>
              <p:nvSpPr>
                <p:cNvPr id="153" name="TextBox 152">
                  <a:extLst>
                    <a:ext uri="{FF2B5EF4-FFF2-40B4-BE49-F238E27FC236}">
                      <a16:creationId xmlns:a16="http://schemas.microsoft.com/office/drawing/2014/main" id="{0030A937-6F39-054A-AED5-ADF5A04739AF}"/>
                    </a:ext>
                  </a:extLst>
                </p:cNvPr>
                <p:cNvSpPr txBox="1"/>
                <p:nvPr userDrawn="1"/>
              </p:nvSpPr>
              <p:spPr>
                <a:xfrm>
                  <a:off x="9652506" y="7105788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8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rop Image</a:t>
                  </a:r>
                </a:p>
              </p:txBody>
            </p:sp>
            <p:pic>
              <p:nvPicPr>
                <p:cNvPr id="154" name="Graphic 153">
                  <a:extLst>
                    <a:ext uri="{FF2B5EF4-FFF2-40B4-BE49-F238E27FC236}">
                      <a16:creationId xmlns:a16="http://schemas.microsoft.com/office/drawing/2014/main" id="{0537737C-2115-B947-9A78-0777F840E7B7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46538" y="7116071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155" name="TextBox 154">
                  <a:extLst>
                    <a:ext uri="{FF2B5EF4-FFF2-40B4-BE49-F238E27FC236}">
                      <a16:creationId xmlns:a16="http://schemas.microsoft.com/office/drawing/2014/main" id="{8BA15225-069B-8742-A8D7-CAC9185D5090}"/>
                    </a:ext>
                  </a:extLst>
                </p:cNvPr>
                <p:cNvSpPr txBox="1"/>
                <p:nvPr userDrawn="1"/>
              </p:nvSpPr>
              <p:spPr>
                <a:xfrm>
                  <a:off x="9446538" y="7369972"/>
                  <a:ext cx="2384904" cy="777136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Right-click on the image.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Choose “Crop” from the menu. (       )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Adjust the size and position of the image.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Press Esc or click outside the image area to exit the cropping mode.</a:t>
                  </a:r>
                </a:p>
              </p:txBody>
            </p:sp>
            <p:pic>
              <p:nvPicPr>
                <p:cNvPr id="156" name="Picture 155">
                  <a:extLst>
                    <a:ext uri="{FF2B5EF4-FFF2-40B4-BE49-F238E27FC236}">
                      <a16:creationId xmlns:a16="http://schemas.microsoft.com/office/drawing/2014/main" id="{8144153B-0D79-E944-B51D-5835E26BED66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 rotWithShape="1">
                <a:blip r:embed="rId5"/>
                <a:srcRect l="33684" t="12097" r="43371" b="20368"/>
                <a:stretch/>
              </p:blipFill>
              <p:spPr>
                <a:xfrm>
                  <a:off x="11243541" y="7454405"/>
                  <a:ext cx="136897" cy="213643"/>
                </a:xfrm>
                <a:prstGeom prst="rect">
                  <a:avLst/>
                </a:prstGeom>
                <a:ln w="19050">
                  <a:solidFill>
                    <a:schemeClr val="accent3">
                      <a:lumMod val="60000"/>
                      <a:lumOff val="40000"/>
                    </a:schemeClr>
                  </a:solidFill>
                </a:ln>
              </p:spPr>
            </p:pic>
          </p:grpSp>
          <p:grpSp>
            <p:nvGrpSpPr>
              <p:cNvPr id="144" name="Group 143">
                <a:extLst>
                  <a:ext uri="{FF2B5EF4-FFF2-40B4-BE49-F238E27FC236}">
                    <a16:creationId xmlns:a16="http://schemas.microsoft.com/office/drawing/2014/main" id="{E9E4EBA5-7235-1749-BE4E-7F57283F44A6}"/>
                  </a:ext>
                </a:extLst>
              </p:cNvPr>
              <p:cNvGrpSpPr/>
              <p:nvPr userDrawn="1"/>
            </p:nvGrpSpPr>
            <p:grpSpPr>
              <a:xfrm>
                <a:off x="9521833" y="2891408"/>
                <a:ext cx="2617883" cy="707288"/>
                <a:chOff x="12352022" y="513115"/>
                <a:chExt cx="2617883" cy="707288"/>
              </a:xfrm>
            </p:grpSpPr>
            <p:sp>
              <p:nvSpPr>
                <p:cNvPr id="149" name="TextBox 148">
                  <a:extLst>
                    <a:ext uri="{FF2B5EF4-FFF2-40B4-BE49-F238E27FC236}">
                      <a16:creationId xmlns:a16="http://schemas.microsoft.com/office/drawing/2014/main" id="{F2698A1D-5AA4-DC44-9F55-CBD096FE57F1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375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150" name="TextBox 149">
                  <a:extLst>
                    <a:ext uri="{FF2B5EF4-FFF2-40B4-BE49-F238E27FC236}">
                      <a16:creationId xmlns:a16="http://schemas.microsoft.com/office/drawing/2014/main" id="{3AE86D23-8305-5A45-A571-52B2F5C0990D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1033696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375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2</a:t>
                  </a:r>
                </a:p>
              </p:txBody>
            </p:sp>
            <p:sp>
              <p:nvSpPr>
                <p:cNvPr id="151" name="TextBox 150">
                  <a:extLst>
                    <a:ext uri="{FF2B5EF4-FFF2-40B4-BE49-F238E27FC236}">
                      <a16:creationId xmlns:a16="http://schemas.microsoft.com/office/drawing/2014/main" id="{C22F969C-FAF1-8246-BD84-28276607268B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453290" cy="70728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sz="788"/>
                    <a:t>Select and download images from the Marketing Resource Database.</a:t>
                  </a:r>
                </a:p>
                <a:p>
                  <a:pPr lvl="0"/>
                  <a:r>
                    <a:rPr lang="en-US" sz="788"/>
                    <a:t>Add the image to the placeholder.</a:t>
                  </a:r>
                </a:p>
              </p:txBody>
            </p:sp>
          </p:grpSp>
          <p:sp>
            <p:nvSpPr>
              <p:cNvPr id="145" name="TextBox 144">
                <a:extLst>
                  <a:ext uri="{FF2B5EF4-FFF2-40B4-BE49-F238E27FC236}">
                    <a16:creationId xmlns:a16="http://schemas.microsoft.com/office/drawing/2014/main" id="{94AAA41A-0A99-B540-9DFB-E702DDC79CE0}"/>
                  </a:ext>
                </a:extLst>
              </p:cNvPr>
              <p:cNvSpPr txBox="1"/>
              <p:nvPr userDrawn="1"/>
            </p:nvSpPr>
            <p:spPr>
              <a:xfrm>
                <a:off x="9674267" y="3910520"/>
                <a:ext cx="2374733" cy="32316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/>
                  <a:t>Note: If there are multiple image placeholders on the slide, select the intended placeholder before dragging in the image to let PowerPoint know where you want it.</a:t>
                </a:r>
              </a:p>
            </p:txBody>
          </p:sp>
          <p:sp>
            <p:nvSpPr>
              <p:cNvPr id="146" name="TextBox 145">
                <a:extLst>
                  <a:ext uri="{FF2B5EF4-FFF2-40B4-BE49-F238E27FC236}">
                    <a16:creationId xmlns:a16="http://schemas.microsoft.com/office/drawing/2014/main" id="{4FB277D0-59CC-B04A-AF4B-F5F46BEA5970}"/>
                  </a:ext>
                </a:extLst>
              </p:cNvPr>
              <p:cNvSpPr txBox="1"/>
              <p:nvPr userDrawn="1"/>
            </p:nvSpPr>
            <p:spPr>
              <a:xfrm>
                <a:off x="9686426" y="4325777"/>
                <a:ext cx="2297338" cy="63145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/>
                  <a:t>Method 2: </a:t>
                </a:r>
                <a:r>
                  <a:rPr lang="en-US" sz="450" b="0"/>
                  <a:t>Paste from clipboard</a:t>
                </a:r>
              </a:p>
              <a:p>
                <a:pPr lvl="1">
                  <a:buNone/>
                </a:pPr>
                <a:r>
                  <a:rPr lang="en-US" sz="788"/>
                  <a:t>Select the image placeholder.</a:t>
                </a:r>
              </a:p>
              <a:p>
                <a:pPr lvl="1">
                  <a:buNone/>
                </a:pPr>
                <a:r>
                  <a:rPr lang="en-US" sz="788"/>
                  <a:t>Right-click or use keyboard shortcuts to paste the image.</a:t>
                </a:r>
              </a:p>
            </p:txBody>
          </p:sp>
          <p:sp>
            <p:nvSpPr>
              <p:cNvPr id="147" name="TextBox 146">
                <a:extLst>
                  <a:ext uri="{FF2B5EF4-FFF2-40B4-BE49-F238E27FC236}">
                    <a16:creationId xmlns:a16="http://schemas.microsoft.com/office/drawing/2014/main" id="{D2A1627A-335B-1447-896B-7A24744C3AFE}"/>
                  </a:ext>
                </a:extLst>
              </p:cNvPr>
              <p:cNvSpPr txBox="1"/>
              <p:nvPr userDrawn="1"/>
            </p:nvSpPr>
            <p:spPr>
              <a:xfrm>
                <a:off x="9686426" y="5045867"/>
                <a:ext cx="2297338" cy="4346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/>
                  <a:t>Method 3: </a:t>
                </a:r>
                <a:r>
                  <a:rPr lang="en-US" sz="450" b="0"/>
                  <a:t>Placeholder icon</a:t>
                </a:r>
              </a:p>
              <a:p>
                <a:pPr lvl="1">
                  <a:buNone/>
                </a:pPr>
                <a:r>
                  <a:rPr lang="en-US" sz="788"/>
                  <a:t>Click the image icon inside the placeholder to browse for an image.</a:t>
                </a:r>
              </a:p>
            </p:txBody>
          </p:sp>
          <p:sp>
            <p:nvSpPr>
              <p:cNvPr id="148" name="TextBox 147">
                <a:extLst>
                  <a:ext uri="{FF2B5EF4-FFF2-40B4-BE49-F238E27FC236}">
                    <a16:creationId xmlns:a16="http://schemas.microsoft.com/office/drawing/2014/main" id="{D1D1A24B-457A-C34F-BF91-92618BD9AA84}"/>
                  </a:ext>
                </a:extLst>
              </p:cNvPr>
              <p:cNvSpPr txBox="1"/>
              <p:nvPr userDrawn="1"/>
            </p:nvSpPr>
            <p:spPr>
              <a:xfrm>
                <a:off x="9674267" y="5476431"/>
                <a:ext cx="2374733" cy="21544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/>
                  <a:t>Note: This icon may be covered by another element.</a:t>
                </a:r>
                <a:br>
                  <a:rPr lang="en-US" sz="525"/>
                </a:br>
                <a:r>
                  <a:rPr lang="en-US" sz="525"/>
                  <a:t>In this case use one of the other methods.</a:t>
                </a:r>
              </a:p>
            </p:txBody>
          </p:sp>
        </p:grp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44275E70-9A90-8248-B103-32F4FC330EA0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1670329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sz="825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206D460-1991-A942-841E-D63D3918283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F4DDB051-6B6F-BC48-8BB7-4040D84AAB04}"/>
                </a:ext>
              </a:extLst>
            </p:cNvPr>
            <p:cNvGrpSpPr/>
            <p:nvPr userDrawn="1"/>
          </p:nvGrpSpPr>
          <p:grpSpPr>
            <a:xfrm>
              <a:off x="9554253" y="2414886"/>
              <a:ext cx="2819399" cy="1181890"/>
              <a:chOff x="9541498" y="3352649"/>
              <a:chExt cx="2819399" cy="1181890"/>
            </a:xfrm>
          </p:grpSpPr>
          <p:grpSp>
            <p:nvGrpSpPr>
              <p:cNvPr id="132" name="Group 131">
                <a:extLst>
                  <a:ext uri="{FF2B5EF4-FFF2-40B4-BE49-F238E27FC236}">
                    <a16:creationId xmlns:a16="http://schemas.microsoft.com/office/drawing/2014/main" id="{766FADBE-8E34-814E-96B3-2AEADDB68211}"/>
                  </a:ext>
                </a:extLst>
              </p:cNvPr>
              <p:cNvGrpSpPr/>
              <p:nvPr userDrawn="1"/>
            </p:nvGrpSpPr>
            <p:grpSpPr>
              <a:xfrm>
                <a:off x="9541498" y="3352649"/>
                <a:ext cx="2735150" cy="1181890"/>
                <a:chOff x="9541498" y="3751132"/>
                <a:chExt cx="2735150" cy="1181890"/>
              </a:xfrm>
            </p:grpSpPr>
            <p:grpSp>
              <p:nvGrpSpPr>
                <p:cNvPr id="134" name="Group 133">
                  <a:extLst>
                    <a:ext uri="{FF2B5EF4-FFF2-40B4-BE49-F238E27FC236}">
                      <a16:creationId xmlns:a16="http://schemas.microsoft.com/office/drawing/2014/main" id="{AD0934A4-4B6D-554D-99CA-06DCE1F3AD20}"/>
                    </a:ext>
                  </a:extLst>
                </p:cNvPr>
                <p:cNvGrpSpPr/>
                <p:nvPr userDrawn="1"/>
              </p:nvGrpSpPr>
              <p:grpSpPr>
                <a:xfrm>
                  <a:off x="9541498" y="3751132"/>
                  <a:ext cx="2735150" cy="1181890"/>
                  <a:chOff x="9296568" y="4910411"/>
                  <a:chExt cx="2735150" cy="1181890"/>
                </a:xfrm>
              </p:grpSpPr>
              <p:sp>
                <p:nvSpPr>
                  <p:cNvPr id="136" name="Rectangle 135">
                    <a:extLst>
                      <a:ext uri="{FF2B5EF4-FFF2-40B4-BE49-F238E27FC236}">
                        <a16:creationId xmlns:a16="http://schemas.microsoft.com/office/drawing/2014/main" id="{53182B15-F43E-0147-B7E0-9BED83FA6B8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9296568" y="4910411"/>
                    <a:ext cx="2735150" cy="1181890"/>
                  </a:xfrm>
                  <a:prstGeom prst="rect">
                    <a:avLst/>
                  </a:prstGeom>
                  <a:solidFill>
                    <a:srgbClr val="FFFADF"/>
                  </a:solidFill>
                  <a:ln w="25400">
                    <a:solidFill>
                      <a:schemeClr val="tx1">
                        <a:lumMod val="65000"/>
                        <a:lumOff val="3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50"/>
                  </a:p>
                </p:txBody>
              </p:sp>
              <p:sp>
                <p:nvSpPr>
                  <p:cNvPr id="137" name="TextBox 136">
                    <a:extLst>
                      <a:ext uri="{FF2B5EF4-FFF2-40B4-BE49-F238E27FC236}">
                        <a16:creationId xmlns:a16="http://schemas.microsoft.com/office/drawing/2014/main" id="{A7FE4E2B-60F9-B74B-9322-B2A84ADC3AEC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662758" y="5046087"/>
                    <a:ext cx="2211394" cy="16927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 algn="l"/>
                    <a:r>
                      <a:rPr lang="en-US" sz="825">
                        <a:solidFill>
                          <a:schemeClr val="accent2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Numbered lists</a:t>
                    </a:r>
                  </a:p>
                </p:txBody>
              </p:sp>
              <p:sp>
                <p:nvSpPr>
                  <p:cNvPr id="138" name="TextBox 137">
                    <a:extLst>
                      <a:ext uri="{FF2B5EF4-FFF2-40B4-BE49-F238E27FC236}">
                        <a16:creationId xmlns:a16="http://schemas.microsoft.com/office/drawing/2014/main" id="{45C5FDA9-51EB-994D-A9B6-D74A75ECC8CA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471806" y="5300349"/>
                    <a:ext cx="964050" cy="55399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>
                      <a:spcBef>
                        <a:spcPts val="150"/>
                      </a:spcBef>
                    </a:pPr>
                    <a:r>
                      <a:rPr lang="en-US" sz="675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For instruction on formatting numbered lists, see the most up-to-date Asset File.</a:t>
                    </a:r>
                  </a:p>
                </p:txBody>
              </p:sp>
            </p:grpSp>
            <p:pic>
              <p:nvPicPr>
                <p:cNvPr id="135" name="Graphic 134">
                  <a:extLst>
                    <a:ext uri="{FF2B5EF4-FFF2-40B4-BE49-F238E27FC236}">
                      <a16:creationId xmlns:a16="http://schemas.microsoft.com/office/drawing/2014/main" id="{10990A9D-3395-D041-92DA-7AF631B6320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686425" y="3891259"/>
                  <a:ext cx="170340" cy="170340"/>
                </a:xfrm>
                <a:prstGeom prst="rect">
                  <a:avLst/>
                </a:prstGeom>
              </p:spPr>
            </p:pic>
          </p:grpSp>
          <p:pic>
            <p:nvPicPr>
              <p:cNvPr id="133" name="Picture 132">
                <a:extLst>
                  <a:ext uri="{FF2B5EF4-FFF2-40B4-BE49-F238E27FC236}">
                    <a16:creationId xmlns:a16="http://schemas.microsoft.com/office/drawing/2014/main" id="{A163CE1E-05FE-3244-A292-D0B3E311C30C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7"/>
              <a:srcRect r="30584"/>
              <a:stretch/>
            </p:blipFill>
            <p:spPr>
              <a:xfrm>
                <a:off x="10767220" y="3758285"/>
                <a:ext cx="1593677" cy="684608"/>
              </a:xfrm>
              <a:prstGeom prst="rect">
                <a:avLst/>
              </a:prstGeom>
              <a:solidFill>
                <a:srgbClr val="FFFADF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105369892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Text Over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extBox 48">
            <a:extLst>
              <a:ext uri="{FF2B5EF4-FFF2-40B4-BE49-F238E27FC236}">
                <a16:creationId xmlns:a16="http://schemas.microsoft.com/office/drawing/2014/main" id="{53978DEE-ECAD-2749-B8B1-A2F8338F3B0F}"/>
              </a:ext>
            </a:extLst>
          </p:cNvPr>
          <p:cNvSpPr txBox="1">
            <a:spLocks/>
          </p:cNvSpPr>
          <p:nvPr userDrawn="1"/>
        </p:nvSpPr>
        <p:spPr>
          <a:xfrm>
            <a:off x="0" y="4650582"/>
            <a:ext cx="9144000" cy="492919"/>
          </a:xfrm>
          <a:custGeom>
            <a:avLst/>
            <a:gdLst>
              <a:gd name="connsiteX0" fmla="*/ 8545321 w 9144000"/>
              <a:gd name="connsiteY0" fmla="*/ 376500 h 657225"/>
              <a:gd name="connsiteX1" fmla="*/ 8554631 w 9144000"/>
              <a:gd name="connsiteY1" fmla="*/ 376500 h 657225"/>
              <a:gd name="connsiteX2" fmla="*/ 8572756 w 9144000"/>
              <a:gd name="connsiteY2" fmla="*/ 391789 h 657225"/>
              <a:gd name="connsiteX3" fmla="*/ 8552841 w 9144000"/>
              <a:gd name="connsiteY3" fmla="*/ 407812 h 657225"/>
              <a:gd name="connsiteX4" fmla="*/ 8552841 w 9144000"/>
              <a:gd name="connsiteY4" fmla="*/ 407699 h 657225"/>
              <a:gd name="connsiteX5" fmla="*/ 8545321 w 9144000"/>
              <a:gd name="connsiteY5" fmla="*/ 407699 h 657225"/>
              <a:gd name="connsiteX6" fmla="*/ 8440532 w 9144000"/>
              <a:gd name="connsiteY6" fmla="*/ 375390 h 657225"/>
              <a:gd name="connsiteX7" fmla="*/ 8450870 w 9144000"/>
              <a:gd name="connsiteY7" fmla="*/ 375390 h 657225"/>
              <a:gd name="connsiteX8" fmla="*/ 8486566 w 9144000"/>
              <a:gd name="connsiteY8" fmla="*/ 406439 h 657225"/>
              <a:gd name="connsiteX9" fmla="*/ 8452487 w 9144000"/>
              <a:gd name="connsiteY9" fmla="*/ 439520 h 657225"/>
              <a:gd name="connsiteX10" fmla="*/ 8440532 w 9144000"/>
              <a:gd name="connsiteY10" fmla="*/ 439520 h 657225"/>
              <a:gd name="connsiteX11" fmla="*/ 8359313 w 9144000"/>
              <a:gd name="connsiteY11" fmla="*/ 353970 h 657225"/>
              <a:gd name="connsiteX12" fmla="*/ 8357847 w 9144000"/>
              <a:gd name="connsiteY12" fmla="*/ 357073 h 657225"/>
              <a:gd name="connsiteX13" fmla="*/ 8338066 w 9144000"/>
              <a:gd name="connsiteY13" fmla="*/ 398879 h 657225"/>
              <a:gd name="connsiteX14" fmla="*/ 8338066 w 9144000"/>
              <a:gd name="connsiteY14" fmla="*/ 460790 h 657225"/>
              <a:gd name="connsiteX15" fmla="*/ 8406529 w 9144000"/>
              <a:gd name="connsiteY15" fmla="*/ 460790 h 657225"/>
              <a:gd name="connsiteX16" fmla="*/ 8406529 w 9144000"/>
              <a:gd name="connsiteY16" fmla="*/ 438203 h 657225"/>
              <a:gd name="connsiteX17" fmla="*/ 8363159 w 9144000"/>
              <a:gd name="connsiteY17" fmla="*/ 438203 h 657225"/>
              <a:gd name="connsiteX18" fmla="*/ 8363159 w 9144000"/>
              <a:gd name="connsiteY18" fmla="*/ 417366 h 657225"/>
              <a:gd name="connsiteX19" fmla="*/ 8402683 w 9144000"/>
              <a:gd name="connsiteY19" fmla="*/ 417366 h 657225"/>
              <a:gd name="connsiteX20" fmla="*/ 8402683 w 9144000"/>
              <a:gd name="connsiteY20" fmla="*/ 395795 h 657225"/>
              <a:gd name="connsiteX21" fmla="*/ 8363159 w 9144000"/>
              <a:gd name="connsiteY21" fmla="*/ 395795 h 657225"/>
              <a:gd name="connsiteX22" fmla="*/ 8363159 w 9144000"/>
              <a:gd name="connsiteY22" fmla="*/ 376707 h 657225"/>
              <a:gd name="connsiteX23" fmla="*/ 8406529 w 9144000"/>
              <a:gd name="connsiteY23" fmla="*/ 376707 h 657225"/>
              <a:gd name="connsiteX24" fmla="*/ 8406529 w 9144000"/>
              <a:gd name="connsiteY24" fmla="*/ 353970 h 657225"/>
              <a:gd name="connsiteX25" fmla="*/ 8245576 w 9144000"/>
              <a:gd name="connsiteY25" fmla="*/ 353951 h 657225"/>
              <a:gd name="connsiteX26" fmla="*/ 8262083 w 9144000"/>
              <a:gd name="connsiteY26" fmla="*/ 388348 h 657225"/>
              <a:gd name="connsiteX27" fmla="*/ 8288527 w 9144000"/>
              <a:gd name="connsiteY27" fmla="*/ 388348 h 657225"/>
              <a:gd name="connsiteX28" fmla="*/ 8273963 w 9144000"/>
              <a:gd name="connsiteY28" fmla="*/ 353951 h 657225"/>
              <a:gd name="connsiteX29" fmla="*/ 8520246 w 9144000"/>
              <a:gd name="connsiteY29" fmla="*/ 353932 h 657225"/>
              <a:gd name="connsiteX30" fmla="*/ 8520246 w 9144000"/>
              <a:gd name="connsiteY30" fmla="*/ 460789 h 657225"/>
              <a:gd name="connsiteX31" fmla="*/ 8545321 w 9144000"/>
              <a:gd name="connsiteY31" fmla="*/ 460789 h 657225"/>
              <a:gd name="connsiteX32" fmla="*/ 8545321 w 9144000"/>
              <a:gd name="connsiteY32" fmla="*/ 429157 h 657225"/>
              <a:gd name="connsiteX33" fmla="*/ 8554631 w 9144000"/>
              <a:gd name="connsiteY33" fmla="*/ 429157 h 657225"/>
              <a:gd name="connsiteX34" fmla="*/ 8598420 w 9144000"/>
              <a:gd name="connsiteY34" fmla="*/ 391244 h 657225"/>
              <a:gd name="connsiteX35" fmla="*/ 8550347 w 9144000"/>
              <a:gd name="connsiteY35" fmla="*/ 353932 h 657225"/>
              <a:gd name="connsiteX36" fmla="*/ 8415496 w 9144000"/>
              <a:gd name="connsiteY36" fmla="*/ 353932 h 657225"/>
              <a:gd name="connsiteX37" fmla="*/ 8415496 w 9144000"/>
              <a:gd name="connsiteY37" fmla="*/ 460695 h 657225"/>
              <a:gd name="connsiteX38" fmla="*/ 8448547 w 9144000"/>
              <a:gd name="connsiteY38" fmla="*/ 460808 h 657225"/>
              <a:gd name="connsiteX39" fmla="*/ 8513278 w 9144000"/>
              <a:gd name="connsiteY39" fmla="*/ 406439 h 657225"/>
              <a:gd name="connsiteX40" fmla="*/ 8447462 w 9144000"/>
              <a:gd name="connsiteY40" fmla="*/ 353970 h 657225"/>
              <a:gd name="connsiteX41" fmla="*/ 8447500 w 9144000"/>
              <a:gd name="connsiteY41" fmla="*/ 353932 h 657225"/>
              <a:gd name="connsiteX42" fmla="*/ 8415496 w 9144000"/>
              <a:gd name="connsiteY42" fmla="*/ 353932 h 657225"/>
              <a:gd name="connsiteX43" fmla="*/ 8323901 w 9144000"/>
              <a:gd name="connsiteY43" fmla="*/ 353932 h 657225"/>
              <a:gd name="connsiteX44" fmla="*/ 8298694 w 9144000"/>
              <a:gd name="connsiteY44" fmla="*/ 411874 h 657225"/>
              <a:gd name="connsiteX45" fmla="*/ 8291859 w 9144000"/>
              <a:gd name="connsiteY45" fmla="*/ 395870 h 657225"/>
              <a:gd name="connsiteX46" fmla="*/ 8265624 w 9144000"/>
              <a:gd name="connsiteY46" fmla="*/ 395870 h 657225"/>
              <a:gd name="connsiteX47" fmla="*/ 8296943 w 9144000"/>
              <a:gd name="connsiteY47" fmla="*/ 461203 h 657225"/>
              <a:gd name="connsiteX48" fmla="*/ 8299856 w 9144000"/>
              <a:gd name="connsiteY48" fmla="*/ 461203 h 657225"/>
              <a:gd name="connsiteX49" fmla="*/ 8350594 w 9144000"/>
              <a:gd name="connsiteY49" fmla="*/ 353932 h 657225"/>
              <a:gd name="connsiteX50" fmla="*/ 8704282 w 9144000"/>
              <a:gd name="connsiteY50" fmla="*/ 315373 h 657225"/>
              <a:gd name="connsiteX51" fmla="*/ 8704282 w 9144000"/>
              <a:gd name="connsiteY51" fmla="*/ 489998 h 657225"/>
              <a:gd name="connsiteX52" fmla="*/ 8723671 w 9144000"/>
              <a:gd name="connsiteY52" fmla="*/ 489998 h 657225"/>
              <a:gd name="connsiteX53" fmla="*/ 8723671 w 9144000"/>
              <a:gd name="connsiteY53" fmla="*/ 315373 h 657225"/>
              <a:gd name="connsiteX54" fmla="*/ 0 w 9144000"/>
              <a:gd name="connsiteY54" fmla="*/ 0 h 657225"/>
              <a:gd name="connsiteX55" fmla="*/ 9144000 w 9144000"/>
              <a:gd name="connsiteY55" fmla="*/ 0 h 657225"/>
              <a:gd name="connsiteX56" fmla="*/ 9144000 w 9144000"/>
              <a:gd name="connsiteY56" fmla="*/ 657225 h 657225"/>
              <a:gd name="connsiteX57" fmla="*/ 0 w 9144000"/>
              <a:gd name="connsiteY57" fmla="*/ 657225 h 657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9144000" h="657225">
                <a:moveTo>
                  <a:pt x="8545321" y="376500"/>
                </a:moveTo>
                <a:lnTo>
                  <a:pt x="8554631" y="376500"/>
                </a:lnTo>
                <a:cubicBezTo>
                  <a:pt x="8567006" y="376500"/>
                  <a:pt x="8572756" y="383195"/>
                  <a:pt x="8572756" y="391789"/>
                </a:cubicBezTo>
                <a:cubicBezTo>
                  <a:pt x="8572756" y="402133"/>
                  <a:pt x="8566130" y="407812"/>
                  <a:pt x="8552841" y="407812"/>
                </a:cubicBezTo>
                <a:lnTo>
                  <a:pt x="8552841" y="407699"/>
                </a:lnTo>
                <a:lnTo>
                  <a:pt x="8545321" y="407699"/>
                </a:lnTo>
                <a:close/>
                <a:moveTo>
                  <a:pt x="8440532" y="375390"/>
                </a:moveTo>
                <a:lnTo>
                  <a:pt x="8450870" y="375390"/>
                </a:lnTo>
                <a:cubicBezTo>
                  <a:pt x="8474172" y="375390"/>
                  <a:pt x="8486566" y="387050"/>
                  <a:pt x="8486566" y="406439"/>
                </a:cubicBezTo>
                <a:cubicBezTo>
                  <a:pt x="8486566" y="426412"/>
                  <a:pt x="8476095" y="439520"/>
                  <a:pt x="8452487" y="439520"/>
                </a:cubicBezTo>
                <a:lnTo>
                  <a:pt x="8440532" y="439520"/>
                </a:lnTo>
                <a:close/>
                <a:moveTo>
                  <a:pt x="8359313" y="353970"/>
                </a:moveTo>
                <a:lnTo>
                  <a:pt x="8357847" y="357073"/>
                </a:lnTo>
                <a:lnTo>
                  <a:pt x="8338066" y="398879"/>
                </a:lnTo>
                <a:lnTo>
                  <a:pt x="8338066" y="460790"/>
                </a:lnTo>
                <a:lnTo>
                  <a:pt x="8406529" y="460790"/>
                </a:lnTo>
                <a:lnTo>
                  <a:pt x="8406529" y="438203"/>
                </a:lnTo>
                <a:lnTo>
                  <a:pt x="8363159" y="438203"/>
                </a:lnTo>
                <a:lnTo>
                  <a:pt x="8363159" y="417366"/>
                </a:lnTo>
                <a:lnTo>
                  <a:pt x="8402683" y="417366"/>
                </a:lnTo>
                <a:lnTo>
                  <a:pt x="8402683" y="395795"/>
                </a:lnTo>
                <a:lnTo>
                  <a:pt x="8363159" y="395795"/>
                </a:lnTo>
                <a:lnTo>
                  <a:pt x="8363159" y="376707"/>
                </a:lnTo>
                <a:lnTo>
                  <a:pt x="8406529" y="376707"/>
                </a:lnTo>
                <a:lnTo>
                  <a:pt x="8406529" y="353970"/>
                </a:lnTo>
                <a:close/>
                <a:moveTo>
                  <a:pt x="8245576" y="353951"/>
                </a:moveTo>
                <a:lnTo>
                  <a:pt x="8262083" y="388348"/>
                </a:lnTo>
                <a:lnTo>
                  <a:pt x="8288527" y="388348"/>
                </a:lnTo>
                <a:lnTo>
                  <a:pt x="8273963" y="353951"/>
                </a:lnTo>
                <a:close/>
                <a:moveTo>
                  <a:pt x="8520246" y="353932"/>
                </a:moveTo>
                <a:lnTo>
                  <a:pt x="8520246" y="460789"/>
                </a:lnTo>
                <a:lnTo>
                  <a:pt x="8545321" y="460789"/>
                </a:lnTo>
                <a:lnTo>
                  <a:pt x="8545321" y="429157"/>
                </a:lnTo>
                <a:lnTo>
                  <a:pt x="8554631" y="429157"/>
                </a:lnTo>
                <a:cubicBezTo>
                  <a:pt x="8583189" y="429157"/>
                  <a:pt x="8598420" y="413266"/>
                  <a:pt x="8598420" y="391244"/>
                </a:cubicBezTo>
                <a:cubicBezTo>
                  <a:pt x="8598439" y="369711"/>
                  <a:pt x="8581628" y="353932"/>
                  <a:pt x="8550347" y="353932"/>
                </a:cubicBezTo>
                <a:close/>
                <a:moveTo>
                  <a:pt x="8415496" y="353932"/>
                </a:moveTo>
                <a:lnTo>
                  <a:pt x="8415496" y="460695"/>
                </a:lnTo>
                <a:cubicBezTo>
                  <a:pt x="8415496" y="460695"/>
                  <a:pt x="8435867" y="460808"/>
                  <a:pt x="8448547" y="460808"/>
                </a:cubicBezTo>
                <a:cubicBezTo>
                  <a:pt x="8493382" y="460808"/>
                  <a:pt x="8513278" y="437921"/>
                  <a:pt x="8513278" y="406439"/>
                </a:cubicBezTo>
                <a:cubicBezTo>
                  <a:pt x="8513278" y="376349"/>
                  <a:pt x="8492335" y="353970"/>
                  <a:pt x="8447462" y="353970"/>
                </a:cubicBezTo>
                <a:lnTo>
                  <a:pt x="8447500" y="353932"/>
                </a:lnTo>
                <a:cubicBezTo>
                  <a:pt x="8436743" y="353932"/>
                  <a:pt x="8415496" y="353932"/>
                  <a:pt x="8415496" y="353932"/>
                </a:cubicBezTo>
                <a:close/>
                <a:moveTo>
                  <a:pt x="8323901" y="353932"/>
                </a:moveTo>
                <a:lnTo>
                  <a:pt x="8298694" y="411874"/>
                </a:lnTo>
                <a:lnTo>
                  <a:pt x="8291859" y="395870"/>
                </a:lnTo>
                <a:lnTo>
                  <a:pt x="8265624" y="395870"/>
                </a:lnTo>
                <a:lnTo>
                  <a:pt x="8296943" y="461203"/>
                </a:lnTo>
                <a:lnTo>
                  <a:pt x="8299856" y="461203"/>
                </a:lnTo>
                <a:lnTo>
                  <a:pt x="8350594" y="353932"/>
                </a:lnTo>
                <a:close/>
                <a:moveTo>
                  <a:pt x="8704282" y="315373"/>
                </a:moveTo>
                <a:lnTo>
                  <a:pt x="8704282" y="489998"/>
                </a:lnTo>
                <a:lnTo>
                  <a:pt x="8723671" y="489998"/>
                </a:lnTo>
                <a:lnTo>
                  <a:pt x="8723671" y="315373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57225"/>
                </a:lnTo>
                <a:lnTo>
                  <a:pt x="0" y="65722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Wingdings" pitchFamily="2" charset="2"/>
              <a:buNone/>
              <a:defRPr sz="1400" b="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7850" indent="-30162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5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B8FF2F9E-B138-B440-A76C-3B6051B4C94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834628"/>
            <a:ext cx="9144001" cy="4308872"/>
          </a:xfrm>
          <a:custGeom>
            <a:avLst/>
            <a:gdLst>
              <a:gd name="connsiteX0" fmla="*/ 8545320 w 9144001"/>
              <a:gd name="connsiteY0" fmla="*/ 5464436 h 5745162"/>
              <a:gd name="connsiteX1" fmla="*/ 8554630 w 9144001"/>
              <a:gd name="connsiteY1" fmla="*/ 5464436 h 5745162"/>
              <a:gd name="connsiteX2" fmla="*/ 8572756 w 9144001"/>
              <a:gd name="connsiteY2" fmla="*/ 5479725 h 5745162"/>
              <a:gd name="connsiteX3" fmla="*/ 8552840 w 9144001"/>
              <a:gd name="connsiteY3" fmla="*/ 5495748 h 5745162"/>
              <a:gd name="connsiteX4" fmla="*/ 8552840 w 9144001"/>
              <a:gd name="connsiteY4" fmla="*/ 5495635 h 5745162"/>
              <a:gd name="connsiteX5" fmla="*/ 8545320 w 9144001"/>
              <a:gd name="connsiteY5" fmla="*/ 5495635 h 5745162"/>
              <a:gd name="connsiteX6" fmla="*/ 8440531 w 9144001"/>
              <a:gd name="connsiteY6" fmla="*/ 5463326 h 5745162"/>
              <a:gd name="connsiteX7" fmla="*/ 8450869 w 9144001"/>
              <a:gd name="connsiteY7" fmla="*/ 5463326 h 5745162"/>
              <a:gd name="connsiteX8" fmla="*/ 8486566 w 9144001"/>
              <a:gd name="connsiteY8" fmla="*/ 5494375 h 5745162"/>
              <a:gd name="connsiteX9" fmla="*/ 8452487 w 9144001"/>
              <a:gd name="connsiteY9" fmla="*/ 5527456 h 5745162"/>
              <a:gd name="connsiteX10" fmla="*/ 8440531 w 9144001"/>
              <a:gd name="connsiteY10" fmla="*/ 5527456 h 5745162"/>
              <a:gd name="connsiteX11" fmla="*/ 8359312 w 9144001"/>
              <a:gd name="connsiteY11" fmla="*/ 5441906 h 5745162"/>
              <a:gd name="connsiteX12" fmla="*/ 8357846 w 9144001"/>
              <a:gd name="connsiteY12" fmla="*/ 5445009 h 5745162"/>
              <a:gd name="connsiteX13" fmla="*/ 8338065 w 9144001"/>
              <a:gd name="connsiteY13" fmla="*/ 5486815 h 5745162"/>
              <a:gd name="connsiteX14" fmla="*/ 8338065 w 9144001"/>
              <a:gd name="connsiteY14" fmla="*/ 5548726 h 5745162"/>
              <a:gd name="connsiteX15" fmla="*/ 8406528 w 9144001"/>
              <a:gd name="connsiteY15" fmla="*/ 5548726 h 5745162"/>
              <a:gd name="connsiteX16" fmla="*/ 8406528 w 9144001"/>
              <a:gd name="connsiteY16" fmla="*/ 5526139 h 5745162"/>
              <a:gd name="connsiteX17" fmla="*/ 8363158 w 9144001"/>
              <a:gd name="connsiteY17" fmla="*/ 5526139 h 5745162"/>
              <a:gd name="connsiteX18" fmla="*/ 8363158 w 9144001"/>
              <a:gd name="connsiteY18" fmla="*/ 5505302 h 5745162"/>
              <a:gd name="connsiteX19" fmla="*/ 8402682 w 9144001"/>
              <a:gd name="connsiteY19" fmla="*/ 5505302 h 5745162"/>
              <a:gd name="connsiteX20" fmla="*/ 8402682 w 9144001"/>
              <a:gd name="connsiteY20" fmla="*/ 5483731 h 5745162"/>
              <a:gd name="connsiteX21" fmla="*/ 8363158 w 9144001"/>
              <a:gd name="connsiteY21" fmla="*/ 5483731 h 5745162"/>
              <a:gd name="connsiteX22" fmla="*/ 8363158 w 9144001"/>
              <a:gd name="connsiteY22" fmla="*/ 5464643 h 5745162"/>
              <a:gd name="connsiteX23" fmla="*/ 8406528 w 9144001"/>
              <a:gd name="connsiteY23" fmla="*/ 5464643 h 5745162"/>
              <a:gd name="connsiteX24" fmla="*/ 8406528 w 9144001"/>
              <a:gd name="connsiteY24" fmla="*/ 5441906 h 5745162"/>
              <a:gd name="connsiteX25" fmla="*/ 8245575 w 9144001"/>
              <a:gd name="connsiteY25" fmla="*/ 5441887 h 5745162"/>
              <a:gd name="connsiteX26" fmla="*/ 8262082 w 9144001"/>
              <a:gd name="connsiteY26" fmla="*/ 5476284 h 5745162"/>
              <a:gd name="connsiteX27" fmla="*/ 8288526 w 9144001"/>
              <a:gd name="connsiteY27" fmla="*/ 5476284 h 5745162"/>
              <a:gd name="connsiteX28" fmla="*/ 8273962 w 9144001"/>
              <a:gd name="connsiteY28" fmla="*/ 5441887 h 5745162"/>
              <a:gd name="connsiteX29" fmla="*/ 8520246 w 9144001"/>
              <a:gd name="connsiteY29" fmla="*/ 5441868 h 5745162"/>
              <a:gd name="connsiteX30" fmla="*/ 8520246 w 9144001"/>
              <a:gd name="connsiteY30" fmla="*/ 5548725 h 5745162"/>
              <a:gd name="connsiteX31" fmla="*/ 8545320 w 9144001"/>
              <a:gd name="connsiteY31" fmla="*/ 5548725 h 5745162"/>
              <a:gd name="connsiteX32" fmla="*/ 8545320 w 9144001"/>
              <a:gd name="connsiteY32" fmla="*/ 5517093 h 5745162"/>
              <a:gd name="connsiteX33" fmla="*/ 8554630 w 9144001"/>
              <a:gd name="connsiteY33" fmla="*/ 5517093 h 5745162"/>
              <a:gd name="connsiteX34" fmla="*/ 8598420 w 9144001"/>
              <a:gd name="connsiteY34" fmla="*/ 5479180 h 5745162"/>
              <a:gd name="connsiteX35" fmla="*/ 8550346 w 9144001"/>
              <a:gd name="connsiteY35" fmla="*/ 5441868 h 5745162"/>
              <a:gd name="connsiteX36" fmla="*/ 8415495 w 9144001"/>
              <a:gd name="connsiteY36" fmla="*/ 5441868 h 5745162"/>
              <a:gd name="connsiteX37" fmla="*/ 8415495 w 9144001"/>
              <a:gd name="connsiteY37" fmla="*/ 5548631 h 5745162"/>
              <a:gd name="connsiteX38" fmla="*/ 8448546 w 9144001"/>
              <a:gd name="connsiteY38" fmla="*/ 5548744 h 5745162"/>
              <a:gd name="connsiteX39" fmla="*/ 8513278 w 9144001"/>
              <a:gd name="connsiteY39" fmla="*/ 5494375 h 5745162"/>
              <a:gd name="connsiteX40" fmla="*/ 8447461 w 9144001"/>
              <a:gd name="connsiteY40" fmla="*/ 5441906 h 5745162"/>
              <a:gd name="connsiteX41" fmla="*/ 8447499 w 9144001"/>
              <a:gd name="connsiteY41" fmla="*/ 5441868 h 5745162"/>
              <a:gd name="connsiteX42" fmla="*/ 8415495 w 9144001"/>
              <a:gd name="connsiteY42" fmla="*/ 5441868 h 5745162"/>
              <a:gd name="connsiteX43" fmla="*/ 8323900 w 9144001"/>
              <a:gd name="connsiteY43" fmla="*/ 5441868 h 5745162"/>
              <a:gd name="connsiteX44" fmla="*/ 8298693 w 9144001"/>
              <a:gd name="connsiteY44" fmla="*/ 5499810 h 5745162"/>
              <a:gd name="connsiteX45" fmla="*/ 8291858 w 9144001"/>
              <a:gd name="connsiteY45" fmla="*/ 5483806 h 5745162"/>
              <a:gd name="connsiteX46" fmla="*/ 8265623 w 9144001"/>
              <a:gd name="connsiteY46" fmla="*/ 5483806 h 5745162"/>
              <a:gd name="connsiteX47" fmla="*/ 8296942 w 9144001"/>
              <a:gd name="connsiteY47" fmla="*/ 5549139 h 5745162"/>
              <a:gd name="connsiteX48" fmla="*/ 8299855 w 9144001"/>
              <a:gd name="connsiteY48" fmla="*/ 5549139 h 5745162"/>
              <a:gd name="connsiteX49" fmla="*/ 8350593 w 9144001"/>
              <a:gd name="connsiteY49" fmla="*/ 5441868 h 5745162"/>
              <a:gd name="connsiteX50" fmla="*/ 8704282 w 9144001"/>
              <a:gd name="connsiteY50" fmla="*/ 5403309 h 5745162"/>
              <a:gd name="connsiteX51" fmla="*/ 8704282 w 9144001"/>
              <a:gd name="connsiteY51" fmla="*/ 5577934 h 5745162"/>
              <a:gd name="connsiteX52" fmla="*/ 8723671 w 9144001"/>
              <a:gd name="connsiteY52" fmla="*/ 5577934 h 5745162"/>
              <a:gd name="connsiteX53" fmla="*/ 8723671 w 9144001"/>
              <a:gd name="connsiteY53" fmla="*/ 5403309 h 5745162"/>
              <a:gd name="connsiteX54" fmla="*/ 0 w 9144001"/>
              <a:gd name="connsiteY54" fmla="*/ 0 h 5745162"/>
              <a:gd name="connsiteX55" fmla="*/ 9144001 w 9144001"/>
              <a:gd name="connsiteY55" fmla="*/ 0 h 5745162"/>
              <a:gd name="connsiteX56" fmla="*/ 9144001 w 9144001"/>
              <a:gd name="connsiteY56" fmla="*/ 32567 h 5745162"/>
              <a:gd name="connsiteX57" fmla="*/ 9144001 w 9144001"/>
              <a:gd name="connsiteY57" fmla="*/ 3873048 h 5745162"/>
              <a:gd name="connsiteX58" fmla="*/ 9144001 w 9144001"/>
              <a:gd name="connsiteY58" fmla="*/ 5745162 h 5745162"/>
              <a:gd name="connsiteX59" fmla="*/ 0 w 9144001"/>
              <a:gd name="connsiteY59" fmla="*/ 5745162 h 5745162"/>
              <a:gd name="connsiteX60" fmla="*/ 0 w 9144001"/>
              <a:gd name="connsiteY60" fmla="*/ 3873048 h 5745162"/>
              <a:gd name="connsiteX61" fmla="*/ 0 w 9144001"/>
              <a:gd name="connsiteY61" fmla="*/ 32567 h 5745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9144001" h="5745162">
                <a:moveTo>
                  <a:pt x="8545320" y="5464436"/>
                </a:moveTo>
                <a:lnTo>
                  <a:pt x="8554630" y="5464436"/>
                </a:lnTo>
                <a:cubicBezTo>
                  <a:pt x="8567006" y="5464436"/>
                  <a:pt x="8572756" y="5471131"/>
                  <a:pt x="8572756" y="5479725"/>
                </a:cubicBezTo>
                <a:cubicBezTo>
                  <a:pt x="8572756" y="5490069"/>
                  <a:pt x="8566130" y="5495748"/>
                  <a:pt x="8552840" y="5495748"/>
                </a:cubicBezTo>
                <a:lnTo>
                  <a:pt x="8552840" y="5495635"/>
                </a:lnTo>
                <a:lnTo>
                  <a:pt x="8545320" y="5495635"/>
                </a:lnTo>
                <a:close/>
                <a:moveTo>
                  <a:pt x="8440531" y="5463326"/>
                </a:moveTo>
                <a:lnTo>
                  <a:pt x="8450869" y="5463326"/>
                </a:lnTo>
                <a:cubicBezTo>
                  <a:pt x="8474172" y="5463326"/>
                  <a:pt x="8486566" y="5474986"/>
                  <a:pt x="8486566" y="5494375"/>
                </a:cubicBezTo>
                <a:cubicBezTo>
                  <a:pt x="8486566" y="5514348"/>
                  <a:pt x="8476095" y="5527456"/>
                  <a:pt x="8452487" y="5527456"/>
                </a:cubicBezTo>
                <a:lnTo>
                  <a:pt x="8440531" y="5527456"/>
                </a:lnTo>
                <a:close/>
                <a:moveTo>
                  <a:pt x="8359312" y="5441906"/>
                </a:moveTo>
                <a:lnTo>
                  <a:pt x="8357846" y="5445009"/>
                </a:lnTo>
                <a:lnTo>
                  <a:pt x="8338065" y="5486815"/>
                </a:lnTo>
                <a:lnTo>
                  <a:pt x="8338065" y="5548726"/>
                </a:lnTo>
                <a:lnTo>
                  <a:pt x="8406528" y="5548726"/>
                </a:lnTo>
                <a:lnTo>
                  <a:pt x="8406528" y="5526139"/>
                </a:lnTo>
                <a:lnTo>
                  <a:pt x="8363158" y="5526139"/>
                </a:lnTo>
                <a:lnTo>
                  <a:pt x="8363158" y="5505302"/>
                </a:lnTo>
                <a:lnTo>
                  <a:pt x="8402682" y="5505302"/>
                </a:lnTo>
                <a:lnTo>
                  <a:pt x="8402682" y="5483731"/>
                </a:lnTo>
                <a:lnTo>
                  <a:pt x="8363158" y="5483731"/>
                </a:lnTo>
                <a:lnTo>
                  <a:pt x="8363158" y="5464643"/>
                </a:lnTo>
                <a:lnTo>
                  <a:pt x="8406528" y="5464643"/>
                </a:lnTo>
                <a:lnTo>
                  <a:pt x="8406528" y="5441906"/>
                </a:lnTo>
                <a:close/>
                <a:moveTo>
                  <a:pt x="8245575" y="5441887"/>
                </a:moveTo>
                <a:lnTo>
                  <a:pt x="8262082" y="5476284"/>
                </a:lnTo>
                <a:lnTo>
                  <a:pt x="8288526" y="5476284"/>
                </a:lnTo>
                <a:lnTo>
                  <a:pt x="8273962" y="5441887"/>
                </a:lnTo>
                <a:close/>
                <a:moveTo>
                  <a:pt x="8520246" y="5441868"/>
                </a:moveTo>
                <a:lnTo>
                  <a:pt x="8520246" y="5548725"/>
                </a:lnTo>
                <a:lnTo>
                  <a:pt x="8545320" y="5548725"/>
                </a:lnTo>
                <a:lnTo>
                  <a:pt x="8545320" y="5517093"/>
                </a:lnTo>
                <a:lnTo>
                  <a:pt x="8554630" y="5517093"/>
                </a:lnTo>
                <a:cubicBezTo>
                  <a:pt x="8583189" y="5517093"/>
                  <a:pt x="8598420" y="5501202"/>
                  <a:pt x="8598420" y="5479180"/>
                </a:cubicBezTo>
                <a:cubicBezTo>
                  <a:pt x="8598439" y="5457647"/>
                  <a:pt x="8581628" y="5441868"/>
                  <a:pt x="8550346" y="5441868"/>
                </a:cubicBezTo>
                <a:close/>
                <a:moveTo>
                  <a:pt x="8415495" y="5441868"/>
                </a:moveTo>
                <a:lnTo>
                  <a:pt x="8415495" y="5548631"/>
                </a:lnTo>
                <a:cubicBezTo>
                  <a:pt x="8415495" y="5548631"/>
                  <a:pt x="8435866" y="5548744"/>
                  <a:pt x="8448546" y="5548744"/>
                </a:cubicBezTo>
                <a:cubicBezTo>
                  <a:pt x="8493382" y="5548744"/>
                  <a:pt x="8513278" y="5525857"/>
                  <a:pt x="8513278" y="5494375"/>
                </a:cubicBezTo>
                <a:cubicBezTo>
                  <a:pt x="8513278" y="5464285"/>
                  <a:pt x="8492335" y="5441906"/>
                  <a:pt x="8447461" y="5441906"/>
                </a:cubicBezTo>
                <a:lnTo>
                  <a:pt x="8447499" y="5441868"/>
                </a:lnTo>
                <a:cubicBezTo>
                  <a:pt x="8436742" y="5441868"/>
                  <a:pt x="8415495" y="5441868"/>
                  <a:pt x="8415495" y="5441868"/>
                </a:cubicBezTo>
                <a:close/>
                <a:moveTo>
                  <a:pt x="8323900" y="5441868"/>
                </a:moveTo>
                <a:lnTo>
                  <a:pt x="8298693" y="5499810"/>
                </a:lnTo>
                <a:lnTo>
                  <a:pt x="8291858" y="5483806"/>
                </a:lnTo>
                <a:lnTo>
                  <a:pt x="8265623" y="5483806"/>
                </a:lnTo>
                <a:lnTo>
                  <a:pt x="8296942" y="5549139"/>
                </a:lnTo>
                <a:lnTo>
                  <a:pt x="8299855" y="5549139"/>
                </a:lnTo>
                <a:lnTo>
                  <a:pt x="8350593" y="5441868"/>
                </a:lnTo>
                <a:close/>
                <a:moveTo>
                  <a:pt x="8704282" y="5403309"/>
                </a:moveTo>
                <a:lnTo>
                  <a:pt x="8704282" y="5577934"/>
                </a:lnTo>
                <a:lnTo>
                  <a:pt x="8723671" y="5577934"/>
                </a:lnTo>
                <a:lnTo>
                  <a:pt x="8723671" y="5403309"/>
                </a:lnTo>
                <a:close/>
                <a:moveTo>
                  <a:pt x="0" y="0"/>
                </a:moveTo>
                <a:lnTo>
                  <a:pt x="9144001" y="0"/>
                </a:lnTo>
                <a:lnTo>
                  <a:pt x="9144001" y="32567"/>
                </a:lnTo>
                <a:lnTo>
                  <a:pt x="9144001" y="3873048"/>
                </a:lnTo>
                <a:lnTo>
                  <a:pt x="9144001" y="5745162"/>
                </a:lnTo>
                <a:lnTo>
                  <a:pt x="0" y="5745162"/>
                </a:lnTo>
                <a:lnTo>
                  <a:pt x="0" y="3873048"/>
                </a:lnTo>
                <a:lnTo>
                  <a:pt x="0" y="3256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rIns="43200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1pPr>
          </a:lstStyle>
          <a:p>
            <a:r>
              <a:rPr lang="en-US"/>
              <a:t>Drag image onto slide to add photo</a:t>
            </a:r>
          </a:p>
        </p:txBody>
      </p:sp>
      <p:sp>
        <p:nvSpPr>
          <p:cNvPr id="200" name="First Content Placeholder">
            <a:extLst>
              <a:ext uri="{FF2B5EF4-FFF2-40B4-BE49-F238E27FC236}">
                <a16:creationId xmlns:a16="http://schemas.microsoft.com/office/drawing/2014/main" id="{630CB258-15BC-1643-9DB4-368468698F13}"/>
              </a:ext>
            </a:extLst>
          </p:cNvPr>
          <p:cNvSpPr>
            <a:spLocks noGrp="1"/>
          </p:cNvSpPr>
          <p:nvPr>
            <p:ph type="body" sz="quarter" idx="200"/>
          </p:nvPr>
        </p:nvSpPr>
        <p:spPr>
          <a:xfrm>
            <a:off x="0" y="834628"/>
            <a:ext cx="4572000" cy="4308872"/>
          </a:xfrm>
          <a:gradFill>
            <a:gsLst>
              <a:gs pos="13000">
                <a:schemeClr val="accent1"/>
              </a:gs>
              <a:gs pos="97000">
                <a:schemeClr val="accent1">
                  <a:alpha val="80000"/>
                </a:schemeClr>
              </a:gs>
            </a:gsLst>
            <a:lin ang="5400000" scaled="0"/>
          </a:gradFill>
        </p:spPr>
        <p:txBody>
          <a:bodyPr lIns="432000" rIns="360000" bIns="360000" anchor="ctr"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1350"/>
              </a:spcBef>
              <a:spcAft>
                <a:spcPts val="225"/>
              </a:spcAft>
              <a:buClrTx/>
              <a:buSzTx/>
              <a:buFont typeface="Wingdings" pitchFamily="2" charset="2"/>
              <a:buNone/>
              <a:tabLst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3B11128-F69D-DC4E-8CD4-B5A9A92E8D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Slide TITLE. ALL CAPS. TWO LINES max.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1518A119-6232-A242-B4A2-83D06D216BA9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800" y="4650581"/>
            <a:ext cx="3700586" cy="379131"/>
          </a:xfrm>
        </p:spPr>
        <p:txBody>
          <a:bodyPr bIns="0" anchor="b"/>
          <a:lstStyle>
            <a:lvl1pPr marL="4763" indent="-1191">
              <a:spcBef>
                <a:spcPts val="56"/>
              </a:spcBef>
              <a:spcAft>
                <a:spcPts val="56"/>
              </a:spcAft>
              <a:buSzPct val="100000"/>
              <a:buFontTx/>
              <a:buNone/>
              <a:tabLst/>
              <a:defRPr sz="825" b="0">
                <a:solidFill>
                  <a:schemeClr val="bg1"/>
                </a:solidFill>
              </a:defRPr>
            </a:lvl1pPr>
            <a:lvl2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¹"/>
              <a:tabLst/>
              <a:defRPr sz="825" b="0" i="0">
                <a:solidFill>
                  <a:schemeClr val="bg1"/>
                </a:solidFill>
              </a:defRPr>
            </a:lvl2pPr>
            <a:lvl3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²"/>
              <a:tabLst/>
              <a:defRPr sz="825">
                <a:solidFill>
                  <a:schemeClr val="bg1"/>
                </a:solidFill>
              </a:defRPr>
            </a:lvl3pPr>
            <a:lvl4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³"/>
              <a:tabLst/>
              <a:defRPr sz="825">
                <a:solidFill>
                  <a:schemeClr val="bg1"/>
                </a:solidFill>
              </a:defRPr>
            </a:lvl4pPr>
            <a:lvl5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⁴"/>
              <a:tabLst/>
              <a:defRPr sz="825">
                <a:solidFill>
                  <a:schemeClr val="bg1"/>
                </a:solidFill>
              </a:defRPr>
            </a:lvl5pPr>
            <a:lvl6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⁵"/>
              <a:tabLst/>
              <a:defRPr sz="825">
                <a:solidFill>
                  <a:schemeClr val="bg1"/>
                </a:solidFill>
              </a:defRPr>
            </a:lvl6pPr>
            <a:lvl7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⁶"/>
              <a:tabLst/>
              <a:defRPr sz="825">
                <a:solidFill>
                  <a:schemeClr val="bg1"/>
                </a:solidFill>
              </a:defRPr>
            </a:lvl7pPr>
            <a:lvl8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⁷"/>
              <a:tabLst/>
              <a:defRPr sz="825">
                <a:solidFill>
                  <a:schemeClr val="bg1"/>
                </a:solidFill>
              </a:defRPr>
            </a:lvl8pPr>
            <a:lvl9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⁸"/>
              <a:tabLst/>
              <a:defRPr sz="825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/>
              <a:t>Footnotes – Levels 2-9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97A898C-B866-B14B-9178-5A34D2335457}"/>
              </a:ext>
            </a:extLst>
          </p:cNvPr>
          <p:cNvSpPr>
            <a:spLocks noGrp="1"/>
          </p:cNvSpPr>
          <p:nvPr>
            <p:ph type="dt" sz="half" idx="1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F97896-B943-434D-88CF-4C1DD9A124EB}"/>
              </a:ext>
            </a:extLst>
          </p:cNvPr>
          <p:cNvSpPr>
            <a:spLocks noGrp="1"/>
          </p:cNvSpPr>
          <p:nvPr>
            <p:ph type="ftr" sz="quarter" idx="1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00" name="Caption">
            <a:extLst>
              <a:ext uri="{FF2B5EF4-FFF2-40B4-BE49-F238E27FC236}">
                <a16:creationId xmlns:a16="http://schemas.microsoft.com/office/drawing/2014/main" id="{FD347B14-43C4-154A-92C4-BB860714839D}"/>
              </a:ext>
            </a:extLst>
          </p:cNvPr>
          <p:cNvSpPr>
            <a:spLocks noGrp="1"/>
          </p:cNvSpPr>
          <p:nvPr>
            <p:ph type="body" sz="quarter" idx="500" hasCustomPrompt="1"/>
          </p:nvPr>
        </p:nvSpPr>
        <p:spPr>
          <a:xfrm>
            <a:off x="5960285" y="4650582"/>
            <a:ext cx="2742875" cy="114262"/>
          </a:xfrm>
          <a:effectLst/>
        </p:spPr>
        <p:txBody>
          <a:bodyPr wrap="square" anchor="b">
            <a:sp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 b="0">
                <a:solidFill>
                  <a:schemeClr val="bg1"/>
                </a:solidFill>
                <a:effectLst/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photo caption</a:t>
            </a:r>
          </a:p>
        </p:txBody>
      </p:sp>
      <p:sp>
        <p:nvSpPr>
          <p:cNvPr id="48" name="Slide Number Placeholder 3">
            <a:extLst>
              <a:ext uri="{FF2B5EF4-FFF2-40B4-BE49-F238E27FC236}">
                <a16:creationId xmlns:a16="http://schemas.microsoft.com/office/drawing/2014/main" id="{92E106F0-9484-5947-ACF2-FD796A463D32}"/>
              </a:ext>
            </a:extLst>
          </p:cNvPr>
          <p:cNvSpPr>
            <a:spLocks noGrp="1"/>
          </p:cNvSpPr>
          <p:nvPr userDrawn="1">
            <p:ph type="sldNum" sz="quarter" idx="112"/>
          </p:nvPr>
        </p:nvSpPr>
        <p:spPr>
          <a:xfrm>
            <a:off x="8790039" y="4887111"/>
            <a:ext cx="350454" cy="130969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9525"/>
            <a:fld id="{078C017C-E1B9-8443-B047-B08AAA027B45}" type="slidenum">
              <a:rPr lang="en-US" smtClean="0"/>
              <a:pPr marL="9525"/>
              <a:t>‹#›</a:t>
            </a:fld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104F9D3-21BC-F941-8399-CF9E0BBD5283}"/>
              </a:ext>
            </a:extLst>
          </p:cNvPr>
          <p:cNvGrpSpPr/>
          <p:nvPr userDrawn="1"/>
        </p:nvGrpSpPr>
        <p:grpSpPr>
          <a:xfrm>
            <a:off x="9399183" y="-1"/>
            <a:ext cx="2961715" cy="8390504"/>
            <a:chOff x="9399182" y="-2"/>
            <a:chExt cx="2961715" cy="11187339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E43CC0CC-412F-694E-BA2F-CCF91349B581}"/>
                </a:ext>
              </a:extLst>
            </p:cNvPr>
            <p:cNvSpPr/>
            <p:nvPr userDrawn="1"/>
          </p:nvSpPr>
          <p:spPr>
            <a:xfrm>
              <a:off x="9399182" y="-2"/>
              <a:ext cx="2798651" cy="1101500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050"/>
            </a:p>
          </p:txBody>
        </p:sp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EA9F5F80-B9F9-0F44-B698-DF454AA644D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t="17021" r="58309" b="16813"/>
            <a:stretch/>
          </p:blipFill>
          <p:spPr>
            <a:xfrm>
              <a:off x="9558505" y="1321569"/>
              <a:ext cx="2639327" cy="1095417"/>
            </a:xfrm>
            <a:prstGeom prst="rect">
              <a:avLst/>
            </a:prstGeom>
          </p:spPr>
        </p:pic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6BB1AE2B-CA0A-8D42-82DE-43E63DE4AC0D}"/>
                </a:ext>
              </a:extLst>
            </p:cNvPr>
            <p:cNvSpPr/>
            <p:nvPr userDrawn="1"/>
          </p:nvSpPr>
          <p:spPr>
            <a:xfrm>
              <a:off x="9541497" y="162442"/>
              <a:ext cx="2819400" cy="814510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/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9AB55C23-AD36-AE4E-9421-68AD42E3CAAC}"/>
                </a:ext>
              </a:extLst>
            </p:cNvPr>
            <p:cNvSpPr txBox="1"/>
            <p:nvPr userDrawn="1"/>
          </p:nvSpPr>
          <p:spPr>
            <a:xfrm>
              <a:off x="10147060" y="306441"/>
              <a:ext cx="2129588" cy="50783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algn="l"/>
              <a:r>
                <a:rPr lang="en-US" sz="8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Access programmed text formats by using the ‘Indent More’ button to change the indent level.</a:t>
              </a:r>
            </a:p>
          </p:txBody>
        </p:sp>
        <p:pic>
          <p:nvPicPr>
            <p:cNvPr id="53" name="Picture 52">
              <a:extLst>
                <a:ext uri="{FF2B5EF4-FFF2-40B4-BE49-F238E27FC236}">
                  <a16:creationId xmlns:a16="http://schemas.microsoft.com/office/drawing/2014/main" id="{1108CC98-FEA9-DC4C-807D-C762CA96FAA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8882" t="5165" r="-1"/>
            <a:stretch/>
          </p:blipFill>
          <p:spPr>
            <a:xfrm>
              <a:off x="9694938" y="411250"/>
              <a:ext cx="324017" cy="289055"/>
            </a:xfrm>
            <a:prstGeom prst="roundRect">
              <a:avLst/>
            </a:prstGeom>
          </p:spPr>
        </p:pic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12194029-9A74-1343-8288-8CF894102496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1670329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sz="825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E41EA862-645E-0F49-9B37-60C68EF7C6A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196F6A19-D6A3-6947-9A53-F14EEAE75208}"/>
                </a:ext>
              </a:extLst>
            </p:cNvPr>
            <p:cNvGrpSpPr/>
            <p:nvPr userDrawn="1"/>
          </p:nvGrpSpPr>
          <p:grpSpPr>
            <a:xfrm>
              <a:off x="9521833" y="3751281"/>
              <a:ext cx="2754815" cy="7436056"/>
              <a:chOff x="9521833" y="2531409"/>
              <a:chExt cx="2754815" cy="7436056"/>
            </a:xfrm>
          </p:grpSpPr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A4D10D26-A257-FE41-BFB0-8F5ED90CC342}"/>
                  </a:ext>
                </a:extLst>
              </p:cNvPr>
              <p:cNvSpPr txBox="1"/>
              <p:nvPr userDrawn="1"/>
            </p:nvSpPr>
            <p:spPr>
              <a:xfrm>
                <a:off x="9558507" y="3953640"/>
                <a:ext cx="1231106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sz="825">
                    <a:solidFill>
                      <a:schemeClr val="bg1"/>
                    </a:solidFill>
                  </a:rPr>
                  <a:t>HOW TO ADD AN IMAGE</a:t>
                </a:r>
              </a:p>
            </p:txBody>
          </p:sp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CCBA4925-27F7-0840-AB2A-43828EF3AD6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558507" y="4156257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2586850C-9180-FA4E-968E-FF19A860A64D}"/>
                  </a:ext>
                </a:extLst>
              </p:cNvPr>
              <p:cNvSpPr txBox="1"/>
              <p:nvPr userDrawn="1"/>
            </p:nvSpPr>
            <p:spPr>
              <a:xfrm>
                <a:off x="9686426" y="5014568"/>
                <a:ext cx="2297338" cy="28913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 b="1"/>
                  <a:t>Method 1: </a:t>
                </a:r>
                <a:r>
                  <a:rPr lang="en-US" sz="450" b="0"/>
                  <a:t>from file browser</a:t>
                </a:r>
              </a:p>
              <a:p>
                <a:pPr lvl="1">
                  <a:buNone/>
                </a:pPr>
                <a:r>
                  <a:rPr lang="en-US" sz="788"/>
                  <a:t>Drag the image onto the slide.</a:t>
                </a: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6261B6DE-3D1B-B646-8CA5-3B37F32A674F}"/>
                  </a:ext>
                </a:extLst>
              </p:cNvPr>
              <p:cNvSpPr/>
              <p:nvPr userDrawn="1"/>
            </p:nvSpPr>
            <p:spPr>
              <a:xfrm>
                <a:off x="9541497" y="8556150"/>
                <a:ext cx="2735151" cy="1411315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B35D847C-FBAE-9141-80AA-E929009454B3}"/>
                  </a:ext>
                </a:extLst>
              </p:cNvPr>
              <p:cNvSpPr txBox="1"/>
              <p:nvPr userDrawn="1"/>
            </p:nvSpPr>
            <p:spPr>
              <a:xfrm>
                <a:off x="9907688" y="8684950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Change Image</a:t>
                </a:r>
              </a:p>
            </p:txBody>
          </p:sp>
          <p:pic>
            <p:nvPicPr>
              <p:cNvPr id="73" name="Graphic 72">
                <a:extLst>
                  <a:ext uri="{FF2B5EF4-FFF2-40B4-BE49-F238E27FC236}">
                    <a16:creationId xmlns:a16="http://schemas.microsoft.com/office/drawing/2014/main" id="{7E3A8F17-D7F3-FB43-8FFE-8437E55D77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9701720" y="8695233"/>
                <a:ext cx="155227" cy="155227"/>
              </a:xfrm>
              <a:prstGeom prst="rect">
                <a:avLst/>
              </a:prstGeom>
            </p:spPr>
          </p:pic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3F05BF82-935B-0D48-A2E9-BD0093B49F2C}"/>
                  </a:ext>
                </a:extLst>
              </p:cNvPr>
              <p:cNvSpPr txBox="1"/>
              <p:nvPr userDrawn="1"/>
            </p:nvSpPr>
            <p:spPr>
              <a:xfrm>
                <a:off x="9716735" y="9264933"/>
                <a:ext cx="2413353" cy="373948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101204" lvl="1" indent="-98822" algn="l" defTabSz="685800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225"/>
                  </a:spcAft>
                  <a:buFont typeface="Wingdings" pitchFamily="2" charset="2"/>
                  <a:buChar char="§"/>
                  <a:tabLst/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Deleting the image may bring the image placeholder to the top layer. Right-click on the placeholder and choose “Send to Back”.</a:t>
                </a:r>
              </a:p>
            </p:txBody>
          </p:sp>
          <p:sp>
            <p:nvSpPr>
              <p:cNvPr id="78" name="TextBox 77">
                <a:extLst>
                  <a:ext uri="{FF2B5EF4-FFF2-40B4-BE49-F238E27FC236}">
                    <a16:creationId xmlns:a16="http://schemas.microsoft.com/office/drawing/2014/main" id="{B65235D7-20FA-AA4C-B70A-258CF74C09E1}"/>
                  </a:ext>
                </a:extLst>
              </p:cNvPr>
              <p:cNvSpPr txBox="1"/>
              <p:nvPr userDrawn="1"/>
            </p:nvSpPr>
            <p:spPr>
              <a:xfrm>
                <a:off x="9716735" y="8946089"/>
                <a:ext cx="2422981" cy="2769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685800" rtl="0" eaLnBrk="1" latinLnBrk="0" hangingPunct="1">
                  <a:spcBef>
                    <a:spcPts val="150"/>
                  </a:spcBef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First, delete the existing image to reset the photo placeholder functionality.</a:t>
                </a:r>
              </a:p>
            </p:txBody>
          </p:sp>
          <p:sp>
            <p:nvSpPr>
              <p:cNvPr id="79" name="TextBox 78">
                <a:extLst>
                  <a:ext uri="{FF2B5EF4-FFF2-40B4-BE49-F238E27FC236}">
                    <a16:creationId xmlns:a16="http://schemas.microsoft.com/office/drawing/2014/main" id="{27581D51-2E99-9242-ABB1-C15D65232A7A}"/>
                  </a:ext>
                </a:extLst>
              </p:cNvPr>
              <p:cNvSpPr txBox="1"/>
              <p:nvPr userDrawn="1"/>
            </p:nvSpPr>
            <p:spPr>
              <a:xfrm>
                <a:off x="9716735" y="9714610"/>
                <a:ext cx="2422981" cy="13850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685800" rtl="0" eaLnBrk="1" latinLnBrk="0" hangingPunct="1">
                  <a:spcBef>
                    <a:spcPts val="150"/>
                  </a:spcBef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You can now add a new image as normal.</a:t>
                </a:r>
              </a:p>
            </p:txBody>
          </p:sp>
          <p:sp>
            <p:nvSpPr>
              <p:cNvPr id="85" name="Rectangle 84">
                <a:extLst>
                  <a:ext uri="{FF2B5EF4-FFF2-40B4-BE49-F238E27FC236}">
                    <a16:creationId xmlns:a16="http://schemas.microsoft.com/office/drawing/2014/main" id="{C5CEAEDC-18E3-9E45-9236-4044DE7F605B}"/>
                  </a:ext>
                </a:extLst>
              </p:cNvPr>
              <p:cNvSpPr/>
              <p:nvPr userDrawn="1"/>
            </p:nvSpPr>
            <p:spPr>
              <a:xfrm>
                <a:off x="9541497" y="7199494"/>
                <a:ext cx="2735151" cy="1280928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86" name="TextBox 85">
                <a:extLst>
                  <a:ext uri="{FF2B5EF4-FFF2-40B4-BE49-F238E27FC236}">
                    <a16:creationId xmlns:a16="http://schemas.microsoft.com/office/drawing/2014/main" id="{8CF43F75-DCAC-3A4B-856C-20394D3967E0}"/>
                  </a:ext>
                </a:extLst>
              </p:cNvPr>
              <p:cNvSpPr txBox="1"/>
              <p:nvPr userDrawn="1"/>
            </p:nvSpPr>
            <p:spPr>
              <a:xfrm>
                <a:off x="9907688" y="7328293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Crop Image</a:t>
                </a:r>
              </a:p>
            </p:txBody>
          </p:sp>
          <p:pic>
            <p:nvPicPr>
              <p:cNvPr id="87" name="Graphic 86">
                <a:extLst>
                  <a:ext uri="{FF2B5EF4-FFF2-40B4-BE49-F238E27FC236}">
                    <a16:creationId xmlns:a16="http://schemas.microsoft.com/office/drawing/2014/main" id="{757374C0-8D98-8A47-BE70-BB1D3E4F133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9701720" y="7338576"/>
                <a:ext cx="155227" cy="155227"/>
              </a:xfrm>
              <a:prstGeom prst="rect">
                <a:avLst/>
              </a:prstGeom>
            </p:spPr>
          </p:pic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7E869158-45ED-B645-9955-8A67BA7702F6}"/>
                  </a:ext>
                </a:extLst>
              </p:cNvPr>
              <p:cNvSpPr txBox="1"/>
              <p:nvPr userDrawn="1"/>
            </p:nvSpPr>
            <p:spPr>
              <a:xfrm>
                <a:off x="9701720" y="7592477"/>
                <a:ext cx="2384904" cy="777136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Right-click on the image.</a:t>
                </a:r>
              </a:p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Choose “Crop” from the menu. (       )</a:t>
                </a:r>
              </a:p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Adjust the size and position of the image.</a:t>
                </a:r>
              </a:p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Press Esc or click outside the image area to exit the cropping mode.</a:t>
                </a:r>
              </a:p>
            </p:txBody>
          </p:sp>
          <p:pic>
            <p:nvPicPr>
              <p:cNvPr id="90" name="Picture 89">
                <a:extLst>
                  <a:ext uri="{FF2B5EF4-FFF2-40B4-BE49-F238E27FC236}">
                    <a16:creationId xmlns:a16="http://schemas.microsoft.com/office/drawing/2014/main" id="{BC30FFF4-CDB9-3B4D-9B7E-D33DD4F29647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5"/>
              <a:srcRect l="33684" t="12097" r="43371" b="20368"/>
              <a:stretch/>
            </p:blipFill>
            <p:spPr>
              <a:xfrm>
                <a:off x="11498723" y="7676910"/>
                <a:ext cx="136897" cy="213643"/>
              </a:xfrm>
              <a:prstGeom prst="rect">
                <a:avLst/>
              </a:prstGeom>
              <a:ln w="19050"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</p:pic>
          <p:sp>
            <p:nvSpPr>
              <p:cNvPr id="91" name="TextBox 90">
                <a:extLst>
                  <a:ext uri="{FF2B5EF4-FFF2-40B4-BE49-F238E27FC236}">
                    <a16:creationId xmlns:a16="http://schemas.microsoft.com/office/drawing/2014/main" id="{248967FA-A69C-BF4E-83CA-ACF61244C965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9521833" y="4303787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375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1</a:t>
                </a:r>
              </a:p>
            </p:txBody>
          </p:sp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28A219F0-9820-E94D-9B0B-FC1451A729F1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9521833" y="4799341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375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2</a:t>
                </a:r>
              </a:p>
            </p:txBody>
          </p:sp>
          <p:sp>
            <p:nvSpPr>
              <p:cNvPr id="97" name="TextBox 96">
                <a:extLst>
                  <a:ext uri="{FF2B5EF4-FFF2-40B4-BE49-F238E27FC236}">
                    <a16:creationId xmlns:a16="http://schemas.microsoft.com/office/drawing/2014/main" id="{6B1FFA28-D937-0546-81ED-6A667496097F}"/>
                  </a:ext>
                </a:extLst>
              </p:cNvPr>
              <p:cNvSpPr txBox="1"/>
              <p:nvPr userDrawn="1"/>
            </p:nvSpPr>
            <p:spPr>
              <a:xfrm>
                <a:off x="9686426" y="4278760"/>
                <a:ext cx="2453290" cy="707288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0"/>
                <a:r>
                  <a:rPr lang="en-US" sz="788"/>
                  <a:t>Select and download images from the Marketing Resource Database.</a:t>
                </a:r>
              </a:p>
              <a:p>
                <a:pPr lvl="0"/>
                <a:r>
                  <a:rPr lang="en-US" sz="788"/>
                  <a:t>Add the image to the placeholder.</a:t>
                </a:r>
              </a:p>
            </p:txBody>
          </p:sp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68994775-7F6D-024C-A545-1FD8DA0B5066}"/>
                  </a:ext>
                </a:extLst>
              </p:cNvPr>
              <p:cNvSpPr txBox="1"/>
              <p:nvPr userDrawn="1"/>
            </p:nvSpPr>
            <p:spPr>
              <a:xfrm>
                <a:off x="9674267" y="5297872"/>
                <a:ext cx="2374733" cy="32316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/>
                  <a:t>Note: If there are multiple image placeholders on the slide, select the intended placeholder before dragging in the image to let PowerPoint know where you want it.</a:t>
                </a:r>
              </a:p>
            </p:txBody>
          </p:sp>
          <p:sp>
            <p:nvSpPr>
              <p:cNvPr id="99" name="TextBox 98">
                <a:extLst>
                  <a:ext uri="{FF2B5EF4-FFF2-40B4-BE49-F238E27FC236}">
                    <a16:creationId xmlns:a16="http://schemas.microsoft.com/office/drawing/2014/main" id="{AC1A251F-EFCC-D040-AD73-5A844F6C8923}"/>
                  </a:ext>
                </a:extLst>
              </p:cNvPr>
              <p:cNvSpPr txBox="1"/>
              <p:nvPr userDrawn="1"/>
            </p:nvSpPr>
            <p:spPr>
              <a:xfrm>
                <a:off x="9686426" y="5713129"/>
                <a:ext cx="2297338" cy="63145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/>
                  <a:t>Method 2: </a:t>
                </a:r>
                <a:r>
                  <a:rPr lang="en-US" sz="450" b="0"/>
                  <a:t>Paste from clipboard</a:t>
                </a:r>
              </a:p>
              <a:p>
                <a:pPr lvl="1">
                  <a:buNone/>
                </a:pPr>
                <a:r>
                  <a:rPr lang="en-US" sz="788"/>
                  <a:t>Select the image placeholder.</a:t>
                </a:r>
              </a:p>
              <a:p>
                <a:pPr lvl="1">
                  <a:buNone/>
                </a:pPr>
                <a:r>
                  <a:rPr lang="en-US" sz="788"/>
                  <a:t>Right-click or use keyboard shortcuts to paste the image.</a:t>
                </a:r>
              </a:p>
            </p:txBody>
          </p:sp>
          <p:sp>
            <p:nvSpPr>
              <p:cNvPr id="100" name="TextBox 99">
                <a:extLst>
                  <a:ext uri="{FF2B5EF4-FFF2-40B4-BE49-F238E27FC236}">
                    <a16:creationId xmlns:a16="http://schemas.microsoft.com/office/drawing/2014/main" id="{0F0507AD-9F18-6D4E-9209-0C54CEF82012}"/>
                  </a:ext>
                </a:extLst>
              </p:cNvPr>
              <p:cNvSpPr txBox="1"/>
              <p:nvPr userDrawn="1"/>
            </p:nvSpPr>
            <p:spPr>
              <a:xfrm>
                <a:off x="9686426" y="6433220"/>
                <a:ext cx="2297338" cy="4346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/>
                  <a:t>Method 3: </a:t>
                </a:r>
                <a:r>
                  <a:rPr lang="en-US" sz="450" b="0"/>
                  <a:t>Placeholder icon</a:t>
                </a:r>
              </a:p>
              <a:p>
                <a:pPr lvl="1">
                  <a:buNone/>
                </a:pPr>
                <a:r>
                  <a:rPr lang="en-US" sz="788"/>
                  <a:t>Click the image icon inside the placeholder to browse for an image.</a:t>
                </a:r>
              </a:p>
            </p:txBody>
          </p:sp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4827295A-AD1C-9B4E-9832-4C95BEE1E2CF}"/>
                  </a:ext>
                </a:extLst>
              </p:cNvPr>
              <p:cNvSpPr txBox="1"/>
              <p:nvPr userDrawn="1"/>
            </p:nvSpPr>
            <p:spPr>
              <a:xfrm>
                <a:off x="9674267" y="6863782"/>
                <a:ext cx="2374733" cy="21544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/>
                  <a:t>Note: This icon may be covered by another element.</a:t>
                </a:r>
                <a:br>
                  <a:rPr lang="en-US" sz="525"/>
                </a:br>
                <a:r>
                  <a:rPr lang="en-US" sz="525"/>
                  <a:t>In this case use one of the other methods.</a:t>
                </a:r>
              </a:p>
            </p:txBody>
          </p:sp>
          <p:sp>
            <p:nvSpPr>
              <p:cNvPr id="105" name="Rectangle 104">
                <a:extLst>
                  <a:ext uri="{FF2B5EF4-FFF2-40B4-BE49-F238E27FC236}">
                    <a16:creationId xmlns:a16="http://schemas.microsoft.com/office/drawing/2014/main" id="{6C8F933F-D9D9-7549-9AF5-2C614E0FD4B9}"/>
                  </a:ext>
                </a:extLst>
              </p:cNvPr>
              <p:cNvSpPr/>
              <p:nvPr userDrawn="1"/>
            </p:nvSpPr>
            <p:spPr>
              <a:xfrm>
                <a:off x="9541497" y="2531409"/>
                <a:ext cx="2735151" cy="1326215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106" name="TextBox 105">
                <a:extLst>
                  <a:ext uri="{FF2B5EF4-FFF2-40B4-BE49-F238E27FC236}">
                    <a16:creationId xmlns:a16="http://schemas.microsoft.com/office/drawing/2014/main" id="{BFF57C2F-17D2-C542-9688-994363166A69}"/>
                  </a:ext>
                </a:extLst>
              </p:cNvPr>
              <p:cNvSpPr txBox="1"/>
              <p:nvPr userDrawn="1"/>
            </p:nvSpPr>
            <p:spPr>
              <a:xfrm>
                <a:off x="9907688" y="2660209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Adjust overlay text box size</a:t>
                </a:r>
              </a:p>
            </p:txBody>
          </p:sp>
          <p:pic>
            <p:nvPicPr>
              <p:cNvPr id="107" name="Graphic 106">
                <a:extLst>
                  <a:ext uri="{FF2B5EF4-FFF2-40B4-BE49-F238E27FC236}">
                    <a16:creationId xmlns:a16="http://schemas.microsoft.com/office/drawing/2014/main" id="{8F010FD2-F208-734E-83F5-73F06D91019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9701720" y="2670492"/>
                <a:ext cx="155227" cy="155227"/>
              </a:xfrm>
              <a:prstGeom prst="rect">
                <a:avLst/>
              </a:prstGeom>
            </p:spPr>
          </p:pic>
          <p:sp>
            <p:nvSpPr>
              <p:cNvPr id="108" name="TextBox 107">
                <a:extLst>
                  <a:ext uri="{FF2B5EF4-FFF2-40B4-BE49-F238E27FC236}">
                    <a16:creationId xmlns:a16="http://schemas.microsoft.com/office/drawing/2014/main" id="{FE457EE7-A96E-FF4C-93C4-103A4656AC92}"/>
                  </a:ext>
                </a:extLst>
              </p:cNvPr>
              <p:cNvSpPr txBox="1"/>
              <p:nvPr userDrawn="1"/>
            </p:nvSpPr>
            <p:spPr>
              <a:xfrm>
                <a:off x="9701720" y="2924393"/>
                <a:ext cx="2214055" cy="54989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If extra space is required for content, use the size handle on this shape to extend the right edge of the shape to the “2/3rds” slide ruler mark.</a:t>
                </a:r>
              </a:p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Turn on guides (View &gt; Guides) to enable snapping.</a:t>
                </a:r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0F981F28-9C61-BC4E-BB91-07F303CF4C2D}"/>
                </a:ext>
              </a:extLst>
            </p:cNvPr>
            <p:cNvGrpSpPr/>
            <p:nvPr userDrawn="1"/>
          </p:nvGrpSpPr>
          <p:grpSpPr>
            <a:xfrm>
              <a:off x="9540503" y="2468708"/>
              <a:ext cx="2806644" cy="1181890"/>
              <a:chOff x="9554253" y="2414886"/>
              <a:chExt cx="2806644" cy="1181890"/>
            </a:xfrm>
          </p:grpSpPr>
          <p:grpSp>
            <p:nvGrpSpPr>
              <p:cNvPr id="58" name="Group 57">
                <a:extLst>
                  <a:ext uri="{FF2B5EF4-FFF2-40B4-BE49-F238E27FC236}">
                    <a16:creationId xmlns:a16="http://schemas.microsoft.com/office/drawing/2014/main" id="{0DF2DCCF-DC2F-E347-A31C-CDF68A9AF8AC}"/>
                  </a:ext>
                </a:extLst>
              </p:cNvPr>
              <p:cNvGrpSpPr/>
              <p:nvPr userDrawn="1"/>
            </p:nvGrpSpPr>
            <p:grpSpPr>
              <a:xfrm>
                <a:off x="9554253" y="2414886"/>
                <a:ext cx="2735150" cy="1181890"/>
                <a:chOff x="9541498" y="3751132"/>
                <a:chExt cx="2735150" cy="1181890"/>
              </a:xfrm>
            </p:grpSpPr>
            <p:grpSp>
              <p:nvGrpSpPr>
                <p:cNvPr id="60" name="Group 59">
                  <a:extLst>
                    <a:ext uri="{FF2B5EF4-FFF2-40B4-BE49-F238E27FC236}">
                      <a16:creationId xmlns:a16="http://schemas.microsoft.com/office/drawing/2014/main" id="{672EE88A-201E-864B-915E-E26EB55300E2}"/>
                    </a:ext>
                  </a:extLst>
                </p:cNvPr>
                <p:cNvGrpSpPr/>
                <p:nvPr userDrawn="1"/>
              </p:nvGrpSpPr>
              <p:grpSpPr>
                <a:xfrm>
                  <a:off x="9541498" y="3751132"/>
                  <a:ext cx="2735150" cy="1181890"/>
                  <a:chOff x="9296568" y="4910411"/>
                  <a:chExt cx="2735150" cy="1181890"/>
                </a:xfrm>
              </p:grpSpPr>
              <p:sp>
                <p:nvSpPr>
                  <p:cNvPr id="64" name="Rectangle 63">
                    <a:extLst>
                      <a:ext uri="{FF2B5EF4-FFF2-40B4-BE49-F238E27FC236}">
                        <a16:creationId xmlns:a16="http://schemas.microsoft.com/office/drawing/2014/main" id="{1ACA2DCD-6D06-6E48-ADC7-E4700B8E7ED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9296568" y="4910411"/>
                    <a:ext cx="2735150" cy="1181890"/>
                  </a:xfrm>
                  <a:prstGeom prst="rect">
                    <a:avLst/>
                  </a:prstGeom>
                  <a:solidFill>
                    <a:srgbClr val="FFFADF"/>
                  </a:solidFill>
                  <a:ln w="25400">
                    <a:solidFill>
                      <a:schemeClr val="tx1">
                        <a:lumMod val="65000"/>
                        <a:lumOff val="3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50"/>
                  </a:p>
                </p:txBody>
              </p:sp>
              <p:sp>
                <p:nvSpPr>
                  <p:cNvPr id="65" name="TextBox 64">
                    <a:extLst>
                      <a:ext uri="{FF2B5EF4-FFF2-40B4-BE49-F238E27FC236}">
                        <a16:creationId xmlns:a16="http://schemas.microsoft.com/office/drawing/2014/main" id="{766699C1-6810-F840-B15E-9FDBF86672FE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662758" y="5046087"/>
                    <a:ext cx="2211394" cy="16927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 algn="l"/>
                    <a:r>
                      <a:rPr lang="en-US" sz="825">
                        <a:solidFill>
                          <a:schemeClr val="accent2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Numbered lists</a:t>
                    </a:r>
                  </a:p>
                </p:txBody>
              </p:sp>
              <p:sp>
                <p:nvSpPr>
                  <p:cNvPr id="66" name="TextBox 65">
                    <a:extLst>
                      <a:ext uri="{FF2B5EF4-FFF2-40B4-BE49-F238E27FC236}">
                        <a16:creationId xmlns:a16="http://schemas.microsoft.com/office/drawing/2014/main" id="{46B5DD35-B22A-0445-8540-375CCBA7046C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471806" y="5300350"/>
                    <a:ext cx="964050" cy="553998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>
                      <a:spcBef>
                        <a:spcPts val="150"/>
                      </a:spcBef>
                    </a:pPr>
                    <a:r>
                      <a:rPr lang="en-US" sz="675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For instruction on formatting numbered lists, see the most up-to-date Asset File.</a:t>
                    </a:r>
                  </a:p>
                </p:txBody>
              </p:sp>
            </p:grpSp>
            <p:pic>
              <p:nvPicPr>
                <p:cNvPr id="63" name="Graphic 62">
                  <a:extLst>
                    <a:ext uri="{FF2B5EF4-FFF2-40B4-BE49-F238E27FC236}">
                      <a16:creationId xmlns:a16="http://schemas.microsoft.com/office/drawing/2014/main" id="{9D9E4893-D645-1746-AECB-65B57D82B9E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686425" y="3891259"/>
                  <a:ext cx="170340" cy="170340"/>
                </a:xfrm>
                <a:prstGeom prst="rect">
                  <a:avLst/>
                </a:prstGeom>
              </p:spPr>
            </p:pic>
          </p:grpSp>
          <p:pic>
            <p:nvPicPr>
              <p:cNvPr id="11" name="Picture 10">
                <a:extLst>
                  <a:ext uri="{FF2B5EF4-FFF2-40B4-BE49-F238E27FC236}">
                    <a16:creationId xmlns:a16="http://schemas.microsoft.com/office/drawing/2014/main" id="{670B2B87-7712-C049-9036-20C3AD85D78B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7"/>
              <a:srcRect t="5468" r="25071" b="3995"/>
              <a:stretch/>
            </p:blipFill>
            <p:spPr>
              <a:xfrm>
                <a:off x="10779975" y="2820522"/>
                <a:ext cx="1580922" cy="695279"/>
              </a:xfrm>
              <a:prstGeom prst="rect">
                <a:avLst/>
              </a:prstGeom>
              <a:solidFill>
                <a:srgbClr val="FFFADF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384612628"/>
      </p:ext>
    </p:extLst>
  </p:cSld>
  <p:clrMapOvr>
    <a:overrideClrMapping bg1="lt1" tx1="dk1" bg2="lt2" tx2="dk2" accent1="accent1" accent2="accent2" accent3="accent3" accent4="accent4" accent5="accent5" accent6="accent6" hlink="lt1" folHlink="lt1"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fault Text Over Photo (Ful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TextBox 142">
            <a:extLst>
              <a:ext uri="{FF2B5EF4-FFF2-40B4-BE49-F238E27FC236}">
                <a16:creationId xmlns:a16="http://schemas.microsoft.com/office/drawing/2014/main" id="{46481346-5599-134A-9D85-7AA21E57226F}"/>
              </a:ext>
            </a:extLst>
          </p:cNvPr>
          <p:cNvSpPr txBox="1">
            <a:spLocks/>
          </p:cNvSpPr>
          <p:nvPr userDrawn="1"/>
        </p:nvSpPr>
        <p:spPr>
          <a:xfrm>
            <a:off x="0" y="4650582"/>
            <a:ext cx="9144000" cy="492919"/>
          </a:xfrm>
          <a:custGeom>
            <a:avLst/>
            <a:gdLst>
              <a:gd name="connsiteX0" fmla="*/ 8545321 w 9144000"/>
              <a:gd name="connsiteY0" fmla="*/ 376500 h 657225"/>
              <a:gd name="connsiteX1" fmla="*/ 8554631 w 9144000"/>
              <a:gd name="connsiteY1" fmla="*/ 376500 h 657225"/>
              <a:gd name="connsiteX2" fmla="*/ 8572756 w 9144000"/>
              <a:gd name="connsiteY2" fmla="*/ 391789 h 657225"/>
              <a:gd name="connsiteX3" fmla="*/ 8552841 w 9144000"/>
              <a:gd name="connsiteY3" fmla="*/ 407812 h 657225"/>
              <a:gd name="connsiteX4" fmla="*/ 8552841 w 9144000"/>
              <a:gd name="connsiteY4" fmla="*/ 407699 h 657225"/>
              <a:gd name="connsiteX5" fmla="*/ 8545321 w 9144000"/>
              <a:gd name="connsiteY5" fmla="*/ 407699 h 657225"/>
              <a:gd name="connsiteX6" fmla="*/ 8440532 w 9144000"/>
              <a:gd name="connsiteY6" fmla="*/ 375390 h 657225"/>
              <a:gd name="connsiteX7" fmla="*/ 8450870 w 9144000"/>
              <a:gd name="connsiteY7" fmla="*/ 375390 h 657225"/>
              <a:gd name="connsiteX8" fmla="*/ 8486566 w 9144000"/>
              <a:gd name="connsiteY8" fmla="*/ 406439 h 657225"/>
              <a:gd name="connsiteX9" fmla="*/ 8452487 w 9144000"/>
              <a:gd name="connsiteY9" fmla="*/ 439520 h 657225"/>
              <a:gd name="connsiteX10" fmla="*/ 8440532 w 9144000"/>
              <a:gd name="connsiteY10" fmla="*/ 439520 h 657225"/>
              <a:gd name="connsiteX11" fmla="*/ 8359313 w 9144000"/>
              <a:gd name="connsiteY11" fmla="*/ 353970 h 657225"/>
              <a:gd name="connsiteX12" fmla="*/ 8357847 w 9144000"/>
              <a:gd name="connsiteY12" fmla="*/ 357073 h 657225"/>
              <a:gd name="connsiteX13" fmla="*/ 8338066 w 9144000"/>
              <a:gd name="connsiteY13" fmla="*/ 398879 h 657225"/>
              <a:gd name="connsiteX14" fmla="*/ 8338066 w 9144000"/>
              <a:gd name="connsiteY14" fmla="*/ 460790 h 657225"/>
              <a:gd name="connsiteX15" fmla="*/ 8406529 w 9144000"/>
              <a:gd name="connsiteY15" fmla="*/ 460790 h 657225"/>
              <a:gd name="connsiteX16" fmla="*/ 8406529 w 9144000"/>
              <a:gd name="connsiteY16" fmla="*/ 438203 h 657225"/>
              <a:gd name="connsiteX17" fmla="*/ 8363159 w 9144000"/>
              <a:gd name="connsiteY17" fmla="*/ 438203 h 657225"/>
              <a:gd name="connsiteX18" fmla="*/ 8363159 w 9144000"/>
              <a:gd name="connsiteY18" fmla="*/ 417366 h 657225"/>
              <a:gd name="connsiteX19" fmla="*/ 8402683 w 9144000"/>
              <a:gd name="connsiteY19" fmla="*/ 417366 h 657225"/>
              <a:gd name="connsiteX20" fmla="*/ 8402683 w 9144000"/>
              <a:gd name="connsiteY20" fmla="*/ 395795 h 657225"/>
              <a:gd name="connsiteX21" fmla="*/ 8363159 w 9144000"/>
              <a:gd name="connsiteY21" fmla="*/ 395795 h 657225"/>
              <a:gd name="connsiteX22" fmla="*/ 8363159 w 9144000"/>
              <a:gd name="connsiteY22" fmla="*/ 376707 h 657225"/>
              <a:gd name="connsiteX23" fmla="*/ 8406529 w 9144000"/>
              <a:gd name="connsiteY23" fmla="*/ 376707 h 657225"/>
              <a:gd name="connsiteX24" fmla="*/ 8406529 w 9144000"/>
              <a:gd name="connsiteY24" fmla="*/ 353970 h 657225"/>
              <a:gd name="connsiteX25" fmla="*/ 8245576 w 9144000"/>
              <a:gd name="connsiteY25" fmla="*/ 353951 h 657225"/>
              <a:gd name="connsiteX26" fmla="*/ 8262083 w 9144000"/>
              <a:gd name="connsiteY26" fmla="*/ 388348 h 657225"/>
              <a:gd name="connsiteX27" fmla="*/ 8288527 w 9144000"/>
              <a:gd name="connsiteY27" fmla="*/ 388348 h 657225"/>
              <a:gd name="connsiteX28" fmla="*/ 8273963 w 9144000"/>
              <a:gd name="connsiteY28" fmla="*/ 353951 h 657225"/>
              <a:gd name="connsiteX29" fmla="*/ 8520246 w 9144000"/>
              <a:gd name="connsiteY29" fmla="*/ 353932 h 657225"/>
              <a:gd name="connsiteX30" fmla="*/ 8520246 w 9144000"/>
              <a:gd name="connsiteY30" fmla="*/ 460789 h 657225"/>
              <a:gd name="connsiteX31" fmla="*/ 8545321 w 9144000"/>
              <a:gd name="connsiteY31" fmla="*/ 460789 h 657225"/>
              <a:gd name="connsiteX32" fmla="*/ 8545321 w 9144000"/>
              <a:gd name="connsiteY32" fmla="*/ 429157 h 657225"/>
              <a:gd name="connsiteX33" fmla="*/ 8554631 w 9144000"/>
              <a:gd name="connsiteY33" fmla="*/ 429157 h 657225"/>
              <a:gd name="connsiteX34" fmla="*/ 8598420 w 9144000"/>
              <a:gd name="connsiteY34" fmla="*/ 391244 h 657225"/>
              <a:gd name="connsiteX35" fmla="*/ 8550347 w 9144000"/>
              <a:gd name="connsiteY35" fmla="*/ 353932 h 657225"/>
              <a:gd name="connsiteX36" fmla="*/ 8415496 w 9144000"/>
              <a:gd name="connsiteY36" fmla="*/ 353932 h 657225"/>
              <a:gd name="connsiteX37" fmla="*/ 8415496 w 9144000"/>
              <a:gd name="connsiteY37" fmla="*/ 460695 h 657225"/>
              <a:gd name="connsiteX38" fmla="*/ 8448547 w 9144000"/>
              <a:gd name="connsiteY38" fmla="*/ 460808 h 657225"/>
              <a:gd name="connsiteX39" fmla="*/ 8513278 w 9144000"/>
              <a:gd name="connsiteY39" fmla="*/ 406439 h 657225"/>
              <a:gd name="connsiteX40" fmla="*/ 8447462 w 9144000"/>
              <a:gd name="connsiteY40" fmla="*/ 353970 h 657225"/>
              <a:gd name="connsiteX41" fmla="*/ 8447500 w 9144000"/>
              <a:gd name="connsiteY41" fmla="*/ 353932 h 657225"/>
              <a:gd name="connsiteX42" fmla="*/ 8415496 w 9144000"/>
              <a:gd name="connsiteY42" fmla="*/ 353932 h 657225"/>
              <a:gd name="connsiteX43" fmla="*/ 8323901 w 9144000"/>
              <a:gd name="connsiteY43" fmla="*/ 353932 h 657225"/>
              <a:gd name="connsiteX44" fmla="*/ 8298694 w 9144000"/>
              <a:gd name="connsiteY44" fmla="*/ 411874 h 657225"/>
              <a:gd name="connsiteX45" fmla="*/ 8291859 w 9144000"/>
              <a:gd name="connsiteY45" fmla="*/ 395870 h 657225"/>
              <a:gd name="connsiteX46" fmla="*/ 8265624 w 9144000"/>
              <a:gd name="connsiteY46" fmla="*/ 395870 h 657225"/>
              <a:gd name="connsiteX47" fmla="*/ 8296943 w 9144000"/>
              <a:gd name="connsiteY47" fmla="*/ 461203 h 657225"/>
              <a:gd name="connsiteX48" fmla="*/ 8299856 w 9144000"/>
              <a:gd name="connsiteY48" fmla="*/ 461203 h 657225"/>
              <a:gd name="connsiteX49" fmla="*/ 8350594 w 9144000"/>
              <a:gd name="connsiteY49" fmla="*/ 353932 h 657225"/>
              <a:gd name="connsiteX50" fmla="*/ 8704282 w 9144000"/>
              <a:gd name="connsiteY50" fmla="*/ 315373 h 657225"/>
              <a:gd name="connsiteX51" fmla="*/ 8704282 w 9144000"/>
              <a:gd name="connsiteY51" fmla="*/ 489998 h 657225"/>
              <a:gd name="connsiteX52" fmla="*/ 8723671 w 9144000"/>
              <a:gd name="connsiteY52" fmla="*/ 489998 h 657225"/>
              <a:gd name="connsiteX53" fmla="*/ 8723671 w 9144000"/>
              <a:gd name="connsiteY53" fmla="*/ 315373 h 657225"/>
              <a:gd name="connsiteX54" fmla="*/ 0 w 9144000"/>
              <a:gd name="connsiteY54" fmla="*/ 0 h 657225"/>
              <a:gd name="connsiteX55" fmla="*/ 9144000 w 9144000"/>
              <a:gd name="connsiteY55" fmla="*/ 0 h 657225"/>
              <a:gd name="connsiteX56" fmla="*/ 9144000 w 9144000"/>
              <a:gd name="connsiteY56" fmla="*/ 657225 h 657225"/>
              <a:gd name="connsiteX57" fmla="*/ 0 w 9144000"/>
              <a:gd name="connsiteY57" fmla="*/ 657225 h 657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9144000" h="657225">
                <a:moveTo>
                  <a:pt x="8545321" y="376500"/>
                </a:moveTo>
                <a:lnTo>
                  <a:pt x="8554631" y="376500"/>
                </a:lnTo>
                <a:cubicBezTo>
                  <a:pt x="8567006" y="376500"/>
                  <a:pt x="8572756" y="383195"/>
                  <a:pt x="8572756" y="391789"/>
                </a:cubicBezTo>
                <a:cubicBezTo>
                  <a:pt x="8572756" y="402133"/>
                  <a:pt x="8566130" y="407812"/>
                  <a:pt x="8552841" y="407812"/>
                </a:cubicBezTo>
                <a:lnTo>
                  <a:pt x="8552841" y="407699"/>
                </a:lnTo>
                <a:lnTo>
                  <a:pt x="8545321" y="407699"/>
                </a:lnTo>
                <a:close/>
                <a:moveTo>
                  <a:pt x="8440532" y="375390"/>
                </a:moveTo>
                <a:lnTo>
                  <a:pt x="8450870" y="375390"/>
                </a:lnTo>
                <a:cubicBezTo>
                  <a:pt x="8474172" y="375390"/>
                  <a:pt x="8486566" y="387050"/>
                  <a:pt x="8486566" y="406439"/>
                </a:cubicBezTo>
                <a:cubicBezTo>
                  <a:pt x="8486566" y="426412"/>
                  <a:pt x="8476095" y="439520"/>
                  <a:pt x="8452487" y="439520"/>
                </a:cubicBezTo>
                <a:lnTo>
                  <a:pt x="8440532" y="439520"/>
                </a:lnTo>
                <a:close/>
                <a:moveTo>
                  <a:pt x="8359313" y="353970"/>
                </a:moveTo>
                <a:lnTo>
                  <a:pt x="8357847" y="357073"/>
                </a:lnTo>
                <a:lnTo>
                  <a:pt x="8338066" y="398879"/>
                </a:lnTo>
                <a:lnTo>
                  <a:pt x="8338066" y="460790"/>
                </a:lnTo>
                <a:lnTo>
                  <a:pt x="8406529" y="460790"/>
                </a:lnTo>
                <a:lnTo>
                  <a:pt x="8406529" y="438203"/>
                </a:lnTo>
                <a:lnTo>
                  <a:pt x="8363159" y="438203"/>
                </a:lnTo>
                <a:lnTo>
                  <a:pt x="8363159" y="417366"/>
                </a:lnTo>
                <a:lnTo>
                  <a:pt x="8402683" y="417366"/>
                </a:lnTo>
                <a:lnTo>
                  <a:pt x="8402683" y="395795"/>
                </a:lnTo>
                <a:lnTo>
                  <a:pt x="8363159" y="395795"/>
                </a:lnTo>
                <a:lnTo>
                  <a:pt x="8363159" y="376707"/>
                </a:lnTo>
                <a:lnTo>
                  <a:pt x="8406529" y="376707"/>
                </a:lnTo>
                <a:lnTo>
                  <a:pt x="8406529" y="353970"/>
                </a:lnTo>
                <a:close/>
                <a:moveTo>
                  <a:pt x="8245576" y="353951"/>
                </a:moveTo>
                <a:lnTo>
                  <a:pt x="8262083" y="388348"/>
                </a:lnTo>
                <a:lnTo>
                  <a:pt x="8288527" y="388348"/>
                </a:lnTo>
                <a:lnTo>
                  <a:pt x="8273963" y="353951"/>
                </a:lnTo>
                <a:close/>
                <a:moveTo>
                  <a:pt x="8520246" y="353932"/>
                </a:moveTo>
                <a:lnTo>
                  <a:pt x="8520246" y="460789"/>
                </a:lnTo>
                <a:lnTo>
                  <a:pt x="8545321" y="460789"/>
                </a:lnTo>
                <a:lnTo>
                  <a:pt x="8545321" y="429157"/>
                </a:lnTo>
                <a:lnTo>
                  <a:pt x="8554631" y="429157"/>
                </a:lnTo>
                <a:cubicBezTo>
                  <a:pt x="8583189" y="429157"/>
                  <a:pt x="8598420" y="413266"/>
                  <a:pt x="8598420" y="391244"/>
                </a:cubicBezTo>
                <a:cubicBezTo>
                  <a:pt x="8598439" y="369711"/>
                  <a:pt x="8581628" y="353932"/>
                  <a:pt x="8550347" y="353932"/>
                </a:cubicBezTo>
                <a:close/>
                <a:moveTo>
                  <a:pt x="8415496" y="353932"/>
                </a:moveTo>
                <a:lnTo>
                  <a:pt x="8415496" y="460695"/>
                </a:lnTo>
                <a:cubicBezTo>
                  <a:pt x="8415496" y="460695"/>
                  <a:pt x="8435867" y="460808"/>
                  <a:pt x="8448547" y="460808"/>
                </a:cubicBezTo>
                <a:cubicBezTo>
                  <a:pt x="8493382" y="460808"/>
                  <a:pt x="8513278" y="437921"/>
                  <a:pt x="8513278" y="406439"/>
                </a:cubicBezTo>
                <a:cubicBezTo>
                  <a:pt x="8513278" y="376349"/>
                  <a:pt x="8492335" y="353970"/>
                  <a:pt x="8447462" y="353970"/>
                </a:cubicBezTo>
                <a:lnTo>
                  <a:pt x="8447500" y="353932"/>
                </a:lnTo>
                <a:cubicBezTo>
                  <a:pt x="8436743" y="353932"/>
                  <a:pt x="8415496" y="353932"/>
                  <a:pt x="8415496" y="353932"/>
                </a:cubicBezTo>
                <a:close/>
                <a:moveTo>
                  <a:pt x="8323901" y="353932"/>
                </a:moveTo>
                <a:lnTo>
                  <a:pt x="8298694" y="411874"/>
                </a:lnTo>
                <a:lnTo>
                  <a:pt x="8291859" y="395870"/>
                </a:lnTo>
                <a:lnTo>
                  <a:pt x="8265624" y="395870"/>
                </a:lnTo>
                <a:lnTo>
                  <a:pt x="8296943" y="461203"/>
                </a:lnTo>
                <a:lnTo>
                  <a:pt x="8299856" y="461203"/>
                </a:lnTo>
                <a:lnTo>
                  <a:pt x="8350594" y="353932"/>
                </a:lnTo>
                <a:close/>
                <a:moveTo>
                  <a:pt x="8704282" y="315373"/>
                </a:moveTo>
                <a:lnTo>
                  <a:pt x="8704282" y="489998"/>
                </a:lnTo>
                <a:lnTo>
                  <a:pt x="8723671" y="489998"/>
                </a:lnTo>
                <a:lnTo>
                  <a:pt x="8723671" y="315373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57225"/>
                </a:lnTo>
                <a:lnTo>
                  <a:pt x="0" y="65722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Wingdings" pitchFamily="2" charset="2"/>
              <a:buNone/>
              <a:defRPr sz="1400" b="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7850" indent="-30162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5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DC1CA07-8C63-8647-8A4A-38C9BB1B9E32}"/>
              </a:ext>
            </a:extLst>
          </p:cNvPr>
          <p:cNvGrpSpPr/>
          <p:nvPr userDrawn="1"/>
        </p:nvGrpSpPr>
        <p:grpSpPr>
          <a:xfrm>
            <a:off x="-254939" y="-183169"/>
            <a:ext cx="9657928" cy="5511516"/>
            <a:chOff x="-254939" y="-244225"/>
            <a:chExt cx="9657928" cy="7348688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85C25219-E915-0247-86A1-22585D6E3093}"/>
                </a:ext>
              </a:extLst>
            </p:cNvPr>
            <p:cNvGrpSpPr/>
            <p:nvPr userDrawn="1"/>
          </p:nvGrpSpPr>
          <p:grpSpPr>
            <a:xfrm>
              <a:off x="433266" y="6867287"/>
              <a:ext cx="8280398" cy="235792"/>
              <a:chOff x="431801" y="-235792"/>
              <a:chExt cx="4400550" cy="235792"/>
            </a:xfrm>
          </p:grpSpPr>
          <p:cxnSp>
            <p:nvCxnSpPr>
              <p:cNvPr id="57" name="Straight Connector 56">
                <a:extLst>
                  <a:ext uri="{FF2B5EF4-FFF2-40B4-BE49-F238E27FC236}">
                    <a16:creationId xmlns:a16="http://schemas.microsoft.com/office/drawing/2014/main" id="{E473508A-53E9-294C-8A55-AA67E2E362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Connector 57">
                <a:extLst>
                  <a:ext uri="{FF2B5EF4-FFF2-40B4-BE49-F238E27FC236}">
                    <a16:creationId xmlns:a16="http://schemas.microsoft.com/office/drawing/2014/main" id="{AEE1771F-109C-B54D-8B81-A3B0F5D0C42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31062115-5946-2E4B-8C29-C85175435B4D}"/>
                </a:ext>
              </a:extLst>
            </p:cNvPr>
            <p:cNvGrpSpPr/>
            <p:nvPr userDrawn="1"/>
          </p:nvGrpSpPr>
          <p:grpSpPr>
            <a:xfrm>
              <a:off x="-254939" y="6202098"/>
              <a:ext cx="251461" cy="505509"/>
              <a:chOff x="-256403" y="6200775"/>
              <a:chExt cx="251461" cy="505509"/>
            </a:xfrm>
          </p:grpSpPr>
          <p:grpSp>
            <p:nvGrpSpPr>
              <p:cNvPr id="60" name="Group 59">
                <a:extLst>
                  <a:ext uri="{FF2B5EF4-FFF2-40B4-BE49-F238E27FC236}">
                    <a16:creationId xmlns:a16="http://schemas.microsoft.com/office/drawing/2014/main" id="{47C326A5-BE4B-1442-AC13-B44C5D4792CF}"/>
                  </a:ext>
                </a:extLst>
              </p:cNvPr>
              <p:cNvGrpSpPr/>
              <p:nvPr userDrawn="1"/>
            </p:nvGrpSpPr>
            <p:grpSpPr>
              <a:xfrm rot="16200000">
                <a:off x="-383427" y="6327799"/>
                <a:ext cx="505509" cy="251461"/>
                <a:chOff x="431800" y="-235792"/>
                <a:chExt cx="4400551" cy="235792"/>
              </a:xfrm>
            </p:grpSpPr>
            <p:cxnSp>
              <p:nvCxnSpPr>
                <p:cNvPr id="62" name="Straight Connector 61">
                  <a:extLst>
                    <a:ext uri="{FF2B5EF4-FFF2-40B4-BE49-F238E27FC236}">
                      <a16:creationId xmlns:a16="http://schemas.microsoft.com/office/drawing/2014/main" id="{DBB5637D-AB15-E04F-A1B6-3A283BA1C6F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" name="Straight Connector 62">
                  <a:extLst>
                    <a:ext uri="{FF2B5EF4-FFF2-40B4-BE49-F238E27FC236}">
                      <a16:creationId xmlns:a16="http://schemas.microsoft.com/office/drawing/2014/main" id="{A1D7E4D6-88A2-7E4B-9284-DCED9F79105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4" name="Rectangle 63">
                  <a:extLst>
                    <a:ext uri="{FF2B5EF4-FFF2-40B4-BE49-F238E27FC236}">
                      <a16:creationId xmlns:a16="http://schemas.microsoft.com/office/drawing/2014/main" id="{F393F5F7-24EF-2745-BC86-DF4C9F389FCB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</p:grp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F75E910D-9604-9D4F-90E2-EF81D37C867B}"/>
                  </a:ext>
                </a:extLst>
              </p:cNvPr>
              <p:cNvSpPr txBox="1"/>
              <p:nvPr userDrawn="1"/>
            </p:nvSpPr>
            <p:spPr>
              <a:xfrm rot="16200000">
                <a:off x="-285630" y="6399802"/>
                <a:ext cx="309914" cy="129266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sz="5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FOOT</a:t>
                </a:r>
                <a:br>
                  <a:rPr lang="en-US" sz="5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</a:br>
                <a:r>
                  <a:rPr lang="en-US" sz="5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NOTES</a:t>
                </a:r>
              </a:p>
            </p:txBody>
          </p: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292BBFA4-5FEF-524D-AD01-F867D593722F}"/>
                </a:ext>
              </a:extLst>
            </p:cNvPr>
            <p:cNvGrpSpPr/>
            <p:nvPr userDrawn="1"/>
          </p:nvGrpSpPr>
          <p:grpSpPr>
            <a:xfrm>
              <a:off x="433264" y="-244225"/>
              <a:ext cx="8280400" cy="235792"/>
              <a:chOff x="431800" y="-240735"/>
              <a:chExt cx="8280400" cy="235792"/>
            </a:xfrm>
          </p:grpSpPr>
          <p:grpSp>
            <p:nvGrpSpPr>
              <p:cNvPr id="66" name="Group 65">
                <a:extLst>
                  <a:ext uri="{FF2B5EF4-FFF2-40B4-BE49-F238E27FC236}">
                    <a16:creationId xmlns:a16="http://schemas.microsoft.com/office/drawing/2014/main" id="{5A2E8C57-7A20-F840-9308-5611AA6C77E3}"/>
                  </a:ext>
                </a:extLst>
              </p:cNvPr>
              <p:cNvGrpSpPr/>
              <p:nvPr userDrawn="1"/>
            </p:nvGrpSpPr>
            <p:grpSpPr>
              <a:xfrm>
                <a:off x="431800" y="-240735"/>
                <a:ext cx="8280400" cy="235792"/>
                <a:chOff x="431800" y="-235792"/>
                <a:chExt cx="4400551" cy="235792"/>
              </a:xfrm>
            </p:grpSpPr>
            <p:cxnSp>
              <p:nvCxnSpPr>
                <p:cNvPr id="70" name="Straight Connector 69">
                  <a:extLst>
                    <a:ext uri="{FF2B5EF4-FFF2-40B4-BE49-F238E27FC236}">
                      <a16:creationId xmlns:a16="http://schemas.microsoft.com/office/drawing/2014/main" id="{35EF9DEA-530C-4B42-B0F7-9C7D4C25A0A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1" name="Straight Connector 70">
                  <a:extLst>
                    <a:ext uri="{FF2B5EF4-FFF2-40B4-BE49-F238E27FC236}">
                      <a16:creationId xmlns:a16="http://schemas.microsoft.com/office/drawing/2014/main" id="{B71C38FE-1DD7-7B4D-B6D4-CEB6C6D31A2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2" name="Rectangle 71">
                  <a:extLst>
                    <a:ext uri="{FF2B5EF4-FFF2-40B4-BE49-F238E27FC236}">
                      <a16:creationId xmlns:a16="http://schemas.microsoft.com/office/drawing/2014/main" id="{B274FA2B-3A29-0F4D-A4D3-1E12B5D4CEF3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</p:grpSp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AF99FA91-ECED-4D43-BCE4-7FAD08FA3B04}"/>
                  </a:ext>
                </a:extLst>
              </p:cNvPr>
              <p:cNvSpPr txBox="1"/>
              <p:nvPr userDrawn="1"/>
            </p:nvSpPr>
            <p:spPr>
              <a:xfrm>
                <a:off x="3883466" y="-176700"/>
                <a:ext cx="1377081" cy="107721"/>
              </a:xfrm>
              <a:prstGeom prst="rect">
                <a:avLst/>
              </a:prstGeom>
            </p:spPr>
            <p:txBody>
              <a:bodyPr vert="horz" wrap="none" lIns="108000" tIns="0" rIns="108000" bIns="0" rtlCol="0" anchor="ctr">
                <a:spAutoFit/>
              </a:bodyPr>
              <a:lstStyle/>
              <a:p>
                <a:pPr algn="ctr"/>
                <a:r>
                  <a:rPr lang="en-US" sz="5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KEEP CONTENT WITHIN THIS AREA</a:t>
                </a:r>
              </a:p>
            </p:txBody>
          </p:sp>
          <p:cxnSp>
            <p:nvCxnSpPr>
              <p:cNvPr id="68" name="Straight Arrow Connector 67">
                <a:extLst>
                  <a:ext uri="{FF2B5EF4-FFF2-40B4-BE49-F238E27FC236}">
                    <a16:creationId xmlns:a16="http://schemas.microsoft.com/office/drawing/2014/main" id="{B34B6B73-1081-0E44-AF98-571C7E0BD066}"/>
                  </a:ext>
                </a:extLst>
              </p:cNvPr>
              <p:cNvCxnSpPr>
                <a:cxnSpLocks/>
                <a:stCxn id="67" idx="1"/>
                <a:endCxn id="72" idx="2"/>
              </p:cNvCxnSpPr>
              <p:nvPr userDrawn="1"/>
            </p:nvCxnSpPr>
            <p:spPr>
              <a:xfrm flipH="1">
                <a:off x="431800" y="-122839"/>
                <a:ext cx="3451666" cy="1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Arrow Connector 68">
                <a:extLst>
                  <a:ext uri="{FF2B5EF4-FFF2-40B4-BE49-F238E27FC236}">
                    <a16:creationId xmlns:a16="http://schemas.microsoft.com/office/drawing/2014/main" id="{3CF09107-5C11-FD44-BFDC-AE93DE20F6F2}"/>
                  </a:ext>
                </a:extLst>
              </p:cNvPr>
              <p:cNvCxnSpPr>
                <a:cxnSpLocks/>
                <a:stCxn id="67" idx="3"/>
                <a:endCxn id="72" idx="0"/>
              </p:cNvCxnSpPr>
              <p:nvPr userDrawn="1"/>
            </p:nvCxnSpPr>
            <p:spPr>
              <a:xfrm>
                <a:off x="5260547" y="-122839"/>
                <a:ext cx="3451653" cy="0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D62B5D38-D820-3845-8687-4B3E3C84C708}"/>
                </a:ext>
              </a:extLst>
            </p:cNvPr>
            <p:cNvGrpSpPr/>
            <p:nvPr userDrawn="1"/>
          </p:nvGrpSpPr>
          <p:grpSpPr>
            <a:xfrm rot="16200000">
              <a:off x="9024504" y="6329122"/>
              <a:ext cx="505509" cy="251461"/>
              <a:chOff x="431801" y="-235792"/>
              <a:chExt cx="4400550" cy="235792"/>
            </a:xfrm>
          </p:grpSpPr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4872C320-D6C1-DA4E-9AD7-B7A0A8B4D5B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EAF17C3F-BCF7-E84D-B2B3-0197BB3DE5F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B6482D8A-4DDA-CF4B-9EFA-753740F85D70}"/>
                </a:ext>
              </a:extLst>
            </p:cNvPr>
            <p:cNvGrpSpPr/>
            <p:nvPr userDrawn="1"/>
          </p:nvGrpSpPr>
          <p:grpSpPr>
            <a:xfrm>
              <a:off x="-254939" y="420689"/>
              <a:ext cx="9657928" cy="5746484"/>
              <a:chOff x="-254939" y="1236195"/>
              <a:chExt cx="9657928" cy="4930977"/>
            </a:xfrm>
          </p:grpSpPr>
          <p:grpSp>
            <p:nvGrpSpPr>
              <p:cNvPr id="73" name="Group 72">
                <a:extLst>
                  <a:ext uri="{FF2B5EF4-FFF2-40B4-BE49-F238E27FC236}">
                    <a16:creationId xmlns:a16="http://schemas.microsoft.com/office/drawing/2014/main" id="{BA0B2552-2063-B94B-8753-4FFD2EFDAEFA}"/>
                  </a:ext>
                </a:extLst>
              </p:cNvPr>
              <p:cNvGrpSpPr/>
              <p:nvPr userDrawn="1"/>
            </p:nvGrpSpPr>
            <p:grpSpPr>
              <a:xfrm>
                <a:off x="-254939" y="1236195"/>
                <a:ext cx="251461" cy="4930977"/>
                <a:chOff x="-256403" y="1304924"/>
                <a:chExt cx="251461" cy="4843215"/>
              </a:xfrm>
            </p:grpSpPr>
            <p:grpSp>
              <p:nvGrpSpPr>
                <p:cNvPr id="74" name="Group 73">
                  <a:extLst>
                    <a:ext uri="{FF2B5EF4-FFF2-40B4-BE49-F238E27FC236}">
                      <a16:creationId xmlns:a16="http://schemas.microsoft.com/office/drawing/2014/main" id="{3E908781-EB9C-7F43-9C77-51D6DF0D08FB}"/>
                    </a:ext>
                  </a:extLst>
                </p:cNvPr>
                <p:cNvGrpSpPr/>
                <p:nvPr userDrawn="1"/>
              </p:nvGrpSpPr>
              <p:grpSpPr>
                <a:xfrm rot="16200000">
                  <a:off x="-2552280" y="3600801"/>
                  <a:ext cx="4843215" cy="251461"/>
                  <a:chOff x="431800" y="-235792"/>
                  <a:chExt cx="4400551" cy="235792"/>
                </a:xfrm>
              </p:grpSpPr>
              <p:cxnSp>
                <p:nvCxnSpPr>
                  <p:cNvPr id="80" name="Straight Connector 79">
                    <a:extLst>
                      <a:ext uri="{FF2B5EF4-FFF2-40B4-BE49-F238E27FC236}">
                        <a16:creationId xmlns:a16="http://schemas.microsoft.com/office/drawing/2014/main" id="{6348B6E7-397E-7443-A5B3-B13B784EE033}"/>
                      </a:ext>
                    </a:extLst>
                  </p:cNvPr>
                  <p:cNvCxnSpPr>
                    <a:cxnSpLocks/>
                  </p:cNvCxnSpPr>
                  <p:nvPr userDrawn="1"/>
                </p:nvCxnSpPr>
                <p:spPr>
                  <a:xfrm flipV="1">
                    <a:off x="4832351" y="-235792"/>
                    <a:ext cx="0" cy="235792"/>
                  </a:xfrm>
                  <a:prstGeom prst="line">
                    <a:avLst/>
                  </a:prstGeom>
                  <a:ln w="25400"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1" name="Straight Connector 80">
                    <a:extLst>
                      <a:ext uri="{FF2B5EF4-FFF2-40B4-BE49-F238E27FC236}">
                        <a16:creationId xmlns:a16="http://schemas.microsoft.com/office/drawing/2014/main" id="{DCC8C989-AEB2-1342-A4F6-C0CE5593C320}"/>
                      </a:ext>
                    </a:extLst>
                  </p:cNvPr>
                  <p:cNvCxnSpPr>
                    <a:cxnSpLocks/>
                  </p:cNvCxnSpPr>
                  <p:nvPr userDrawn="1"/>
                </p:nvCxnSpPr>
                <p:spPr>
                  <a:xfrm flipV="1">
                    <a:off x="431801" y="-235792"/>
                    <a:ext cx="0" cy="235791"/>
                  </a:xfrm>
                  <a:prstGeom prst="line">
                    <a:avLst/>
                  </a:prstGeom>
                  <a:ln w="25400"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82" name="Rectangle 81">
                    <a:extLst>
                      <a:ext uri="{FF2B5EF4-FFF2-40B4-BE49-F238E27FC236}">
                        <a16:creationId xmlns:a16="http://schemas.microsoft.com/office/drawing/2014/main" id="{E694B1DC-BFA9-8E48-96CE-C60F1DE2D2C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2514180" y="-2318172"/>
                    <a:ext cx="235791" cy="4400551"/>
                  </a:xfrm>
                  <a:prstGeom prst="rect">
                    <a:avLst/>
                  </a:prstGeom>
                  <a:solidFill>
                    <a:schemeClr val="accent2">
                      <a:alpha val="1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50"/>
                  </a:p>
                </p:txBody>
              </p:sp>
            </p:grpSp>
            <p:sp>
              <p:nvSpPr>
                <p:cNvPr id="75" name="TextBox 74">
                  <a:extLst>
                    <a:ext uri="{FF2B5EF4-FFF2-40B4-BE49-F238E27FC236}">
                      <a16:creationId xmlns:a16="http://schemas.microsoft.com/office/drawing/2014/main" id="{FC816E2B-0C94-D948-9F64-0CD5F0050148}"/>
                    </a:ext>
                  </a:extLst>
                </p:cNvPr>
                <p:cNvSpPr txBox="1"/>
                <p:nvPr userDrawn="1"/>
              </p:nvSpPr>
              <p:spPr>
                <a:xfrm rot="16200000">
                  <a:off x="-904420" y="3686135"/>
                  <a:ext cx="1547497" cy="80791"/>
                </a:xfrm>
                <a:prstGeom prst="rect">
                  <a:avLst/>
                </a:prstGeom>
              </p:spPr>
              <p:txBody>
                <a:bodyPr vert="horz" wrap="none" lIns="108000" tIns="0" rIns="108000" bIns="0" rtlCol="0" anchor="ctr">
                  <a:spAutoFit/>
                </a:bodyPr>
                <a:lstStyle/>
                <a:p>
                  <a:pPr algn="ctr"/>
                  <a:r>
                    <a:rPr lang="en-US" sz="5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KEEP CONTENT WITHIN THIS AREA</a:t>
                  </a:r>
                </a:p>
              </p:txBody>
            </p:sp>
            <p:cxnSp>
              <p:nvCxnSpPr>
                <p:cNvPr id="76" name="Straight Arrow Connector 75">
                  <a:extLst>
                    <a:ext uri="{FF2B5EF4-FFF2-40B4-BE49-F238E27FC236}">
                      <a16:creationId xmlns:a16="http://schemas.microsoft.com/office/drawing/2014/main" id="{9C4CC1A9-A535-1144-8940-768AF7ABE4E6}"/>
                    </a:ext>
                  </a:extLst>
                </p:cNvPr>
                <p:cNvCxnSpPr>
                  <a:cxnSpLocks/>
                  <a:stCxn id="75" idx="1"/>
                </p:cNvCxnSpPr>
                <p:nvPr userDrawn="1"/>
              </p:nvCxnSpPr>
              <p:spPr>
                <a:xfrm flipH="1">
                  <a:off x="-130672" y="4500279"/>
                  <a:ext cx="1" cy="1647860"/>
                </a:xfrm>
                <a:prstGeom prst="straightConnector1">
                  <a:avLst/>
                </a:prstGeom>
                <a:ln>
                  <a:solidFill>
                    <a:schemeClr val="accent2"/>
                  </a:solidFill>
                  <a:tailEnd type="arrow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Straight Arrow Connector 76">
                  <a:extLst>
                    <a:ext uri="{FF2B5EF4-FFF2-40B4-BE49-F238E27FC236}">
                      <a16:creationId xmlns:a16="http://schemas.microsoft.com/office/drawing/2014/main" id="{019F48B9-23E2-DA45-B7FC-8F11E3B079C4}"/>
                    </a:ext>
                  </a:extLst>
                </p:cNvPr>
                <p:cNvCxnSpPr>
                  <a:cxnSpLocks/>
                  <a:stCxn id="75" idx="3"/>
                </p:cNvCxnSpPr>
                <p:nvPr userDrawn="1"/>
              </p:nvCxnSpPr>
              <p:spPr>
                <a:xfrm flipH="1" flipV="1">
                  <a:off x="-130673" y="1304928"/>
                  <a:ext cx="2" cy="1647853"/>
                </a:xfrm>
                <a:prstGeom prst="straightConnector1">
                  <a:avLst/>
                </a:prstGeom>
                <a:ln>
                  <a:solidFill>
                    <a:schemeClr val="accent2"/>
                  </a:solidFill>
                  <a:tailEnd type="arrow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5" name="Group 94">
                <a:extLst>
                  <a:ext uri="{FF2B5EF4-FFF2-40B4-BE49-F238E27FC236}">
                    <a16:creationId xmlns:a16="http://schemas.microsoft.com/office/drawing/2014/main" id="{D55D1E59-56A3-A24A-8DE5-328F3950FCC9}"/>
                  </a:ext>
                </a:extLst>
              </p:cNvPr>
              <p:cNvGrpSpPr/>
              <p:nvPr userDrawn="1"/>
            </p:nvGrpSpPr>
            <p:grpSpPr>
              <a:xfrm rot="16200000">
                <a:off x="6812666" y="3576847"/>
                <a:ext cx="4929186" cy="251461"/>
                <a:chOff x="431801" y="-235792"/>
                <a:chExt cx="4462347" cy="235792"/>
              </a:xfrm>
            </p:grpSpPr>
            <p:cxnSp>
              <p:nvCxnSpPr>
                <p:cNvPr id="96" name="Straight Connector 95">
                  <a:extLst>
                    <a:ext uri="{FF2B5EF4-FFF2-40B4-BE49-F238E27FC236}">
                      <a16:creationId xmlns:a16="http://schemas.microsoft.com/office/drawing/2014/main" id="{E20DEBD3-0096-5648-87C1-52DA194811CD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94148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7" name="Straight Connector 96">
                  <a:extLst>
                    <a:ext uri="{FF2B5EF4-FFF2-40B4-BE49-F238E27FC236}">
                      <a16:creationId xmlns:a16="http://schemas.microsoft.com/office/drawing/2014/main" id="{FBF68087-6890-E04C-840F-0B5D5B30DC9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5BB4E0DB-92A2-CE4B-A4D4-C21071C96CD3}"/>
                </a:ext>
              </a:extLst>
            </p:cNvPr>
            <p:cNvGrpSpPr/>
            <p:nvPr userDrawn="1"/>
          </p:nvGrpSpPr>
          <p:grpSpPr>
            <a:xfrm>
              <a:off x="3123421" y="6868673"/>
              <a:ext cx="2929914" cy="235790"/>
              <a:chOff x="3121388" y="6869197"/>
              <a:chExt cx="2929914" cy="235790"/>
            </a:xfrm>
          </p:grpSpPr>
          <p:grpSp>
            <p:nvGrpSpPr>
              <p:cNvPr id="99" name="Group 98">
                <a:extLst>
                  <a:ext uri="{FF2B5EF4-FFF2-40B4-BE49-F238E27FC236}">
                    <a16:creationId xmlns:a16="http://schemas.microsoft.com/office/drawing/2014/main" id="{57650860-F98A-2D48-91EC-A5A2807BDC6C}"/>
                  </a:ext>
                </a:extLst>
              </p:cNvPr>
              <p:cNvGrpSpPr/>
              <p:nvPr userDrawn="1"/>
            </p:nvGrpSpPr>
            <p:grpSpPr>
              <a:xfrm>
                <a:off x="3184525" y="6869197"/>
                <a:ext cx="2774950" cy="60992"/>
                <a:chOff x="3184525" y="6869196"/>
                <a:chExt cx="2774950" cy="235791"/>
              </a:xfrm>
            </p:grpSpPr>
            <p:cxnSp>
              <p:nvCxnSpPr>
                <p:cNvPr id="110" name="Straight Connector 109">
                  <a:extLst>
                    <a:ext uri="{FF2B5EF4-FFF2-40B4-BE49-F238E27FC236}">
                      <a16:creationId xmlns:a16="http://schemas.microsoft.com/office/drawing/2014/main" id="{C0D7E8B1-DE64-BA4B-916D-7BA67CF2D79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3184525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1" name="Straight Connector 110">
                  <a:extLst>
                    <a:ext uri="{FF2B5EF4-FFF2-40B4-BE49-F238E27FC236}">
                      <a16:creationId xmlns:a16="http://schemas.microsoft.com/office/drawing/2014/main" id="{347BA98E-93B4-5545-9E4E-912B913A534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569513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" name="Straight Connector 111">
                  <a:extLst>
                    <a:ext uri="{FF2B5EF4-FFF2-40B4-BE49-F238E27FC236}">
                      <a16:creationId xmlns:a16="http://schemas.microsoft.com/office/drawing/2014/main" id="{E53E46C5-BA51-D94B-A108-538A6E5925D0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5959475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00" name="TextBox 99">
                <a:extLst>
                  <a:ext uri="{FF2B5EF4-FFF2-40B4-BE49-F238E27FC236}">
                    <a16:creationId xmlns:a16="http://schemas.microsoft.com/office/drawing/2014/main" id="{18481EF9-B9B8-5944-A70D-4FBD6F01668A}"/>
                  </a:ext>
                </a:extLst>
              </p:cNvPr>
              <p:cNvSpPr txBox="1"/>
              <p:nvPr userDrawn="1"/>
            </p:nvSpPr>
            <p:spPr>
              <a:xfrm>
                <a:off x="3121388" y="6954537"/>
                <a:ext cx="153888" cy="861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sz="5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1/3</a:t>
                </a:r>
                <a:r>
                  <a:rPr lang="en-US" sz="488" kern="1200" baseline="300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RD</a:t>
                </a:r>
              </a:p>
            </p:txBody>
          </p:sp>
          <p:sp>
            <p:nvSpPr>
              <p:cNvPr id="101" name="TextBox 100">
                <a:extLst>
                  <a:ext uri="{FF2B5EF4-FFF2-40B4-BE49-F238E27FC236}">
                    <a16:creationId xmlns:a16="http://schemas.microsoft.com/office/drawing/2014/main" id="{9B8FEDA2-CA5E-DB41-B9C8-5477A54FB095}"/>
                  </a:ext>
                </a:extLst>
              </p:cNvPr>
              <p:cNvSpPr txBox="1"/>
              <p:nvPr userDrawn="1"/>
            </p:nvSpPr>
            <p:spPr>
              <a:xfrm>
                <a:off x="4487590" y="6954537"/>
                <a:ext cx="171522" cy="861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sz="5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HALF</a:t>
                </a:r>
              </a:p>
            </p:txBody>
          </p:sp>
          <p:sp>
            <p:nvSpPr>
              <p:cNvPr id="104" name="TextBox 103">
                <a:extLst>
                  <a:ext uri="{FF2B5EF4-FFF2-40B4-BE49-F238E27FC236}">
                    <a16:creationId xmlns:a16="http://schemas.microsoft.com/office/drawing/2014/main" id="{95AD9D7F-B960-1248-B6F7-12B9FEDAAF39}"/>
                  </a:ext>
                </a:extLst>
              </p:cNvPr>
              <p:cNvSpPr txBox="1"/>
              <p:nvPr userDrawn="1"/>
            </p:nvSpPr>
            <p:spPr>
              <a:xfrm>
                <a:off x="5870162" y="6954537"/>
                <a:ext cx="181140" cy="861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sz="5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2/3</a:t>
                </a:r>
                <a:r>
                  <a:rPr lang="en-US" sz="488" baseline="300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RDS</a:t>
                </a:r>
              </a:p>
            </p:txBody>
          </p:sp>
          <p:grpSp>
            <p:nvGrpSpPr>
              <p:cNvPr id="106" name="Group 105">
                <a:extLst>
                  <a:ext uri="{FF2B5EF4-FFF2-40B4-BE49-F238E27FC236}">
                    <a16:creationId xmlns:a16="http://schemas.microsoft.com/office/drawing/2014/main" id="{F018DC65-22A5-C346-8BF0-7E16A1FC62E9}"/>
                  </a:ext>
                </a:extLst>
              </p:cNvPr>
              <p:cNvGrpSpPr/>
              <p:nvPr userDrawn="1"/>
            </p:nvGrpSpPr>
            <p:grpSpPr>
              <a:xfrm>
                <a:off x="3184525" y="7040714"/>
                <a:ext cx="2774950" cy="64273"/>
                <a:chOff x="3184525" y="6869196"/>
                <a:chExt cx="2774950" cy="235791"/>
              </a:xfrm>
            </p:grpSpPr>
            <p:cxnSp>
              <p:nvCxnSpPr>
                <p:cNvPr id="107" name="Straight Connector 106">
                  <a:extLst>
                    <a:ext uri="{FF2B5EF4-FFF2-40B4-BE49-F238E27FC236}">
                      <a16:creationId xmlns:a16="http://schemas.microsoft.com/office/drawing/2014/main" id="{E67C92E6-78A9-F947-92B0-F6468A7334E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3184525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8" name="Straight Connector 107">
                  <a:extLst>
                    <a:ext uri="{FF2B5EF4-FFF2-40B4-BE49-F238E27FC236}">
                      <a16:creationId xmlns:a16="http://schemas.microsoft.com/office/drawing/2014/main" id="{D27020A8-1DFE-AD41-98F4-8C87CFF0EEDB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569513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" name="Straight Connector 108">
                  <a:extLst>
                    <a:ext uri="{FF2B5EF4-FFF2-40B4-BE49-F238E27FC236}">
                      <a16:creationId xmlns:a16="http://schemas.microsoft.com/office/drawing/2014/main" id="{FADC7F65-2D38-BF45-951F-C8F488F9763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5959475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47" name="Picture Placeholder 10">
            <a:extLst>
              <a:ext uri="{FF2B5EF4-FFF2-40B4-BE49-F238E27FC236}">
                <a16:creationId xmlns:a16="http://schemas.microsoft.com/office/drawing/2014/main" id="{D9C96E41-86C9-6047-85B6-214B5F3F109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  <a:custGeom>
            <a:avLst/>
            <a:gdLst>
              <a:gd name="connsiteX0" fmla="*/ 8545321 w 9144000"/>
              <a:gd name="connsiteY0" fmla="*/ 6577275 h 6858000"/>
              <a:gd name="connsiteX1" fmla="*/ 8554631 w 9144000"/>
              <a:gd name="connsiteY1" fmla="*/ 6577275 h 6858000"/>
              <a:gd name="connsiteX2" fmla="*/ 8572756 w 9144000"/>
              <a:gd name="connsiteY2" fmla="*/ 6592564 h 6858000"/>
              <a:gd name="connsiteX3" fmla="*/ 8552841 w 9144000"/>
              <a:gd name="connsiteY3" fmla="*/ 6608587 h 6858000"/>
              <a:gd name="connsiteX4" fmla="*/ 8552841 w 9144000"/>
              <a:gd name="connsiteY4" fmla="*/ 6608474 h 6858000"/>
              <a:gd name="connsiteX5" fmla="*/ 8545321 w 9144000"/>
              <a:gd name="connsiteY5" fmla="*/ 6608474 h 6858000"/>
              <a:gd name="connsiteX6" fmla="*/ 8440532 w 9144000"/>
              <a:gd name="connsiteY6" fmla="*/ 6576165 h 6858000"/>
              <a:gd name="connsiteX7" fmla="*/ 8450870 w 9144000"/>
              <a:gd name="connsiteY7" fmla="*/ 6576165 h 6858000"/>
              <a:gd name="connsiteX8" fmla="*/ 8486566 w 9144000"/>
              <a:gd name="connsiteY8" fmla="*/ 6607214 h 6858000"/>
              <a:gd name="connsiteX9" fmla="*/ 8452487 w 9144000"/>
              <a:gd name="connsiteY9" fmla="*/ 6640295 h 6858000"/>
              <a:gd name="connsiteX10" fmla="*/ 8440532 w 9144000"/>
              <a:gd name="connsiteY10" fmla="*/ 6640295 h 6858000"/>
              <a:gd name="connsiteX11" fmla="*/ 8359313 w 9144000"/>
              <a:gd name="connsiteY11" fmla="*/ 6554745 h 6858000"/>
              <a:gd name="connsiteX12" fmla="*/ 8357847 w 9144000"/>
              <a:gd name="connsiteY12" fmla="*/ 6557848 h 6858000"/>
              <a:gd name="connsiteX13" fmla="*/ 8338066 w 9144000"/>
              <a:gd name="connsiteY13" fmla="*/ 6599654 h 6858000"/>
              <a:gd name="connsiteX14" fmla="*/ 8338066 w 9144000"/>
              <a:gd name="connsiteY14" fmla="*/ 6661565 h 6858000"/>
              <a:gd name="connsiteX15" fmla="*/ 8406529 w 9144000"/>
              <a:gd name="connsiteY15" fmla="*/ 6661565 h 6858000"/>
              <a:gd name="connsiteX16" fmla="*/ 8406529 w 9144000"/>
              <a:gd name="connsiteY16" fmla="*/ 6638978 h 6858000"/>
              <a:gd name="connsiteX17" fmla="*/ 8363159 w 9144000"/>
              <a:gd name="connsiteY17" fmla="*/ 6638978 h 6858000"/>
              <a:gd name="connsiteX18" fmla="*/ 8363159 w 9144000"/>
              <a:gd name="connsiteY18" fmla="*/ 6618141 h 6858000"/>
              <a:gd name="connsiteX19" fmla="*/ 8402683 w 9144000"/>
              <a:gd name="connsiteY19" fmla="*/ 6618141 h 6858000"/>
              <a:gd name="connsiteX20" fmla="*/ 8402683 w 9144000"/>
              <a:gd name="connsiteY20" fmla="*/ 6596570 h 6858000"/>
              <a:gd name="connsiteX21" fmla="*/ 8363159 w 9144000"/>
              <a:gd name="connsiteY21" fmla="*/ 6596570 h 6858000"/>
              <a:gd name="connsiteX22" fmla="*/ 8363159 w 9144000"/>
              <a:gd name="connsiteY22" fmla="*/ 6577482 h 6858000"/>
              <a:gd name="connsiteX23" fmla="*/ 8406529 w 9144000"/>
              <a:gd name="connsiteY23" fmla="*/ 6577482 h 6858000"/>
              <a:gd name="connsiteX24" fmla="*/ 8406529 w 9144000"/>
              <a:gd name="connsiteY24" fmla="*/ 6554745 h 6858000"/>
              <a:gd name="connsiteX25" fmla="*/ 8245576 w 9144000"/>
              <a:gd name="connsiteY25" fmla="*/ 6554726 h 6858000"/>
              <a:gd name="connsiteX26" fmla="*/ 8262083 w 9144000"/>
              <a:gd name="connsiteY26" fmla="*/ 6589123 h 6858000"/>
              <a:gd name="connsiteX27" fmla="*/ 8288527 w 9144000"/>
              <a:gd name="connsiteY27" fmla="*/ 6589123 h 6858000"/>
              <a:gd name="connsiteX28" fmla="*/ 8273963 w 9144000"/>
              <a:gd name="connsiteY28" fmla="*/ 6554726 h 6858000"/>
              <a:gd name="connsiteX29" fmla="*/ 8520246 w 9144000"/>
              <a:gd name="connsiteY29" fmla="*/ 6554707 h 6858000"/>
              <a:gd name="connsiteX30" fmla="*/ 8520246 w 9144000"/>
              <a:gd name="connsiteY30" fmla="*/ 6661564 h 6858000"/>
              <a:gd name="connsiteX31" fmla="*/ 8545321 w 9144000"/>
              <a:gd name="connsiteY31" fmla="*/ 6661564 h 6858000"/>
              <a:gd name="connsiteX32" fmla="*/ 8545321 w 9144000"/>
              <a:gd name="connsiteY32" fmla="*/ 6629932 h 6858000"/>
              <a:gd name="connsiteX33" fmla="*/ 8554631 w 9144000"/>
              <a:gd name="connsiteY33" fmla="*/ 6629932 h 6858000"/>
              <a:gd name="connsiteX34" fmla="*/ 8598420 w 9144000"/>
              <a:gd name="connsiteY34" fmla="*/ 6592019 h 6858000"/>
              <a:gd name="connsiteX35" fmla="*/ 8550347 w 9144000"/>
              <a:gd name="connsiteY35" fmla="*/ 6554707 h 6858000"/>
              <a:gd name="connsiteX36" fmla="*/ 8415496 w 9144000"/>
              <a:gd name="connsiteY36" fmla="*/ 6554707 h 6858000"/>
              <a:gd name="connsiteX37" fmla="*/ 8415496 w 9144000"/>
              <a:gd name="connsiteY37" fmla="*/ 6661470 h 6858000"/>
              <a:gd name="connsiteX38" fmla="*/ 8448547 w 9144000"/>
              <a:gd name="connsiteY38" fmla="*/ 6661583 h 6858000"/>
              <a:gd name="connsiteX39" fmla="*/ 8513278 w 9144000"/>
              <a:gd name="connsiteY39" fmla="*/ 6607214 h 6858000"/>
              <a:gd name="connsiteX40" fmla="*/ 8447462 w 9144000"/>
              <a:gd name="connsiteY40" fmla="*/ 6554745 h 6858000"/>
              <a:gd name="connsiteX41" fmla="*/ 8447500 w 9144000"/>
              <a:gd name="connsiteY41" fmla="*/ 6554707 h 6858000"/>
              <a:gd name="connsiteX42" fmla="*/ 8415496 w 9144000"/>
              <a:gd name="connsiteY42" fmla="*/ 6554707 h 6858000"/>
              <a:gd name="connsiteX43" fmla="*/ 8323901 w 9144000"/>
              <a:gd name="connsiteY43" fmla="*/ 6554707 h 6858000"/>
              <a:gd name="connsiteX44" fmla="*/ 8298694 w 9144000"/>
              <a:gd name="connsiteY44" fmla="*/ 6612649 h 6858000"/>
              <a:gd name="connsiteX45" fmla="*/ 8291859 w 9144000"/>
              <a:gd name="connsiteY45" fmla="*/ 6596645 h 6858000"/>
              <a:gd name="connsiteX46" fmla="*/ 8265624 w 9144000"/>
              <a:gd name="connsiteY46" fmla="*/ 6596645 h 6858000"/>
              <a:gd name="connsiteX47" fmla="*/ 8296943 w 9144000"/>
              <a:gd name="connsiteY47" fmla="*/ 6661978 h 6858000"/>
              <a:gd name="connsiteX48" fmla="*/ 8299856 w 9144000"/>
              <a:gd name="connsiteY48" fmla="*/ 6661978 h 6858000"/>
              <a:gd name="connsiteX49" fmla="*/ 8350594 w 9144000"/>
              <a:gd name="connsiteY49" fmla="*/ 6554707 h 6858000"/>
              <a:gd name="connsiteX50" fmla="*/ 8704282 w 9144000"/>
              <a:gd name="connsiteY50" fmla="*/ 6516148 h 6858000"/>
              <a:gd name="connsiteX51" fmla="*/ 8704282 w 9144000"/>
              <a:gd name="connsiteY51" fmla="*/ 6690773 h 6858000"/>
              <a:gd name="connsiteX52" fmla="*/ 8723671 w 9144000"/>
              <a:gd name="connsiteY52" fmla="*/ 6690773 h 6858000"/>
              <a:gd name="connsiteX53" fmla="*/ 8723671 w 9144000"/>
              <a:gd name="connsiteY53" fmla="*/ 6516148 h 6858000"/>
              <a:gd name="connsiteX54" fmla="*/ 0 w 9144000"/>
              <a:gd name="connsiteY54" fmla="*/ 0 h 6858000"/>
              <a:gd name="connsiteX55" fmla="*/ 9144000 w 9144000"/>
              <a:gd name="connsiteY55" fmla="*/ 0 h 6858000"/>
              <a:gd name="connsiteX56" fmla="*/ 9144000 w 9144000"/>
              <a:gd name="connsiteY56" fmla="*/ 6858000 h 6858000"/>
              <a:gd name="connsiteX57" fmla="*/ 0 w 9144000"/>
              <a:gd name="connsiteY5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9144000" h="6858000">
                <a:moveTo>
                  <a:pt x="8545321" y="6577275"/>
                </a:moveTo>
                <a:lnTo>
                  <a:pt x="8554631" y="6577275"/>
                </a:lnTo>
                <a:cubicBezTo>
                  <a:pt x="8567006" y="6577275"/>
                  <a:pt x="8572756" y="6583970"/>
                  <a:pt x="8572756" y="6592564"/>
                </a:cubicBezTo>
                <a:cubicBezTo>
                  <a:pt x="8572756" y="6602908"/>
                  <a:pt x="8566130" y="6608587"/>
                  <a:pt x="8552841" y="6608587"/>
                </a:cubicBezTo>
                <a:lnTo>
                  <a:pt x="8552841" y="6608474"/>
                </a:lnTo>
                <a:lnTo>
                  <a:pt x="8545321" y="6608474"/>
                </a:lnTo>
                <a:close/>
                <a:moveTo>
                  <a:pt x="8440532" y="6576165"/>
                </a:moveTo>
                <a:lnTo>
                  <a:pt x="8450870" y="6576165"/>
                </a:lnTo>
                <a:cubicBezTo>
                  <a:pt x="8474172" y="6576165"/>
                  <a:pt x="8486566" y="6587825"/>
                  <a:pt x="8486566" y="6607214"/>
                </a:cubicBezTo>
                <a:cubicBezTo>
                  <a:pt x="8486566" y="6627187"/>
                  <a:pt x="8476095" y="6640295"/>
                  <a:pt x="8452487" y="6640295"/>
                </a:cubicBezTo>
                <a:lnTo>
                  <a:pt x="8440532" y="6640295"/>
                </a:lnTo>
                <a:close/>
                <a:moveTo>
                  <a:pt x="8359313" y="6554745"/>
                </a:moveTo>
                <a:lnTo>
                  <a:pt x="8357847" y="6557848"/>
                </a:lnTo>
                <a:lnTo>
                  <a:pt x="8338066" y="6599654"/>
                </a:lnTo>
                <a:lnTo>
                  <a:pt x="8338066" y="6661565"/>
                </a:lnTo>
                <a:lnTo>
                  <a:pt x="8406529" y="6661565"/>
                </a:lnTo>
                <a:lnTo>
                  <a:pt x="8406529" y="6638978"/>
                </a:lnTo>
                <a:lnTo>
                  <a:pt x="8363159" y="6638978"/>
                </a:lnTo>
                <a:lnTo>
                  <a:pt x="8363159" y="6618141"/>
                </a:lnTo>
                <a:lnTo>
                  <a:pt x="8402683" y="6618141"/>
                </a:lnTo>
                <a:lnTo>
                  <a:pt x="8402683" y="6596570"/>
                </a:lnTo>
                <a:lnTo>
                  <a:pt x="8363159" y="6596570"/>
                </a:lnTo>
                <a:lnTo>
                  <a:pt x="8363159" y="6577482"/>
                </a:lnTo>
                <a:lnTo>
                  <a:pt x="8406529" y="6577482"/>
                </a:lnTo>
                <a:lnTo>
                  <a:pt x="8406529" y="6554745"/>
                </a:lnTo>
                <a:close/>
                <a:moveTo>
                  <a:pt x="8245576" y="6554726"/>
                </a:moveTo>
                <a:lnTo>
                  <a:pt x="8262083" y="6589123"/>
                </a:lnTo>
                <a:lnTo>
                  <a:pt x="8288527" y="6589123"/>
                </a:lnTo>
                <a:lnTo>
                  <a:pt x="8273963" y="6554726"/>
                </a:lnTo>
                <a:close/>
                <a:moveTo>
                  <a:pt x="8520246" y="6554707"/>
                </a:moveTo>
                <a:lnTo>
                  <a:pt x="8520246" y="6661564"/>
                </a:lnTo>
                <a:lnTo>
                  <a:pt x="8545321" y="6661564"/>
                </a:lnTo>
                <a:lnTo>
                  <a:pt x="8545321" y="6629932"/>
                </a:lnTo>
                <a:lnTo>
                  <a:pt x="8554631" y="6629932"/>
                </a:lnTo>
                <a:cubicBezTo>
                  <a:pt x="8583189" y="6629932"/>
                  <a:pt x="8598420" y="6614041"/>
                  <a:pt x="8598420" y="6592019"/>
                </a:cubicBezTo>
                <a:cubicBezTo>
                  <a:pt x="8598439" y="6570486"/>
                  <a:pt x="8581628" y="6554707"/>
                  <a:pt x="8550347" y="6554707"/>
                </a:cubicBezTo>
                <a:close/>
                <a:moveTo>
                  <a:pt x="8415496" y="6554707"/>
                </a:moveTo>
                <a:lnTo>
                  <a:pt x="8415496" y="6661470"/>
                </a:lnTo>
                <a:cubicBezTo>
                  <a:pt x="8415496" y="6661470"/>
                  <a:pt x="8435867" y="6661583"/>
                  <a:pt x="8448547" y="6661583"/>
                </a:cubicBezTo>
                <a:cubicBezTo>
                  <a:pt x="8493382" y="6661583"/>
                  <a:pt x="8513278" y="6638696"/>
                  <a:pt x="8513278" y="6607214"/>
                </a:cubicBezTo>
                <a:cubicBezTo>
                  <a:pt x="8513278" y="6577124"/>
                  <a:pt x="8492335" y="6554745"/>
                  <a:pt x="8447462" y="6554745"/>
                </a:cubicBezTo>
                <a:lnTo>
                  <a:pt x="8447500" y="6554707"/>
                </a:lnTo>
                <a:cubicBezTo>
                  <a:pt x="8436743" y="6554707"/>
                  <a:pt x="8415496" y="6554707"/>
                  <a:pt x="8415496" y="6554707"/>
                </a:cubicBezTo>
                <a:close/>
                <a:moveTo>
                  <a:pt x="8323901" y="6554707"/>
                </a:moveTo>
                <a:lnTo>
                  <a:pt x="8298694" y="6612649"/>
                </a:lnTo>
                <a:lnTo>
                  <a:pt x="8291859" y="6596645"/>
                </a:lnTo>
                <a:lnTo>
                  <a:pt x="8265624" y="6596645"/>
                </a:lnTo>
                <a:lnTo>
                  <a:pt x="8296943" y="6661978"/>
                </a:lnTo>
                <a:lnTo>
                  <a:pt x="8299856" y="6661978"/>
                </a:lnTo>
                <a:lnTo>
                  <a:pt x="8350594" y="6554707"/>
                </a:lnTo>
                <a:close/>
                <a:moveTo>
                  <a:pt x="8704282" y="6516148"/>
                </a:moveTo>
                <a:lnTo>
                  <a:pt x="8704282" y="6690773"/>
                </a:lnTo>
                <a:lnTo>
                  <a:pt x="8723671" y="6690773"/>
                </a:lnTo>
                <a:lnTo>
                  <a:pt x="8723671" y="6516148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rIns="432000" anchor="ctr">
            <a:noAutofit/>
          </a:bodyPr>
          <a:lstStyle>
            <a:lvl1pPr algn="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Drag image onto slide to add photo</a:t>
            </a:r>
          </a:p>
        </p:txBody>
      </p:sp>
      <p:sp>
        <p:nvSpPr>
          <p:cNvPr id="200" name="First Content Placeholder">
            <a:extLst>
              <a:ext uri="{FF2B5EF4-FFF2-40B4-BE49-F238E27FC236}">
                <a16:creationId xmlns:a16="http://schemas.microsoft.com/office/drawing/2014/main" id="{DC9253A4-356A-9740-9187-428DE58AB885}"/>
              </a:ext>
            </a:extLst>
          </p:cNvPr>
          <p:cNvSpPr>
            <a:spLocks noGrp="1"/>
          </p:cNvSpPr>
          <p:nvPr>
            <p:ph type="body" sz="quarter" idx="200"/>
          </p:nvPr>
        </p:nvSpPr>
        <p:spPr>
          <a:xfrm>
            <a:off x="0" y="0"/>
            <a:ext cx="4572000" cy="5143500"/>
          </a:xfrm>
          <a:gradFill>
            <a:gsLst>
              <a:gs pos="13000">
                <a:schemeClr val="accent1"/>
              </a:gs>
              <a:gs pos="97000">
                <a:schemeClr val="accent1">
                  <a:alpha val="80000"/>
                </a:schemeClr>
              </a:gs>
            </a:gsLst>
            <a:lin ang="5400000" scaled="0"/>
          </a:gradFill>
        </p:spPr>
        <p:txBody>
          <a:bodyPr lIns="432000" rIns="360000" bIns="360000" anchor="ctr"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1350"/>
              </a:spcBef>
              <a:spcAft>
                <a:spcPts val="225"/>
              </a:spcAft>
              <a:buClrTx/>
              <a:buSzTx/>
              <a:buFont typeface="Wingdings" pitchFamily="2" charset="2"/>
              <a:buNone/>
              <a:tabLst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1518A119-6232-A242-B4A2-83D06D216BA9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800" y="4650581"/>
            <a:ext cx="3700586" cy="379131"/>
          </a:xfrm>
        </p:spPr>
        <p:txBody>
          <a:bodyPr bIns="0" anchor="b"/>
          <a:lstStyle>
            <a:lvl1pPr marL="4763" indent="-1191">
              <a:spcBef>
                <a:spcPts val="56"/>
              </a:spcBef>
              <a:spcAft>
                <a:spcPts val="56"/>
              </a:spcAft>
              <a:buSzPct val="100000"/>
              <a:buFontTx/>
              <a:buNone/>
              <a:tabLst/>
              <a:defRPr sz="825" b="0">
                <a:solidFill>
                  <a:schemeClr val="bg1"/>
                </a:solidFill>
              </a:defRPr>
            </a:lvl1pPr>
            <a:lvl2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¹"/>
              <a:tabLst/>
              <a:defRPr sz="825" b="0" i="0">
                <a:solidFill>
                  <a:schemeClr val="bg1"/>
                </a:solidFill>
              </a:defRPr>
            </a:lvl2pPr>
            <a:lvl3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²"/>
              <a:tabLst/>
              <a:defRPr sz="825">
                <a:solidFill>
                  <a:schemeClr val="bg1"/>
                </a:solidFill>
              </a:defRPr>
            </a:lvl3pPr>
            <a:lvl4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³"/>
              <a:tabLst/>
              <a:defRPr sz="825">
                <a:solidFill>
                  <a:schemeClr val="bg1"/>
                </a:solidFill>
              </a:defRPr>
            </a:lvl4pPr>
            <a:lvl5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⁴"/>
              <a:tabLst/>
              <a:defRPr sz="825">
                <a:solidFill>
                  <a:schemeClr val="bg1"/>
                </a:solidFill>
              </a:defRPr>
            </a:lvl5pPr>
            <a:lvl6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⁵"/>
              <a:tabLst/>
              <a:defRPr sz="825">
                <a:solidFill>
                  <a:schemeClr val="bg1"/>
                </a:solidFill>
              </a:defRPr>
            </a:lvl6pPr>
            <a:lvl7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⁶"/>
              <a:tabLst/>
              <a:defRPr sz="825">
                <a:solidFill>
                  <a:schemeClr val="bg1"/>
                </a:solidFill>
              </a:defRPr>
            </a:lvl7pPr>
            <a:lvl8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⁷"/>
              <a:tabLst/>
              <a:defRPr sz="825">
                <a:solidFill>
                  <a:schemeClr val="bg1"/>
                </a:solidFill>
              </a:defRPr>
            </a:lvl8pPr>
            <a:lvl9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⁸"/>
              <a:tabLst/>
              <a:defRPr sz="825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/>
              <a:t>Footnotes – Levels 2-9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FE84BD5-7F9D-AE47-BCAB-D3922B3DA1BC}"/>
              </a:ext>
            </a:extLst>
          </p:cNvPr>
          <p:cNvSpPr>
            <a:spLocks noGrp="1"/>
          </p:cNvSpPr>
          <p:nvPr>
            <p:ph type="dt" sz="half" idx="1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3FF406A-59D4-BB4E-A45D-EEB4EEBCE329}"/>
              </a:ext>
            </a:extLst>
          </p:cNvPr>
          <p:cNvSpPr>
            <a:spLocks noGrp="1"/>
          </p:cNvSpPr>
          <p:nvPr>
            <p:ph type="ftr" sz="quarter" idx="1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9E870A-0204-114F-9189-EE4D27C77AFE}"/>
              </a:ext>
            </a:extLst>
          </p:cNvPr>
          <p:cNvSpPr>
            <a:spLocks noGrp="1"/>
          </p:cNvSpPr>
          <p:nvPr>
            <p:ph type="sldNum" sz="quarter" idx="112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9525"/>
            <a:fld id="{078C017C-E1B9-8443-B047-B08AAA027B45}" type="slidenum">
              <a:rPr lang="en-US" smtClean="0"/>
              <a:pPr marL="9525"/>
              <a:t>‹#›</a:t>
            </a:fld>
            <a:endParaRPr lang="en-US"/>
          </a:p>
        </p:txBody>
      </p:sp>
      <p:sp>
        <p:nvSpPr>
          <p:cNvPr id="500" name="Caption">
            <a:extLst>
              <a:ext uri="{FF2B5EF4-FFF2-40B4-BE49-F238E27FC236}">
                <a16:creationId xmlns:a16="http://schemas.microsoft.com/office/drawing/2014/main" id="{3907BEE1-E170-4B45-8716-60BA2FC22521}"/>
              </a:ext>
            </a:extLst>
          </p:cNvPr>
          <p:cNvSpPr>
            <a:spLocks noGrp="1"/>
          </p:cNvSpPr>
          <p:nvPr>
            <p:ph type="body" sz="quarter" idx="500" hasCustomPrompt="1"/>
          </p:nvPr>
        </p:nvSpPr>
        <p:spPr>
          <a:xfrm>
            <a:off x="5960285" y="4650582"/>
            <a:ext cx="2742875" cy="114262"/>
          </a:xfrm>
          <a:effectLst/>
        </p:spPr>
        <p:txBody>
          <a:bodyPr wrap="square" anchor="b">
            <a:sp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 b="0">
                <a:solidFill>
                  <a:schemeClr val="bg1"/>
                </a:solidFill>
                <a:effectLst/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photo caption</a:t>
            </a:r>
          </a:p>
        </p:txBody>
      </p: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2368DF05-568B-8542-8C72-DF1F57E7755B}"/>
              </a:ext>
            </a:extLst>
          </p:cNvPr>
          <p:cNvGrpSpPr/>
          <p:nvPr userDrawn="1"/>
        </p:nvGrpSpPr>
        <p:grpSpPr>
          <a:xfrm>
            <a:off x="9399183" y="-1"/>
            <a:ext cx="2961715" cy="8390504"/>
            <a:chOff x="9399182" y="-2"/>
            <a:chExt cx="2961715" cy="11187339"/>
          </a:xfrm>
        </p:grpSpPr>
        <p:sp>
          <p:nvSpPr>
            <p:cNvPr id="145" name="Rectangle 144">
              <a:extLst>
                <a:ext uri="{FF2B5EF4-FFF2-40B4-BE49-F238E27FC236}">
                  <a16:creationId xmlns:a16="http://schemas.microsoft.com/office/drawing/2014/main" id="{46F9184D-8E86-4D45-B84F-2FFA5448B70D}"/>
                </a:ext>
              </a:extLst>
            </p:cNvPr>
            <p:cNvSpPr/>
            <p:nvPr userDrawn="1"/>
          </p:nvSpPr>
          <p:spPr>
            <a:xfrm>
              <a:off x="9399182" y="-2"/>
              <a:ext cx="2798651" cy="1101500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050"/>
            </a:p>
          </p:txBody>
        </p:sp>
        <p:pic>
          <p:nvPicPr>
            <p:cNvPr id="146" name="Picture 145">
              <a:extLst>
                <a:ext uri="{FF2B5EF4-FFF2-40B4-BE49-F238E27FC236}">
                  <a16:creationId xmlns:a16="http://schemas.microsoft.com/office/drawing/2014/main" id="{C603612C-55C8-C541-8D50-2F8B676C0A9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t="17021" r="58309" b="16813"/>
            <a:stretch/>
          </p:blipFill>
          <p:spPr>
            <a:xfrm>
              <a:off x="9558505" y="1321569"/>
              <a:ext cx="2639327" cy="1095417"/>
            </a:xfrm>
            <a:prstGeom prst="rect">
              <a:avLst/>
            </a:prstGeom>
          </p:spPr>
        </p:pic>
        <p:sp>
          <p:nvSpPr>
            <p:cNvPr id="147" name="Rectangle 146">
              <a:extLst>
                <a:ext uri="{FF2B5EF4-FFF2-40B4-BE49-F238E27FC236}">
                  <a16:creationId xmlns:a16="http://schemas.microsoft.com/office/drawing/2014/main" id="{9A91BC00-A745-1C44-8C0F-2E56EB93F065}"/>
                </a:ext>
              </a:extLst>
            </p:cNvPr>
            <p:cNvSpPr/>
            <p:nvPr userDrawn="1"/>
          </p:nvSpPr>
          <p:spPr>
            <a:xfrm>
              <a:off x="9541497" y="162442"/>
              <a:ext cx="2819400" cy="814510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/>
            </a:p>
          </p:txBody>
        </p:sp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9382585A-4F78-B447-8773-3700C9C77510}"/>
                </a:ext>
              </a:extLst>
            </p:cNvPr>
            <p:cNvSpPr txBox="1"/>
            <p:nvPr userDrawn="1"/>
          </p:nvSpPr>
          <p:spPr>
            <a:xfrm>
              <a:off x="10147060" y="306441"/>
              <a:ext cx="2129588" cy="50783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algn="l"/>
              <a:r>
                <a:rPr lang="en-US" sz="8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Access programmed text formats by using the ‘Indent More’ button to change the indent level.</a:t>
              </a:r>
            </a:p>
          </p:txBody>
        </p:sp>
        <p:pic>
          <p:nvPicPr>
            <p:cNvPr id="149" name="Picture 148">
              <a:extLst>
                <a:ext uri="{FF2B5EF4-FFF2-40B4-BE49-F238E27FC236}">
                  <a16:creationId xmlns:a16="http://schemas.microsoft.com/office/drawing/2014/main" id="{FA314583-5943-5747-A179-6750C843A6D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8882" t="5165" r="-1"/>
            <a:stretch/>
          </p:blipFill>
          <p:spPr>
            <a:xfrm>
              <a:off x="9694938" y="411250"/>
              <a:ext cx="324017" cy="289055"/>
            </a:xfrm>
            <a:prstGeom prst="roundRect">
              <a:avLst/>
            </a:prstGeom>
          </p:spPr>
        </p:pic>
        <p:sp>
          <p:nvSpPr>
            <p:cNvPr id="150" name="TextBox 149">
              <a:extLst>
                <a:ext uri="{FF2B5EF4-FFF2-40B4-BE49-F238E27FC236}">
                  <a16:creationId xmlns:a16="http://schemas.microsoft.com/office/drawing/2014/main" id="{667736F2-0684-7049-915D-E1AE4FEF1C1F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1670329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sz="825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151" name="Straight Connector 150">
              <a:extLst>
                <a:ext uri="{FF2B5EF4-FFF2-40B4-BE49-F238E27FC236}">
                  <a16:creationId xmlns:a16="http://schemas.microsoft.com/office/drawing/2014/main" id="{8B02C5E0-ADB8-2F46-8348-B72DA9D08CF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52" name="Group 151">
              <a:extLst>
                <a:ext uri="{FF2B5EF4-FFF2-40B4-BE49-F238E27FC236}">
                  <a16:creationId xmlns:a16="http://schemas.microsoft.com/office/drawing/2014/main" id="{CDE6DBBA-CE9A-2042-B7D5-0165AD2334E5}"/>
                </a:ext>
              </a:extLst>
            </p:cNvPr>
            <p:cNvGrpSpPr/>
            <p:nvPr userDrawn="1"/>
          </p:nvGrpSpPr>
          <p:grpSpPr>
            <a:xfrm>
              <a:off x="9521833" y="3751281"/>
              <a:ext cx="2754815" cy="7436056"/>
              <a:chOff x="9521833" y="2531409"/>
              <a:chExt cx="2754815" cy="7436056"/>
            </a:xfrm>
          </p:grpSpPr>
          <p:sp>
            <p:nvSpPr>
              <p:cNvPr id="161" name="TextBox 160">
                <a:extLst>
                  <a:ext uri="{FF2B5EF4-FFF2-40B4-BE49-F238E27FC236}">
                    <a16:creationId xmlns:a16="http://schemas.microsoft.com/office/drawing/2014/main" id="{A854AB62-018A-CB4B-8521-979E582C96DE}"/>
                  </a:ext>
                </a:extLst>
              </p:cNvPr>
              <p:cNvSpPr txBox="1"/>
              <p:nvPr userDrawn="1"/>
            </p:nvSpPr>
            <p:spPr>
              <a:xfrm>
                <a:off x="9558507" y="3953640"/>
                <a:ext cx="1231106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sz="825">
                    <a:solidFill>
                      <a:schemeClr val="bg1"/>
                    </a:solidFill>
                  </a:rPr>
                  <a:t>HOW TO ADD AN IMAGE</a:t>
                </a:r>
              </a:p>
            </p:txBody>
          </p:sp>
          <p:cxnSp>
            <p:nvCxnSpPr>
              <p:cNvPr id="162" name="Straight Connector 161">
                <a:extLst>
                  <a:ext uri="{FF2B5EF4-FFF2-40B4-BE49-F238E27FC236}">
                    <a16:creationId xmlns:a16="http://schemas.microsoft.com/office/drawing/2014/main" id="{511FF7D6-EE76-9E48-B953-E8C488A6DC3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558507" y="4156257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3" name="TextBox 162">
                <a:extLst>
                  <a:ext uri="{FF2B5EF4-FFF2-40B4-BE49-F238E27FC236}">
                    <a16:creationId xmlns:a16="http://schemas.microsoft.com/office/drawing/2014/main" id="{5EE5D691-B3DD-7940-A2EE-4F1242AE5D3A}"/>
                  </a:ext>
                </a:extLst>
              </p:cNvPr>
              <p:cNvSpPr txBox="1"/>
              <p:nvPr userDrawn="1"/>
            </p:nvSpPr>
            <p:spPr>
              <a:xfrm>
                <a:off x="9686426" y="5014568"/>
                <a:ext cx="2297338" cy="28913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 b="1"/>
                  <a:t>Method 1: </a:t>
                </a:r>
                <a:r>
                  <a:rPr lang="en-US" sz="450" b="0"/>
                  <a:t>from file browser</a:t>
                </a:r>
              </a:p>
              <a:p>
                <a:pPr lvl="1">
                  <a:buNone/>
                </a:pPr>
                <a:r>
                  <a:rPr lang="en-US" sz="788"/>
                  <a:t>Drag the image onto the slide.</a:t>
                </a:r>
              </a:p>
            </p:txBody>
          </p:sp>
          <p:sp>
            <p:nvSpPr>
              <p:cNvPr id="164" name="Rectangle 163">
                <a:extLst>
                  <a:ext uri="{FF2B5EF4-FFF2-40B4-BE49-F238E27FC236}">
                    <a16:creationId xmlns:a16="http://schemas.microsoft.com/office/drawing/2014/main" id="{DA9D6203-1E48-DF4B-BDC3-B397A843D5F5}"/>
                  </a:ext>
                </a:extLst>
              </p:cNvPr>
              <p:cNvSpPr/>
              <p:nvPr userDrawn="1"/>
            </p:nvSpPr>
            <p:spPr>
              <a:xfrm>
                <a:off x="9541497" y="8556150"/>
                <a:ext cx="2735151" cy="1411315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165" name="TextBox 164">
                <a:extLst>
                  <a:ext uri="{FF2B5EF4-FFF2-40B4-BE49-F238E27FC236}">
                    <a16:creationId xmlns:a16="http://schemas.microsoft.com/office/drawing/2014/main" id="{C3359E59-5350-D34B-A3EA-40E99A3FD6B7}"/>
                  </a:ext>
                </a:extLst>
              </p:cNvPr>
              <p:cNvSpPr txBox="1"/>
              <p:nvPr userDrawn="1"/>
            </p:nvSpPr>
            <p:spPr>
              <a:xfrm>
                <a:off x="9907688" y="8684950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Change Image</a:t>
                </a:r>
              </a:p>
            </p:txBody>
          </p:sp>
          <p:pic>
            <p:nvPicPr>
              <p:cNvPr id="166" name="Graphic 165">
                <a:extLst>
                  <a:ext uri="{FF2B5EF4-FFF2-40B4-BE49-F238E27FC236}">
                    <a16:creationId xmlns:a16="http://schemas.microsoft.com/office/drawing/2014/main" id="{050619D2-D343-C74D-A7AE-31444836923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9701720" y="8695233"/>
                <a:ext cx="155227" cy="155227"/>
              </a:xfrm>
              <a:prstGeom prst="rect">
                <a:avLst/>
              </a:prstGeom>
            </p:spPr>
          </p:pic>
          <p:sp>
            <p:nvSpPr>
              <p:cNvPr id="167" name="TextBox 166">
                <a:extLst>
                  <a:ext uri="{FF2B5EF4-FFF2-40B4-BE49-F238E27FC236}">
                    <a16:creationId xmlns:a16="http://schemas.microsoft.com/office/drawing/2014/main" id="{00C56975-AB4A-2543-A94B-0493E8E4AF6F}"/>
                  </a:ext>
                </a:extLst>
              </p:cNvPr>
              <p:cNvSpPr txBox="1"/>
              <p:nvPr userDrawn="1"/>
            </p:nvSpPr>
            <p:spPr>
              <a:xfrm>
                <a:off x="9716735" y="9264933"/>
                <a:ext cx="2413353" cy="373948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101204" lvl="1" indent="-98822" algn="l" defTabSz="685800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225"/>
                  </a:spcAft>
                  <a:buFont typeface="Wingdings" pitchFamily="2" charset="2"/>
                  <a:buChar char="§"/>
                  <a:tabLst/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Deleting the image may bring the image placeholder to the top layer. Right-click on the placeholder and choose “Send to Back”.</a:t>
                </a:r>
              </a:p>
            </p:txBody>
          </p:sp>
          <p:sp>
            <p:nvSpPr>
              <p:cNvPr id="168" name="TextBox 167">
                <a:extLst>
                  <a:ext uri="{FF2B5EF4-FFF2-40B4-BE49-F238E27FC236}">
                    <a16:creationId xmlns:a16="http://schemas.microsoft.com/office/drawing/2014/main" id="{D124988A-7981-B841-BB41-B682BE6C4461}"/>
                  </a:ext>
                </a:extLst>
              </p:cNvPr>
              <p:cNvSpPr txBox="1"/>
              <p:nvPr userDrawn="1"/>
            </p:nvSpPr>
            <p:spPr>
              <a:xfrm>
                <a:off x="9716735" y="8946089"/>
                <a:ext cx="2422981" cy="2769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685800" rtl="0" eaLnBrk="1" latinLnBrk="0" hangingPunct="1">
                  <a:spcBef>
                    <a:spcPts val="150"/>
                  </a:spcBef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First, delete the existing image to reset the photo placeholder functionality.</a:t>
                </a:r>
              </a:p>
            </p:txBody>
          </p:sp>
          <p:sp>
            <p:nvSpPr>
              <p:cNvPr id="169" name="TextBox 168">
                <a:extLst>
                  <a:ext uri="{FF2B5EF4-FFF2-40B4-BE49-F238E27FC236}">
                    <a16:creationId xmlns:a16="http://schemas.microsoft.com/office/drawing/2014/main" id="{556222D6-2C29-844E-BCEB-F80A3A82B3EB}"/>
                  </a:ext>
                </a:extLst>
              </p:cNvPr>
              <p:cNvSpPr txBox="1"/>
              <p:nvPr userDrawn="1"/>
            </p:nvSpPr>
            <p:spPr>
              <a:xfrm>
                <a:off x="9716735" y="9714610"/>
                <a:ext cx="2422981" cy="13850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685800" rtl="0" eaLnBrk="1" latinLnBrk="0" hangingPunct="1">
                  <a:spcBef>
                    <a:spcPts val="150"/>
                  </a:spcBef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You can now add a new image as normal.</a:t>
                </a:r>
              </a:p>
            </p:txBody>
          </p:sp>
          <p:sp>
            <p:nvSpPr>
              <p:cNvPr id="170" name="Rectangle 169">
                <a:extLst>
                  <a:ext uri="{FF2B5EF4-FFF2-40B4-BE49-F238E27FC236}">
                    <a16:creationId xmlns:a16="http://schemas.microsoft.com/office/drawing/2014/main" id="{A64B4767-3CEA-BC46-97EA-2C980219C696}"/>
                  </a:ext>
                </a:extLst>
              </p:cNvPr>
              <p:cNvSpPr/>
              <p:nvPr userDrawn="1"/>
            </p:nvSpPr>
            <p:spPr>
              <a:xfrm>
                <a:off x="9541497" y="7199494"/>
                <a:ext cx="2735151" cy="1280928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171" name="TextBox 170">
                <a:extLst>
                  <a:ext uri="{FF2B5EF4-FFF2-40B4-BE49-F238E27FC236}">
                    <a16:creationId xmlns:a16="http://schemas.microsoft.com/office/drawing/2014/main" id="{2D773D81-6CE7-9842-A402-24F9E5DA7A41}"/>
                  </a:ext>
                </a:extLst>
              </p:cNvPr>
              <p:cNvSpPr txBox="1"/>
              <p:nvPr userDrawn="1"/>
            </p:nvSpPr>
            <p:spPr>
              <a:xfrm>
                <a:off x="9907688" y="7328293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Crop Image</a:t>
                </a:r>
              </a:p>
            </p:txBody>
          </p:sp>
          <p:pic>
            <p:nvPicPr>
              <p:cNvPr id="172" name="Graphic 171">
                <a:extLst>
                  <a:ext uri="{FF2B5EF4-FFF2-40B4-BE49-F238E27FC236}">
                    <a16:creationId xmlns:a16="http://schemas.microsoft.com/office/drawing/2014/main" id="{36B14339-67DD-8D4B-B01C-96674861DC3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9701720" y="7338576"/>
                <a:ext cx="155227" cy="155227"/>
              </a:xfrm>
              <a:prstGeom prst="rect">
                <a:avLst/>
              </a:prstGeom>
            </p:spPr>
          </p:pic>
          <p:sp>
            <p:nvSpPr>
              <p:cNvPr id="173" name="TextBox 172">
                <a:extLst>
                  <a:ext uri="{FF2B5EF4-FFF2-40B4-BE49-F238E27FC236}">
                    <a16:creationId xmlns:a16="http://schemas.microsoft.com/office/drawing/2014/main" id="{780D3816-2F37-C44F-BB3D-AAD1BD77FCFA}"/>
                  </a:ext>
                </a:extLst>
              </p:cNvPr>
              <p:cNvSpPr txBox="1"/>
              <p:nvPr userDrawn="1"/>
            </p:nvSpPr>
            <p:spPr>
              <a:xfrm>
                <a:off x="9701720" y="7592477"/>
                <a:ext cx="2384904" cy="777136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Right-click on the image.</a:t>
                </a:r>
              </a:p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Choose “Crop” from the menu. (       )</a:t>
                </a:r>
              </a:p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Adjust the size and position of the image.</a:t>
                </a:r>
              </a:p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Press Esc or click outside the image area to exit the cropping mode.</a:t>
                </a:r>
              </a:p>
            </p:txBody>
          </p:sp>
          <p:pic>
            <p:nvPicPr>
              <p:cNvPr id="174" name="Picture 173">
                <a:extLst>
                  <a:ext uri="{FF2B5EF4-FFF2-40B4-BE49-F238E27FC236}">
                    <a16:creationId xmlns:a16="http://schemas.microsoft.com/office/drawing/2014/main" id="{0A78A0F4-3B2A-0840-B2ED-D10184A35C28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5"/>
              <a:srcRect l="33684" t="12097" r="43371" b="20368"/>
              <a:stretch/>
            </p:blipFill>
            <p:spPr>
              <a:xfrm>
                <a:off x="11498723" y="7676910"/>
                <a:ext cx="136897" cy="213643"/>
              </a:xfrm>
              <a:prstGeom prst="rect">
                <a:avLst/>
              </a:prstGeom>
              <a:ln w="19050"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</p:pic>
          <p:sp>
            <p:nvSpPr>
              <p:cNvPr id="175" name="TextBox 174">
                <a:extLst>
                  <a:ext uri="{FF2B5EF4-FFF2-40B4-BE49-F238E27FC236}">
                    <a16:creationId xmlns:a16="http://schemas.microsoft.com/office/drawing/2014/main" id="{86D47968-FA35-774E-AF51-0C090A1928AC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9521833" y="4303787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375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1</a:t>
                </a:r>
              </a:p>
            </p:txBody>
          </p:sp>
          <p:sp>
            <p:nvSpPr>
              <p:cNvPr id="176" name="TextBox 175">
                <a:extLst>
                  <a:ext uri="{FF2B5EF4-FFF2-40B4-BE49-F238E27FC236}">
                    <a16:creationId xmlns:a16="http://schemas.microsoft.com/office/drawing/2014/main" id="{12E64578-3F1D-6649-852E-6A3EAA8D6CBB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9521833" y="4799341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375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2</a:t>
                </a:r>
              </a:p>
            </p:txBody>
          </p:sp>
          <p:sp>
            <p:nvSpPr>
              <p:cNvPr id="177" name="TextBox 176">
                <a:extLst>
                  <a:ext uri="{FF2B5EF4-FFF2-40B4-BE49-F238E27FC236}">
                    <a16:creationId xmlns:a16="http://schemas.microsoft.com/office/drawing/2014/main" id="{030BA93C-7BDC-A64D-B6DC-746732C83C30}"/>
                  </a:ext>
                </a:extLst>
              </p:cNvPr>
              <p:cNvSpPr txBox="1"/>
              <p:nvPr userDrawn="1"/>
            </p:nvSpPr>
            <p:spPr>
              <a:xfrm>
                <a:off x="9686426" y="4278760"/>
                <a:ext cx="2453290" cy="707288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0"/>
                <a:r>
                  <a:rPr lang="en-US" sz="788"/>
                  <a:t>Select and download images from the Marketing Resource Database.</a:t>
                </a:r>
              </a:p>
              <a:p>
                <a:pPr lvl="0"/>
                <a:r>
                  <a:rPr lang="en-US" sz="788"/>
                  <a:t>Add the image to the placeholder.</a:t>
                </a:r>
              </a:p>
            </p:txBody>
          </p:sp>
          <p:sp>
            <p:nvSpPr>
              <p:cNvPr id="178" name="TextBox 177">
                <a:extLst>
                  <a:ext uri="{FF2B5EF4-FFF2-40B4-BE49-F238E27FC236}">
                    <a16:creationId xmlns:a16="http://schemas.microsoft.com/office/drawing/2014/main" id="{581B96C2-BEBF-A94F-82A9-8A26BA103B53}"/>
                  </a:ext>
                </a:extLst>
              </p:cNvPr>
              <p:cNvSpPr txBox="1"/>
              <p:nvPr userDrawn="1"/>
            </p:nvSpPr>
            <p:spPr>
              <a:xfrm>
                <a:off x="9674267" y="5297872"/>
                <a:ext cx="2374733" cy="32316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/>
                  <a:t>Note: If there are multiple image placeholders on the slide, select the intended placeholder before dragging in the image to let PowerPoint know where you want it.</a:t>
                </a:r>
              </a:p>
            </p:txBody>
          </p:sp>
          <p:sp>
            <p:nvSpPr>
              <p:cNvPr id="179" name="TextBox 178">
                <a:extLst>
                  <a:ext uri="{FF2B5EF4-FFF2-40B4-BE49-F238E27FC236}">
                    <a16:creationId xmlns:a16="http://schemas.microsoft.com/office/drawing/2014/main" id="{0EFE05D7-5CE1-7146-8853-1139A08DF9E6}"/>
                  </a:ext>
                </a:extLst>
              </p:cNvPr>
              <p:cNvSpPr txBox="1"/>
              <p:nvPr userDrawn="1"/>
            </p:nvSpPr>
            <p:spPr>
              <a:xfrm>
                <a:off x="9686426" y="5713129"/>
                <a:ext cx="2297338" cy="63145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/>
                  <a:t>Method 2: </a:t>
                </a:r>
                <a:r>
                  <a:rPr lang="en-US" sz="450" b="0"/>
                  <a:t>Paste from clipboard</a:t>
                </a:r>
              </a:p>
              <a:p>
                <a:pPr lvl="1">
                  <a:buNone/>
                </a:pPr>
                <a:r>
                  <a:rPr lang="en-US" sz="788"/>
                  <a:t>Select the image placeholder.</a:t>
                </a:r>
              </a:p>
              <a:p>
                <a:pPr lvl="1">
                  <a:buNone/>
                </a:pPr>
                <a:r>
                  <a:rPr lang="en-US" sz="788"/>
                  <a:t>Right-click or use keyboard shortcuts to paste the image.</a:t>
                </a:r>
              </a:p>
            </p:txBody>
          </p:sp>
          <p:sp>
            <p:nvSpPr>
              <p:cNvPr id="180" name="TextBox 179">
                <a:extLst>
                  <a:ext uri="{FF2B5EF4-FFF2-40B4-BE49-F238E27FC236}">
                    <a16:creationId xmlns:a16="http://schemas.microsoft.com/office/drawing/2014/main" id="{E8BD0C13-8FBE-394A-910E-10615590B6A1}"/>
                  </a:ext>
                </a:extLst>
              </p:cNvPr>
              <p:cNvSpPr txBox="1"/>
              <p:nvPr userDrawn="1"/>
            </p:nvSpPr>
            <p:spPr>
              <a:xfrm>
                <a:off x="9686426" y="6433220"/>
                <a:ext cx="2297338" cy="4346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/>
                  <a:t>Method 3: </a:t>
                </a:r>
                <a:r>
                  <a:rPr lang="en-US" sz="450" b="0"/>
                  <a:t>Placeholder icon</a:t>
                </a:r>
              </a:p>
              <a:p>
                <a:pPr lvl="1">
                  <a:buNone/>
                </a:pPr>
                <a:r>
                  <a:rPr lang="en-US" sz="788"/>
                  <a:t>Click the image icon inside the placeholder to browse for an image.</a:t>
                </a:r>
              </a:p>
            </p:txBody>
          </p:sp>
          <p:sp>
            <p:nvSpPr>
              <p:cNvPr id="181" name="TextBox 180">
                <a:extLst>
                  <a:ext uri="{FF2B5EF4-FFF2-40B4-BE49-F238E27FC236}">
                    <a16:creationId xmlns:a16="http://schemas.microsoft.com/office/drawing/2014/main" id="{D7FB5246-47EA-FD4F-8D6E-196E7AD7FA38}"/>
                  </a:ext>
                </a:extLst>
              </p:cNvPr>
              <p:cNvSpPr txBox="1"/>
              <p:nvPr userDrawn="1"/>
            </p:nvSpPr>
            <p:spPr>
              <a:xfrm>
                <a:off x="9674267" y="6863782"/>
                <a:ext cx="2374733" cy="21544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/>
                  <a:t>Note: This icon may be covered by another element.</a:t>
                </a:r>
                <a:br>
                  <a:rPr lang="en-US" sz="525"/>
                </a:br>
                <a:r>
                  <a:rPr lang="en-US" sz="525"/>
                  <a:t>In this case use one of the other methods.</a:t>
                </a:r>
              </a:p>
            </p:txBody>
          </p:sp>
          <p:sp>
            <p:nvSpPr>
              <p:cNvPr id="182" name="Rectangle 181">
                <a:extLst>
                  <a:ext uri="{FF2B5EF4-FFF2-40B4-BE49-F238E27FC236}">
                    <a16:creationId xmlns:a16="http://schemas.microsoft.com/office/drawing/2014/main" id="{B89C480E-A71A-D44E-B608-4344003C99CB}"/>
                  </a:ext>
                </a:extLst>
              </p:cNvPr>
              <p:cNvSpPr/>
              <p:nvPr userDrawn="1"/>
            </p:nvSpPr>
            <p:spPr>
              <a:xfrm>
                <a:off x="9541497" y="2531409"/>
                <a:ext cx="2735151" cy="1326215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183" name="TextBox 182">
                <a:extLst>
                  <a:ext uri="{FF2B5EF4-FFF2-40B4-BE49-F238E27FC236}">
                    <a16:creationId xmlns:a16="http://schemas.microsoft.com/office/drawing/2014/main" id="{DD62B91F-6210-1449-A8C8-796BD40FAB50}"/>
                  </a:ext>
                </a:extLst>
              </p:cNvPr>
              <p:cNvSpPr txBox="1"/>
              <p:nvPr userDrawn="1"/>
            </p:nvSpPr>
            <p:spPr>
              <a:xfrm>
                <a:off x="9907688" y="2660209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Adjust overlay text box size</a:t>
                </a:r>
              </a:p>
            </p:txBody>
          </p:sp>
          <p:pic>
            <p:nvPicPr>
              <p:cNvPr id="184" name="Graphic 183">
                <a:extLst>
                  <a:ext uri="{FF2B5EF4-FFF2-40B4-BE49-F238E27FC236}">
                    <a16:creationId xmlns:a16="http://schemas.microsoft.com/office/drawing/2014/main" id="{BC18E47A-0D07-5E4B-92C8-9B3BB2EA831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9701720" y="2670492"/>
                <a:ext cx="155227" cy="155227"/>
              </a:xfrm>
              <a:prstGeom prst="rect">
                <a:avLst/>
              </a:prstGeom>
            </p:spPr>
          </p:pic>
          <p:sp>
            <p:nvSpPr>
              <p:cNvPr id="185" name="TextBox 184">
                <a:extLst>
                  <a:ext uri="{FF2B5EF4-FFF2-40B4-BE49-F238E27FC236}">
                    <a16:creationId xmlns:a16="http://schemas.microsoft.com/office/drawing/2014/main" id="{A34A608C-8516-8545-9041-572194C4BC91}"/>
                  </a:ext>
                </a:extLst>
              </p:cNvPr>
              <p:cNvSpPr txBox="1"/>
              <p:nvPr userDrawn="1"/>
            </p:nvSpPr>
            <p:spPr>
              <a:xfrm>
                <a:off x="9701720" y="2924393"/>
                <a:ext cx="2214055" cy="54989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If extra space is required for content, use the size handle on this shape to extend the right edge of the shape to the “2/3rds” slide ruler mark.</a:t>
                </a:r>
              </a:p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Turn on guides (View &gt; Guides) to enable snapping.</a:t>
                </a:r>
              </a:p>
            </p:txBody>
          </p:sp>
        </p:grpSp>
        <p:grpSp>
          <p:nvGrpSpPr>
            <p:cNvPr id="153" name="Group 152">
              <a:extLst>
                <a:ext uri="{FF2B5EF4-FFF2-40B4-BE49-F238E27FC236}">
                  <a16:creationId xmlns:a16="http://schemas.microsoft.com/office/drawing/2014/main" id="{D31E61DD-2C09-1F45-A7EF-4AD5FA85F952}"/>
                </a:ext>
              </a:extLst>
            </p:cNvPr>
            <p:cNvGrpSpPr/>
            <p:nvPr userDrawn="1"/>
          </p:nvGrpSpPr>
          <p:grpSpPr>
            <a:xfrm>
              <a:off x="9540503" y="2468708"/>
              <a:ext cx="2806644" cy="1181890"/>
              <a:chOff x="9554253" y="2414886"/>
              <a:chExt cx="2806644" cy="1181890"/>
            </a:xfrm>
          </p:grpSpPr>
          <p:grpSp>
            <p:nvGrpSpPr>
              <p:cNvPr id="154" name="Group 153">
                <a:extLst>
                  <a:ext uri="{FF2B5EF4-FFF2-40B4-BE49-F238E27FC236}">
                    <a16:creationId xmlns:a16="http://schemas.microsoft.com/office/drawing/2014/main" id="{AE515DAB-7829-4E46-8033-92951355A1AC}"/>
                  </a:ext>
                </a:extLst>
              </p:cNvPr>
              <p:cNvGrpSpPr/>
              <p:nvPr userDrawn="1"/>
            </p:nvGrpSpPr>
            <p:grpSpPr>
              <a:xfrm>
                <a:off x="9554253" y="2414886"/>
                <a:ext cx="2735150" cy="1181890"/>
                <a:chOff x="9541498" y="3751132"/>
                <a:chExt cx="2735150" cy="1181890"/>
              </a:xfrm>
            </p:grpSpPr>
            <p:grpSp>
              <p:nvGrpSpPr>
                <p:cNvPr id="156" name="Group 155">
                  <a:extLst>
                    <a:ext uri="{FF2B5EF4-FFF2-40B4-BE49-F238E27FC236}">
                      <a16:creationId xmlns:a16="http://schemas.microsoft.com/office/drawing/2014/main" id="{5785614C-7308-5841-9902-E01FC7DF0F79}"/>
                    </a:ext>
                  </a:extLst>
                </p:cNvPr>
                <p:cNvGrpSpPr/>
                <p:nvPr userDrawn="1"/>
              </p:nvGrpSpPr>
              <p:grpSpPr>
                <a:xfrm>
                  <a:off x="9541498" y="3751132"/>
                  <a:ext cx="2735150" cy="1181890"/>
                  <a:chOff x="9296568" y="4910411"/>
                  <a:chExt cx="2735150" cy="1181890"/>
                </a:xfrm>
              </p:grpSpPr>
              <p:sp>
                <p:nvSpPr>
                  <p:cNvPr id="158" name="Rectangle 157">
                    <a:extLst>
                      <a:ext uri="{FF2B5EF4-FFF2-40B4-BE49-F238E27FC236}">
                        <a16:creationId xmlns:a16="http://schemas.microsoft.com/office/drawing/2014/main" id="{59501F35-B809-2B4D-94F5-1FBC3C009A8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9296568" y="4910411"/>
                    <a:ext cx="2735150" cy="1181890"/>
                  </a:xfrm>
                  <a:prstGeom prst="rect">
                    <a:avLst/>
                  </a:prstGeom>
                  <a:solidFill>
                    <a:srgbClr val="FFFADF"/>
                  </a:solidFill>
                  <a:ln w="25400">
                    <a:solidFill>
                      <a:schemeClr val="tx1">
                        <a:lumMod val="65000"/>
                        <a:lumOff val="3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50"/>
                  </a:p>
                </p:txBody>
              </p:sp>
              <p:sp>
                <p:nvSpPr>
                  <p:cNvPr id="159" name="TextBox 158">
                    <a:extLst>
                      <a:ext uri="{FF2B5EF4-FFF2-40B4-BE49-F238E27FC236}">
                        <a16:creationId xmlns:a16="http://schemas.microsoft.com/office/drawing/2014/main" id="{9CDE9FBA-1F86-8948-A493-6011E0A7AAC8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662758" y="5046087"/>
                    <a:ext cx="2211394" cy="16927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 algn="l"/>
                    <a:r>
                      <a:rPr lang="en-US" sz="825">
                        <a:solidFill>
                          <a:schemeClr val="accent2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Numbered lists</a:t>
                    </a:r>
                  </a:p>
                </p:txBody>
              </p:sp>
              <p:sp>
                <p:nvSpPr>
                  <p:cNvPr id="160" name="TextBox 159">
                    <a:extLst>
                      <a:ext uri="{FF2B5EF4-FFF2-40B4-BE49-F238E27FC236}">
                        <a16:creationId xmlns:a16="http://schemas.microsoft.com/office/drawing/2014/main" id="{45394A56-E008-A14E-AECC-1347077C6587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471806" y="5300350"/>
                    <a:ext cx="964050" cy="553998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>
                      <a:spcBef>
                        <a:spcPts val="150"/>
                      </a:spcBef>
                    </a:pPr>
                    <a:r>
                      <a:rPr lang="en-US" sz="675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For instruction on formatting numbered lists, see the most up-to-date Asset File.</a:t>
                    </a:r>
                  </a:p>
                </p:txBody>
              </p:sp>
            </p:grpSp>
            <p:pic>
              <p:nvPicPr>
                <p:cNvPr id="157" name="Graphic 156">
                  <a:extLst>
                    <a:ext uri="{FF2B5EF4-FFF2-40B4-BE49-F238E27FC236}">
                      <a16:creationId xmlns:a16="http://schemas.microsoft.com/office/drawing/2014/main" id="{33074372-DE62-C049-AC9B-F5C2A426647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686425" y="3891259"/>
                  <a:ext cx="170340" cy="170340"/>
                </a:xfrm>
                <a:prstGeom prst="rect">
                  <a:avLst/>
                </a:prstGeom>
              </p:spPr>
            </p:pic>
          </p:grpSp>
          <p:pic>
            <p:nvPicPr>
              <p:cNvPr id="155" name="Picture 154">
                <a:extLst>
                  <a:ext uri="{FF2B5EF4-FFF2-40B4-BE49-F238E27FC236}">
                    <a16:creationId xmlns:a16="http://schemas.microsoft.com/office/drawing/2014/main" id="{538972A4-60AB-0A4B-AD4C-080FA4770747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7"/>
              <a:srcRect t="5468" r="25071" b="3995"/>
              <a:stretch/>
            </p:blipFill>
            <p:spPr>
              <a:xfrm>
                <a:off x="10779975" y="2820522"/>
                <a:ext cx="1580922" cy="695279"/>
              </a:xfrm>
              <a:prstGeom prst="rect">
                <a:avLst/>
              </a:prstGeom>
              <a:solidFill>
                <a:srgbClr val="FFFADF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2440325555"/>
      </p:ext>
    </p:extLst>
  </p:cSld>
  <p:clrMapOvr>
    <a:overrideClrMapping bg1="lt1" tx1="dk1" bg2="lt2" tx2="dk2" accent1="accent1" accent2="accent2" accent3="accent3" accent4="accent4" accent5="accent5" accent6="accent6" hlink="lt1" folHlink="lt1"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(Photo, T.S.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>
            <a:extLst>
              <a:ext uri="{FF2B5EF4-FFF2-40B4-BE49-F238E27FC236}">
                <a16:creationId xmlns:a16="http://schemas.microsoft.com/office/drawing/2014/main" id="{602C580C-279C-C14B-A35B-19A3198CE523}"/>
              </a:ext>
            </a:extLst>
          </p:cNvPr>
          <p:cNvSpPr/>
          <p:nvPr userDrawn="1"/>
        </p:nvSpPr>
        <p:spPr>
          <a:xfrm flipH="1">
            <a:off x="0" y="4522171"/>
            <a:ext cx="6781322" cy="320579"/>
          </a:xfrm>
          <a:custGeom>
            <a:avLst/>
            <a:gdLst>
              <a:gd name="connsiteX0" fmla="*/ 6781322 w 6781322"/>
              <a:gd name="connsiteY0" fmla="*/ 0 h 427439"/>
              <a:gd name="connsiteX1" fmla="*/ 6376846 w 6781322"/>
              <a:gd name="connsiteY1" fmla="*/ 0 h 427439"/>
              <a:gd name="connsiteX2" fmla="*/ 607317 w 6781322"/>
              <a:gd name="connsiteY2" fmla="*/ 0 h 427439"/>
              <a:gd name="connsiteX3" fmla="*/ 202841 w 6781322"/>
              <a:gd name="connsiteY3" fmla="*/ 0 h 427439"/>
              <a:gd name="connsiteX4" fmla="*/ 0 w 6781322"/>
              <a:gd name="connsiteY4" fmla="*/ 427439 h 427439"/>
              <a:gd name="connsiteX5" fmla="*/ 404476 w 6781322"/>
              <a:gd name="connsiteY5" fmla="*/ 427439 h 427439"/>
              <a:gd name="connsiteX6" fmla="*/ 6376846 w 6781322"/>
              <a:gd name="connsiteY6" fmla="*/ 427439 h 427439"/>
              <a:gd name="connsiteX7" fmla="*/ 6781322 w 6781322"/>
              <a:gd name="connsiteY7" fmla="*/ 427439 h 427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81322" h="427439">
                <a:moveTo>
                  <a:pt x="6781322" y="0"/>
                </a:moveTo>
                <a:lnTo>
                  <a:pt x="6376846" y="0"/>
                </a:lnTo>
                <a:lnTo>
                  <a:pt x="607317" y="0"/>
                </a:lnTo>
                <a:lnTo>
                  <a:pt x="202841" y="0"/>
                </a:lnTo>
                <a:lnTo>
                  <a:pt x="0" y="427439"/>
                </a:lnTo>
                <a:lnTo>
                  <a:pt x="404476" y="427439"/>
                </a:lnTo>
                <a:lnTo>
                  <a:pt x="6376846" y="427439"/>
                </a:lnTo>
                <a:lnTo>
                  <a:pt x="6781322" y="42743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05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32EA00E4-A5CA-8A45-BBC6-14C9E32393F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" y="1"/>
            <a:ext cx="9144001" cy="4272680"/>
          </a:xfrm>
          <a:prstGeom prst="rect">
            <a:avLst/>
          </a:prstGeom>
          <a:solidFill>
            <a:schemeClr val="accent2"/>
          </a:solidFill>
        </p:spPr>
        <p:txBody>
          <a:bodyPr wrap="square" rIns="43200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1pPr>
          </a:lstStyle>
          <a:p>
            <a:r>
              <a:rPr lang="en-US"/>
              <a:t>Drag image onto slide to add photo</a:t>
            </a:r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56B2C3DE-0130-DA4D-94C6-482024DAA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6420387" cy="4272680"/>
          </a:xfrm>
          <a:custGeom>
            <a:avLst/>
            <a:gdLst>
              <a:gd name="connsiteX0" fmla="*/ 0 w 6420387"/>
              <a:gd name="connsiteY0" fmla="*/ 0 h 5696907"/>
              <a:gd name="connsiteX1" fmla="*/ 3716919 w 6420387"/>
              <a:gd name="connsiteY1" fmla="*/ 0 h 5696907"/>
              <a:gd name="connsiteX2" fmla="*/ 6420387 w 6420387"/>
              <a:gd name="connsiteY2" fmla="*/ 5696907 h 5696907"/>
              <a:gd name="connsiteX3" fmla="*/ 0 w 6420387"/>
              <a:gd name="connsiteY3" fmla="*/ 5696907 h 5696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20387" h="5696907">
                <a:moveTo>
                  <a:pt x="0" y="0"/>
                </a:moveTo>
                <a:lnTo>
                  <a:pt x="3716919" y="0"/>
                </a:lnTo>
                <a:lnTo>
                  <a:pt x="6420387" y="5696907"/>
                </a:lnTo>
                <a:lnTo>
                  <a:pt x="0" y="5696907"/>
                </a:lnTo>
                <a:close/>
              </a:path>
            </a:pathLst>
          </a:custGeom>
          <a:gradFill>
            <a:gsLst>
              <a:gs pos="0">
                <a:schemeClr val="accent1">
                  <a:alpha val="95000"/>
                </a:schemeClr>
              </a:gs>
              <a:gs pos="97000">
                <a:schemeClr val="accent1">
                  <a:alpha val="80000"/>
                </a:schemeClr>
              </a:gs>
            </a:gsLst>
            <a:lin ang="5400000" scaled="0"/>
          </a:gradFill>
        </p:spPr>
        <p:txBody>
          <a:bodyPr wrap="square" lIns="432000" rIns="1080000" bIns="360000" anchor="b">
            <a:noAutofit/>
          </a:bodyPr>
          <a:lstStyle>
            <a:lvl1pPr>
              <a:defRPr sz="2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presentation title. 3 lines max.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4D5E1C61-E66D-DA4C-9929-23CE218C847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6724099" y="4474686"/>
            <a:ext cx="2151407" cy="416402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613DE8F3-DCBA-CF49-9CE3-647F1ABDA6CA}"/>
              </a:ext>
            </a:extLst>
          </p:cNvPr>
          <p:cNvGrpSpPr/>
          <p:nvPr userDrawn="1"/>
        </p:nvGrpSpPr>
        <p:grpSpPr>
          <a:xfrm>
            <a:off x="-256964" y="2919138"/>
            <a:ext cx="251461" cy="1023800"/>
            <a:chOff x="-256404" y="360363"/>
            <a:chExt cx="251461" cy="692152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E480DA6A-4D10-DB40-988E-A23352CE5AFF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8CB891B5-549F-C54D-AFAE-99990FB2A5F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2A995ADB-9A20-754F-8EF1-BB333625BB8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845A68E1-8CD9-CC45-9F15-8553569D6C6F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</p:grp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660D8EAA-9FE3-0A4D-8451-31561B9FA39F}"/>
                </a:ext>
              </a:extLst>
            </p:cNvPr>
            <p:cNvSpPr txBox="1"/>
            <p:nvPr userDrawn="1"/>
          </p:nvSpPr>
          <p:spPr>
            <a:xfrm rot="16200000">
              <a:off x="-192989" y="662666"/>
              <a:ext cx="124629" cy="80791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ITLE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7635911-5D33-9B43-907D-630F0751D4B5}"/>
              </a:ext>
            </a:extLst>
          </p:cNvPr>
          <p:cNvGrpSpPr/>
          <p:nvPr userDrawn="1"/>
        </p:nvGrpSpPr>
        <p:grpSpPr>
          <a:xfrm>
            <a:off x="-256964" y="4522171"/>
            <a:ext cx="251461" cy="311229"/>
            <a:chOff x="-256404" y="360363"/>
            <a:chExt cx="251461" cy="692152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DE3D47EC-0298-BD47-8F31-1F67C4A52643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9AE98708-0591-FB43-80ED-2B85F5BFEFB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87BC5222-1B48-BD4C-9D7E-445D6685850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9CB1FAA-BD66-DC46-8E02-D10B7ACACCB5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</p:grp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EAD09676-9C69-E246-AFD8-70702BD7551D}"/>
                </a:ext>
              </a:extLst>
            </p:cNvPr>
            <p:cNvSpPr txBox="1"/>
            <p:nvPr userDrawn="1"/>
          </p:nvSpPr>
          <p:spPr>
            <a:xfrm rot="16200000">
              <a:off x="-330312" y="662665"/>
              <a:ext cx="399276" cy="80791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DATE</a:t>
              </a:r>
            </a:p>
          </p:txBody>
        </p:sp>
      </p:grpSp>
      <p:sp>
        <p:nvSpPr>
          <p:cNvPr id="500" name="Caption">
            <a:extLst>
              <a:ext uri="{FF2B5EF4-FFF2-40B4-BE49-F238E27FC236}">
                <a16:creationId xmlns:a16="http://schemas.microsoft.com/office/drawing/2014/main" id="{BC3EAE13-E77A-9844-A7FB-5481C2918243}"/>
              </a:ext>
            </a:extLst>
          </p:cNvPr>
          <p:cNvSpPr>
            <a:spLocks noGrp="1"/>
          </p:cNvSpPr>
          <p:nvPr>
            <p:ph type="body" sz="quarter" idx="500" hasCustomPrompt="1"/>
          </p:nvPr>
        </p:nvSpPr>
        <p:spPr>
          <a:xfrm>
            <a:off x="6673517" y="4017282"/>
            <a:ext cx="2254584" cy="114262"/>
          </a:xfrm>
          <a:effectLst/>
        </p:spPr>
        <p:txBody>
          <a:bodyPr wrap="square" anchor="b">
            <a:sp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 b="0">
                <a:solidFill>
                  <a:schemeClr val="bg1"/>
                </a:solidFill>
                <a:effectLst/>
              </a:defRPr>
            </a:lvl1pPr>
            <a:lvl2pPr marL="0" indent="0" algn="r"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2pPr>
            <a:lvl3pPr marL="0" indent="0" algn="r"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3pPr>
            <a:lvl4pPr marL="0" indent="0" algn="r"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4pPr>
            <a:lvl5pPr marL="0" indent="0" algn="r"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5pPr>
            <a:lvl6pPr marL="0" indent="0" algn="r"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6pPr>
            <a:lvl7pPr marL="0" indent="0" algn="r"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7pPr>
            <a:lvl8pPr marL="0" indent="0" algn="r"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8pPr>
            <a:lvl9pPr marL="0" indent="0" algn="r"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photo caption</a:t>
            </a: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999D40C9-73B1-3744-8E82-87C3C3CE082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0852" y="4545906"/>
            <a:ext cx="3313429" cy="273109"/>
          </a:xfrm>
        </p:spPr>
        <p:txBody>
          <a:bodyPr anchor="ctr"/>
          <a:lstStyle>
            <a:lvl1pPr marL="7144" indent="0">
              <a:buFontTx/>
              <a:buNone/>
              <a:tabLst/>
              <a:defRPr sz="1050" b="0">
                <a:solidFill>
                  <a:schemeClr val="bg1"/>
                </a:solidFill>
              </a:defRPr>
            </a:lvl1pPr>
            <a:lvl2pPr marL="7144" indent="0">
              <a:buFontTx/>
              <a:buNone/>
              <a:tabLst/>
              <a:defRPr sz="1050">
                <a:solidFill>
                  <a:schemeClr val="bg1"/>
                </a:solidFill>
              </a:defRPr>
            </a:lvl2pPr>
            <a:lvl3pPr marL="7144" indent="0">
              <a:buFontTx/>
              <a:buNone/>
              <a:tabLst/>
              <a:defRPr sz="1050">
                <a:solidFill>
                  <a:schemeClr val="bg1"/>
                </a:solidFill>
              </a:defRPr>
            </a:lvl3pPr>
            <a:lvl4pPr marL="7144" indent="0">
              <a:buFontTx/>
              <a:buNone/>
              <a:tabLst/>
              <a:defRPr sz="1050">
                <a:solidFill>
                  <a:schemeClr val="bg1"/>
                </a:solidFill>
              </a:defRPr>
            </a:lvl4pPr>
            <a:lvl5pPr marL="7144" indent="0">
              <a:buFontTx/>
              <a:buNone/>
              <a:tabLst/>
              <a:defRPr sz="1050">
                <a:solidFill>
                  <a:schemeClr val="bg1"/>
                </a:solidFill>
              </a:defRPr>
            </a:lvl5pPr>
            <a:lvl6pPr marL="7144" indent="0">
              <a:buFontTx/>
              <a:buNone/>
              <a:tabLst/>
              <a:defRPr sz="1050">
                <a:solidFill>
                  <a:schemeClr val="bg1"/>
                </a:solidFill>
              </a:defRPr>
            </a:lvl6pPr>
            <a:lvl7pPr marL="7144" indent="0">
              <a:buFontTx/>
              <a:buNone/>
              <a:tabLst/>
              <a:defRPr sz="1050">
                <a:solidFill>
                  <a:schemeClr val="bg1"/>
                </a:solidFill>
              </a:defRPr>
            </a:lvl7pPr>
            <a:lvl8pPr marL="7144" indent="0">
              <a:buFontTx/>
              <a:buNone/>
              <a:tabLst/>
              <a:defRPr sz="1050">
                <a:solidFill>
                  <a:schemeClr val="bg1"/>
                </a:solidFill>
              </a:defRPr>
            </a:lvl8pPr>
            <a:lvl9pPr marL="7144" indent="0">
              <a:buFontTx/>
              <a:buNone/>
              <a:tabLst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date (Month DD, YYYY)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94EFD901-2927-D64B-B02E-E280897FCC24}"/>
              </a:ext>
            </a:extLst>
          </p:cNvPr>
          <p:cNvGrpSpPr/>
          <p:nvPr userDrawn="1"/>
        </p:nvGrpSpPr>
        <p:grpSpPr>
          <a:xfrm>
            <a:off x="431241" y="-185200"/>
            <a:ext cx="8280400" cy="5510478"/>
            <a:chOff x="431240" y="-246933"/>
            <a:chExt cx="8280400" cy="7347304"/>
          </a:xfrm>
        </p:grpSpPr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9CE60D13-ED71-8949-8EA6-7BDFD45DD243}"/>
                </a:ext>
              </a:extLst>
            </p:cNvPr>
            <p:cNvGrpSpPr/>
            <p:nvPr userDrawn="1"/>
          </p:nvGrpSpPr>
          <p:grpSpPr>
            <a:xfrm>
              <a:off x="431242" y="6864579"/>
              <a:ext cx="8280398" cy="235792"/>
              <a:chOff x="431801" y="-235792"/>
              <a:chExt cx="4400550" cy="235792"/>
            </a:xfrm>
          </p:grpSpPr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807CCC75-FA7C-F44D-B14A-A0B0259C746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E3A25C0D-A76D-3A43-AF72-4A74E559352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686053CC-770F-1647-9FA5-3D17B470A2DD}"/>
                </a:ext>
              </a:extLst>
            </p:cNvPr>
            <p:cNvGrpSpPr/>
            <p:nvPr userDrawn="1"/>
          </p:nvGrpSpPr>
          <p:grpSpPr>
            <a:xfrm>
              <a:off x="431240" y="-246933"/>
              <a:ext cx="8280400" cy="235792"/>
              <a:chOff x="431800" y="-240735"/>
              <a:chExt cx="8280400" cy="235792"/>
            </a:xfrm>
          </p:grpSpPr>
          <p:grpSp>
            <p:nvGrpSpPr>
              <p:cNvPr id="60" name="Group 59">
                <a:extLst>
                  <a:ext uri="{FF2B5EF4-FFF2-40B4-BE49-F238E27FC236}">
                    <a16:creationId xmlns:a16="http://schemas.microsoft.com/office/drawing/2014/main" id="{03FE5F9E-B699-5748-8B29-271744DB62D3}"/>
                  </a:ext>
                </a:extLst>
              </p:cNvPr>
              <p:cNvGrpSpPr/>
              <p:nvPr userDrawn="1"/>
            </p:nvGrpSpPr>
            <p:grpSpPr>
              <a:xfrm>
                <a:off x="431800" y="-240735"/>
                <a:ext cx="8280400" cy="235792"/>
                <a:chOff x="431800" y="-235792"/>
                <a:chExt cx="4400551" cy="235792"/>
              </a:xfrm>
            </p:grpSpPr>
            <p:cxnSp>
              <p:nvCxnSpPr>
                <p:cNvPr id="64" name="Straight Connector 63">
                  <a:extLst>
                    <a:ext uri="{FF2B5EF4-FFF2-40B4-BE49-F238E27FC236}">
                      <a16:creationId xmlns:a16="http://schemas.microsoft.com/office/drawing/2014/main" id="{611376C0-9CDD-1149-B743-827805A87A1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5" name="Straight Connector 64">
                  <a:extLst>
                    <a:ext uri="{FF2B5EF4-FFF2-40B4-BE49-F238E27FC236}">
                      <a16:creationId xmlns:a16="http://schemas.microsoft.com/office/drawing/2014/main" id="{843B879B-BC55-DF46-B034-9796400B97E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6" name="Rectangle 65">
                  <a:extLst>
                    <a:ext uri="{FF2B5EF4-FFF2-40B4-BE49-F238E27FC236}">
                      <a16:creationId xmlns:a16="http://schemas.microsoft.com/office/drawing/2014/main" id="{AB5FEA6B-D3F8-E14C-9F53-1604DEE35B15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</p:grp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F7CD598A-01CD-CC40-AB4E-7590F906EFD9}"/>
                  </a:ext>
                </a:extLst>
              </p:cNvPr>
              <p:cNvSpPr txBox="1"/>
              <p:nvPr userDrawn="1"/>
            </p:nvSpPr>
            <p:spPr>
              <a:xfrm>
                <a:off x="3883466" y="-176700"/>
                <a:ext cx="1377081" cy="107721"/>
              </a:xfrm>
              <a:prstGeom prst="rect">
                <a:avLst/>
              </a:prstGeom>
            </p:spPr>
            <p:txBody>
              <a:bodyPr vert="horz" wrap="none" lIns="108000" tIns="0" rIns="108000" bIns="0" rtlCol="0" anchor="ctr">
                <a:spAutoFit/>
              </a:bodyPr>
              <a:lstStyle/>
              <a:p>
                <a:pPr algn="ctr"/>
                <a:r>
                  <a:rPr lang="en-US" sz="5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KEEP CONTENT WITHIN THIS AREA</a:t>
                </a:r>
              </a:p>
            </p:txBody>
          </p:sp>
          <p:cxnSp>
            <p:nvCxnSpPr>
              <p:cNvPr id="62" name="Straight Arrow Connector 61">
                <a:extLst>
                  <a:ext uri="{FF2B5EF4-FFF2-40B4-BE49-F238E27FC236}">
                    <a16:creationId xmlns:a16="http://schemas.microsoft.com/office/drawing/2014/main" id="{8FEDFFF3-ACA6-CE4F-91FD-7391CF42615D}"/>
                  </a:ext>
                </a:extLst>
              </p:cNvPr>
              <p:cNvCxnSpPr>
                <a:cxnSpLocks/>
                <a:stCxn id="61" idx="1"/>
                <a:endCxn id="66" idx="2"/>
              </p:cNvCxnSpPr>
              <p:nvPr userDrawn="1"/>
            </p:nvCxnSpPr>
            <p:spPr>
              <a:xfrm flipH="1">
                <a:off x="431800" y="-122839"/>
                <a:ext cx="3451666" cy="1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Straight Arrow Connector 62">
                <a:extLst>
                  <a:ext uri="{FF2B5EF4-FFF2-40B4-BE49-F238E27FC236}">
                    <a16:creationId xmlns:a16="http://schemas.microsoft.com/office/drawing/2014/main" id="{B01E1954-959E-D241-8D61-EF967C7B3DFC}"/>
                  </a:ext>
                </a:extLst>
              </p:cNvPr>
              <p:cNvCxnSpPr>
                <a:cxnSpLocks/>
                <a:stCxn id="61" idx="3"/>
                <a:endCxn id="66" idx="0"/>
              </p:cNvCxnSpPr>
              <p:nvPr userDrawn="1"/>
            </p:nvCxnSpPr>
            <p:spPr>
              <a:xfrm>
                <a:off x="5260547" y="-122839"/>
                <a:ext cx="3451653" cy="0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38425585-D754-CE4E-97CB-A25075FFC6D6}"/>
              </a:ext>
            </a:extLst>
          </p:cNvPr>
          <p:cNvGrpSpPr/>
          <p:nvPr userDrawn="1"/>
        </p:nvGrpSpPr>
        <p:grpSpPr>
          <a:xfrm>
            <a:off x="9399182" y="-1"/>
            <a:ext cx="2874210" cy="5143501"/>
            <a:chOff x="9144000" y="-1"/>
            <a:chExt cx="2874210" cy="6858001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0E70D113-073F-DB49-940F-651EC80F7EE0}"/>
                </a:ext>
              </a:extLst>
            </p:cNvPr>
            <p:cNvSpPr/>
            <p:nvPr userDrawn="1"/>
          </p:nvSpPr>
          <p:spPr>
            <a:xfrm>
              <a:off x="9144000" y="-1"/>
              <a:ext cx="2798651" cy="6858001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050"/>
            </a:p>
          </p:txBody>
        </p: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D345CBC3-2793-C84A-82D2-46F80E2C806B}"/>
                </a:ext>
              </a:extLst>
            </p:cNvPr>
            <p:cNvGrpSpPr/>
            <p:nvPr userDrawn="1"/>
          </p:nvGrpSpPr>
          <p:grpSpPr>
            <a:xfrm>
              <a:off x="9263395" y="150289"/>
              <a:ext cx="2754815" cy="6013825"/>
              <a:chOff x="9266651" y="185338"/>
              <a:chExt cx="2754815" cy="6013825"/>
            </a:xfrm>
          </p:grpSpPr>
          <p:sp>
            <p:nvSpPr>
              <p:cNvPr id="72" name="TextBox 71">
                <a:extLst>
                  <a:ext uri="{FF2B5EF4-FFF2-40B4-BE49-F238E27FC236}">
                    <a16:creationId xmlns:a16="http://schemas.microsoft.com/office/drawing/2014/main" id="{D74F7BC9-E8D1-FB43-AAD5-7867AD59901D}"/>
                  </a:ext>
                </a:extLst>
              </p:cNvPr>
              <p:cNvSpPr txBox="1"/>
              <p:nvPr userDrawn="1"/>
            </p:nvSpPr>
            <p:spPr>
              <a:xfrm>
                <a:off x="9303325" y="185338"/>
                <a:ext cx="1231106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sz="825">
                    <a:solidFill>
                      <a:schemeClr val="bg1"/>
                    </a:solidFill>
                  </a:rPr>
                  <a:t>HOW TO ADD AN IMAGE</a:t>
                </a:r>
              </a:p>
            </p:txBody>
          </p:sp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3CEF2B5E-1374-EF49-9AB7-6A828DF5247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303325" y="38795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0E9D0BE4-89D0-5942-8754-EEA5A310316D}"/>
                  </a:ext>
                </a:extLst>
              </p:cNvPr>
              <p:cNvSpPr txBox="1"/>
              <p:nvPr userDrawn="1"/>
            </p:nvSpPr>
            <p:spPr>
              <a:xfrm>
                <a:off x="9431244" y="1246265"/>
                <a:ext cx="2297338" cy="28913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 b="1"/>
                  <a:t>Method 1: </a:t>
                </a:r>
                <a:r>
                  <a:rPr lang="en-US" sz="450" b="0"/>
                  <a:t>from file browser</a:t>
                </a:r>
              </a:p>
              <a:p>
                <a:pPr lvl="1">
                  <a:buNone/>
                </a:pPr>
                <a:r>
                  <a:rPr lang="en-US" sz="788"/>
                  <a:t>Drag the image onto the slide.</a:t>
                </a:r>
              </a:p>
            </p:txBody>
          </p:sp>
          <p:grpSp>
            <p:nvGrpSpPr>
              <p:cNvPr id="75" name="Group 74">
                <a:extLst>
                  <a:ext uri="{FF2B5EF4-FFF2-40B4-BE49-F238E27FC236}">
                    <a16:creationId xmlns:a16="http://schemas.microsoft.com/office/drawing/2014/main" id="{FE3E923D-B719-754B-A5B4-5114C78C2350}"/>
                  </a:ext>
                </a:extLst>
              </p:cNvPr>
              <p:cNvGrpSpPr/>
              <p:nvPr userDrawn="1"/>
            </p:nvGrpSpPr>
            <p:grpSpPr>
              <a:xfrm>
                <a:off x="9286315" y="4787848"/>
                <a:ext cx="2735151" cy="1411315"/>
                <a:chOff x="9296567" y="4910411"/>
                <a:chExt cx="2735151" cy="1411315"/>
              </a:xfrm>
            </p:grpSpPr>
            <p:sp>
              <p:nvSpPr>
                <p:cNvPr id="90" name="Rectangle 89">
                  <a:extLst>
                    <a:ext uri="{FF2B5EF4-FFF2-40B4-BE49-F238E27FC236}">
                      <a16:creationId xmlns:a16="http://schemas.microsoft.com/office/drawing/2014/main" id="{CD8D379F-A1CA-974F-B228-40BD78178C04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141131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  <p:sp>
              <p:nvSpPr>
                <p:cNvPr id="91" name="TextBox 90">
                  <a:extLst>
                    <a:ext uri="{FF2B5EF4-FFF2-40B4-BE49-F238E27FC236}">
                      <a16:creationId xmlns:a16="http://schemas.microsoft.com/office/drawing/2014/main" id="{2BBC6346-A8B2-CC40-83D2-80545950D96E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8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hange Image</a:t>
                  </a:r>
                </a:p>
              </p:txBody>
            </p:sp>
            <p:pic>
              <p:nvPicPr>
                <p:cNvPr id="92" name="Graphic 91">
                  <a:extLst>
                    <a:ext uri="{FF2B5EF4-FFF2-40B4-BE49-F238E27FC236}">
                      <a16:creationId xmlns:a16="http://schemas.microsoft.com/office/drawing/2014/main" id="{8E12A5EB-AE8E-1443-9417-C419BFE8B93B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93" name="TextBox 92">
                  <a:extLst>
                    <a:ext uri="{FF2B5EF4-FFF2-40B4-BE49-F238E27FC236}">
                      <a16:creationId xmlns:a16="http://schemas.microsoft.com/office/drawing/2014/main" id="{97F1FA10-D20C-B240-9CD2-6D4497C5F4D2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619194"/>
                  <a:ext cx="2422981" cy="37394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01204" lvl="1" indent="-98822" algn="l" defTabSz="6858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225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Deleting the image may bring the image placeholder to the top layer. Right-click on the placeholder and choose “Send to Back”.</a:t>
                  </a:r>
                </a:p>
              </p:txBody>
            </p:sp>
            <p:sp>
              <p:nvSpPr>
                <p:cNvPr id="94" name="TextBox 93">
                  <a:extLst>
                    <a:ext uri="{FF2B5EF4-FFF2-40B4-BE49-F238E27FC236}">
                      <a16:creationId xmlns:a16="http://schemas.microsoft.com/office/drawing/2014/main" id="{CE14D817-0EDB-0E46-9F58-EB168B99D57D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300350"/>
                  <a:ext cx="2422981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685800" rtl="0" eaLnBrk="1" latinLnBrk="0" hangingPunct="1">
                    <a:spcBef>
                      <a:spcPts val="150"/>
                    </a:spcBef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First, delete the existing image to reset the photo placeholder functionality.</a:t>
                  </a:r>
                </a:p>
              </p:txBody>
            </p:sp>
            <p:sp>
              <p:nvSpPr>
                <p:cNvPr id="95" name="TextBox 94">
                  <a:extLst>
                    <a:ext uri="{FF2B5EF4-FFF2-40B4-BE49-F238E27FC236}">
                      <a16:creationId xmlns:a16="http://schemas.microsoft.com/office/drawing/2014/main" id="{9CED4535-1101-5649-A060-98F11DEC4395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068871"/>
                  <a:ext cx="2422981" cy="138500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685800" rtl="0" eaLnBrk="1" latinLnBrk="0" hangingPunct="1">
                    <a:spcBef>
                      <a:spcPts val="150"/>
                    </a:spcBef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You can now add a new image as normal.</a:t>
                  </a:r>
                </a:p>
              </p:txBody>
            </p:sp>
          </p:grpSp>
          <p:grpSp>
            <p:nvGrpSpPr>
              <p:cNvPr id="76" name="Group 75">
                <a:extLst>
                  <a:ext uri="{FF2B5EF4-FFF2-40B4-BE49-F238E27FC236}">
                    <a16:creationId xmlns:a16="http://schemas.microsoft.com/office/drawing/2014/main" id="{C4AD87CC-6788-734A-81B5-D0B8B608B17C}"/>
                  </a:ext>
                </a:extLst>
              </p:cNvPr>
              <p:cNvGrpSpPr/>
              <p:nvPr userDrawn="1"/>
            </p:nvGrpSpPr>
            <p:grpSpPr>
              <a:xfrm>
                <a:off x="9286315" y="3431192"/>
                <a:ext cx="2735151" cy="1280928"/>
                <a:chOff x="9286315" y="6976989"/>
                <a:chExt cx="2735151" cy="1280928"/>
              </a:xfrm>
            </p:grpSpPr>
            <p:sp>
              <p:nvSpPr>
                <p:cNvPr id="85" name="Rectangle 84">
                  <a:extLst>
                    <a:ext uri="{FF2B5EF4-FFF2-40B4-BE49-F238E27FC236}">
                      <a16:creationId xmlns:a16="http://schemas.microsoft.com/office/drawing/2014/main" id="{7F3E0A81-64FA-7644-A110-F47798791436}"/>
                    </a:ext>
                  </a:extLst>
                </p:cNvPr>
                <p:cNvSpPr/>
                <p:nvPr userDrawn="1"/>
              </p:nvSpPr>
              <p:spPr>
                <a:xfrm>
                  <a:off x="9286315" y="6976989"/>
                  <a:ext cx="2735151" cy="1280928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  <p:sp>
              <p:nvSpPr>
                <p:cNvPr id="86" name="TextBox 85">
                  <a:extLst>
                    <a:ext uri="{FF2B5EF4-FFF2-40B4-BE49-F238E27FC236}">
                      <a16:creationId xmlns:a16="http://schemas.microsoft.com/office/drawing/2014/main" id="{A78C2125-4688-2A4F-9C89-3FCE7E50054E}"/>
                    </a:ext>
                  </a:extLst>
                </p:cNvPr>
                <p:cNvSpPr txBox="1"/>
                <p:nvPr userDrawn="1"/>
              </p:nvSpPr>
              <p:spPr>
                <a:xfrm>
                  <a:off x="9652506" y="7105788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8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rop Image</a:t>
                  </a:r>
                </a:p>
              </p:txBody>
            </p:sp>
            <p:pic>
              <p:nvPicPr>
                <p:cNvPr id="87" name="Graphic 86">
                  <a:extLst>
                    <a:ext uri="{FF2B5EF4-FFF2-40B4-BE49-F238E27FC236}">
                      <a16:creationId xmlns:a16="http://schemas.microsoft.com/office/drawing/2014/main" id="{C3F1FB1C-139F-6E4F-9C91-157785071F9C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46538" y="7116071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88" name="TextBox 87">
                  <a:extLst>
                    <a:ext uri="{FF2B5EF4-FFF2-40B4-BE49-F238E27FC236}">
                      <a16:creationId xmlns:a16="http://schemas.microsoft.com/office/drawing/2014/main" id="{448D0656-6841-F546-BD98-F7719F78A37C}"/>
                    </a:ext>
                  </a:extLst>
                </p:cNvPr>
                <p:cNvSpPr txBox="1"/>
                <p:nvPr userDrawn="1"/>
              </p:nvSpPr>
              <p:spPr>
                <a:xfrm>
                  <a:off x="9446538" y="7369972"/>
                  <a:ext cx="2384904" cy="777136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Right-click on the image.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Choose “Crop” from the menu. (       )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Adjust the size and position of the image.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Press Esc or click outside the image area to exit the cropping mode.</a:t>
                  </a:r>
                </a:p>
              </p:txBody>
            </p:sp>
            <p:pic>
              <p:nvPicPr>
                <p:cNvPr id="89" name="Picture 88">
                  <a:extLst>
                    <a:ext uri="{FF2B5EF4-FFF2-40B4-BE49-F238E27FC236}">
                      <a16:creationId xmlns:a16="http://schemas.microsoft.com/office/drawing/2014/main" id="{4DFEF06C-7D00-CD4A-A399-511628526B51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 rotWithShape="1">
                <a:blip r:embed="rId4"/>
                <a:srcRect l="33684" t="12097" r="43371" b="20368"/>
                <a:stretch/>
              </p:blipFill>
              <p:spPr>
                <a:xfrm>
                  <a:off x="11243541" y="7454405"/>
                  <a:ext cx="136897" cy="213643"/>
                </a:xfrm>
                <a:prstGeom prst="rect">
                  <a:avLst/>
                </a:prstGeom>
                <a:ln w="19050">
                  <a:solidFill>
                    <a:schemeClr val="accent3">
                      <a:lumMod val="60000"/>
                      <a:lumOff val="40000"/>
                    </a:schemeClr>
                  </a:solidFill>
                </a:ln>
              </p:spPr>
            </p:pic>
          </p:grpSp>
          <p:grpSp>
            <p:nvGrpSpPr>
              <p:cNvPr id="77" name="Group 76">
                <a:extLst>
                  <a:ext uri="{FF2B5EF4-FFF2-40B4-BE49-F238E27FC236}">
                    <a16:creationId xmlns:a16="http://schemas.microsoft.com/office/drawing/2014/main" id="{41CAF2BE-74BA-C947-9D29-4E9691DA5EFA}"/>
                  </a:ext>
                </a:extLst>
              </p:cNvPr>
              <p:cNvGrpSpPr/>
              <p:nvPr userDrawn="1"/>
            </p:nvGrpSpPr>
            <p:grpSpPr>
              <a:xfrm>
                <a:off x="9266651" y="510458"/>
                <a:ext cx="2617883" cy="707288"/>
                <a:chOff x="12352022" y="513115"/>
                <a:chExt cx="2617883" cy="707288"/>
              </a:xfrm>
            </p:grpSpPr>
            <p:sp>
              <p:nvSpPr>
                <p:cNvPr id="82" name="TextBox 81">
                  <a:extLst>
                    <a:ext uri="{FF2B5EF4-FFF2-40B4-BE49-F238E27FC236}">
                      <a16:creationId xmlns:a16="http://schemas.microsoft.com/office/drawing/2014/main" id="{35D0CA59-DF2A-494B-8A71-0D6FCABF5AD0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375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83" name="TextBox 82">
                  <a:extLst>
                    <a:ext uri="{FF2B5EF4-FFF2-40B4-BE49-F238E27FC236}">
                      <a16:creationId xmlns:a16="http://schemas.microsoft.com/office/drawing/2014/main" id="{BB3F398C-FD2A-BF4B-BCCB-CD30B027899F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1033696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375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2</a:t>
                  </a:r>
                </a:p>
              </p:txBody>
            </p:sp>
            <p:sp>
              <p:nvSpPr>
                <p:cNvPr id="84" name="TextBox 83">
                  <a:extLst>
                    <a:ext uri="{FF2B5EF4-FFF2-40B4-BE49-F238E27FC236}">
                      <a16:creationId xmlns:a16="http://schemas.microsoft.com/office/drawing/2014/main" id="{14D5BEDC-FECA-904D-BAE1-FC9ECFA0C89E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453290" cy="70728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sz="788"/>
                    <a:t>Select and download images from the Marketing Resource Database.</a:t>
                  </a:r>
                </a:p>
                <a:p>
                  <a:pPr lvl="0"/>
                  <a:r>
                    <a:rPr lang="en-US" sz="788"/>
                    <a:t>Add the image to the placeholder.</a:t>
                  </a:r>
                </a:p>
              </p:txBody>
            </p:sp>
          </p:grpSp>
          <p:sp>
            <p:nvSpPr>
              <p:cNvPr id="78" name="TextBox 77">
                <a:extLst>
                  <a:ext uri="{FF2B5EF4-FFF2-40B4-BE49-F238E27FC236}">
                    <a16:creationId xmlns:a16="http://schemas.microsoft.com/office/drawing/2014/main" id="{5FCF3778-A3F9-9342-8366-639247FDB55A}"/>
                  </a:ext>
                </a:extLst>
              </p:cNvPr>
              <p:cNvSpPr txBox="1"/>
              <p:nvPr userDrawn="1"/>
            </p:nvSpPr>
            <p:spPr>
              <a:xfrm>
                <a:off x="9419085" y="1529570"/>
                <a:ext cx="2374733" cy="32316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/>
                  <a:t>Note: If there are multiple image placeholders on the slide, select the intended placeholder before dragging in the image to let PowerPoint know where you want it.</a:t>
                </a:r>
              </a:p>
            </p:txBody>
          </p:sp>
          <p:sp>
            <p:nvSpPr>
              <p:cNvPr id="79" name="TextBox 78">
                <a:extLst>
                  <a:ext uri="{FF2B5EF4-FFF2-40B4-BE49-F238E27FC236}">
                    <a16:creationId xmlns:a16="http://schemas.microsoft.com/office/drawing/2014/main" id="{94601BB6-23CE-644F-87DC-9F5BA78E0D1C}"/>
                  </a:ext>
                </a:extLst>
              </p:cNvPr>
              <p:cNvSpPr txBox="1"/>
              <p:nvPr userDrawn="1"/>
            </p:nvSpPr>
            <p:spPr>
              <a:xfrm>
                <a:off x="9431244" y="1944827"/>
                <a:ext cx="2297338" cy="63145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/>
                  <a:t>Method 2: </a:t>
                </a:r>
                <a:r>
                  <a:rPr lang="en-US" sz="450" b="0"/>
                  <a:t>Paste from clipboard</a:t>
                </a:r>
              </a:p>
              <a:p>
                <a:pPr lvl="1">
                  <a:buNone/>
                </a:pPr>
                <a:r>
                  <a:rPr lang="en-US" sz="788"/>
                  <a:t>Select the image placeholder.</a:t>
                </a:r>
              </a:p>
              <a:p>
                <a:pPr lvl="1">
                  <a:buNone/>
                </a:pPr>
                <a:r>
                  <a:rPr lang="en-US" sz="788"/>
                  <a:t>Right-click or use keyboard shortcuts to paste the image.</a:t>
                </a:r>
              </a:p>
            </p:txBody>
          </p:sp>
          <p:sp>
            <p:nvSpPr>
              <p:cNvPr id="80" name="TextBox 79">
                <a:extLst>
                  <a:ext uri="{FF2B5EF4-FFF2-40B4-BE49-F238E27FC236}">
                    <a16:creationId xmlns:a16="http://schemas.microsoft.com/office/drawing/2014/main" id="{170D7B81-2F68-6943-9D89-8B56A46933CB}"/>
                  </a:ext>
                </a:extLst>
              </p:cNvPr>
              <p:cNvSpPr txBox="1"/>
              <p:nvPr userDrawn="1"/>
            </p:nvSpPr>
            <p:spPr>
              <a:xfrm>
                <a:off x="9431244" y="2664917"/>
                <a:ext cx="2297338" cy="4346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/>
                  <a:t>Method 3: </a:t>
                </a:r>
                <a:r>
                  <a:rPr lang="en-US" sz="450" b="0"/>
                  <a:t>Placeholder icon</a:t>
                </a:r>
              </a:p>
              <a:p>
                <a:pPr lvl="1">
                  <a:buNone/>
                </a:pPr>
                <a:r>
                  <a:rPr lang="en-US" sz="788"/>
                  <a:t>Click the image icon inside the placeholder to browse for an image.</a:t>
                </a:r>
              </a:p>
            </p:txBody>
          </p:sp>
          <p:sp>
            <p:nvSpPr>
              <p:cNvPr id="81" name="TextBox 80">
                <a:extLst>
                  <a:ext uri="{FF2B5EF4-FFF2-40B4-BE49-F238E27FC236}">
                    <a16:creationId xmlns:a16="http://schemas.microsoft.com/office/drawing/2014/main" id="{C3A87CF9-B094-8E4A-8696-7D22C994B85B}"/>
                  </a:ext>
                </a:extLst>
              </p:cNvPr>
              <p:cNvSpPr txBox="1"/>
              <p:nvPr userDrawn="1"/>
            </p:nvSpPr>
            <p:spPr>
              <a:xfrm>
                <a:off x="9419085" y="3095481"/>
                <a:ext cx="2374733" cy="21544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/>
                  <a:t>Note: This icon may be covered by another element.</a:t>
                </a:r>
                <a:br>
                  <a:rPr lang="en-US" sz="525"/>
                </a:br>
                <a:r>
                  <a:rPr lang="en-US" sz="525"/>
                  <a:t>In this case use one of the other methods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372463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istics Text Over Photo (Ful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TextBox 91">
            <a:extLst>
              <a:ext uri="{FF2B5EF4-FFF2-40B4-BE49-F238E27FC236}">
                <a16:creationId xmlns:a16="http://schemas.microsoft.com/office/drawing/2014/main" id="{041452B9-404B-4B43-893C-BB42AF2A9105}"/>
              </a:ext>
            </a:extLst>
          </p:cNvPr>
          <p:cNvSpPr txBox="1">
            <a:spLocks/>
          </p:cNvSpPr>
          <p:nvPr userDrawn="1"/>
        </p:nvSpPr>
        <p:spPr>
          <a:xfrm>
            <a:off x="0" y="4650582"/>
            <a:ext cx="9144000" cy="492919"/>
          </a:xfrm>
          <a:custGeom>
            <a:avLst/>
            <a:gdLst>
              <a:gd name="connsiteX0" fmla="*/ 8545321 w 9144000"/>
              <a:gd name="connsiteY0" fmla="*/ 376500 h 657225"/>
              <a:gd name="connsiteX1" fmla="*/ 8554631 w 9144000"/>
              <a:gd name="connsiteY1" fmla="*/ 376500 h 657225"/>
              <a:gd name="connsiteX2" fmla="*/ 8572756 w 9144000"/>
              <a:gd name="connsiteY2" fmla="*/ 391789 h 657225"/>
              <a:gd name="connsiteX3" fmla="*/ 8552841 w 9144000"/>
              <a:gd name="connsiteY3" fmla="*/ 407812 h 657225"/>
              <a:gd name="connsiteX4" fmla="*/ 8552841 w 9144000"/>
              <a:gd name="connsiteY4" fmla="*/ 407699 h 657225"/>
              <a:gd name="connsiteX5" fmla="*/ 8545321 w 9144000"/>
              <a:gd name="connsiteY5" fmla="*/ 407699 h 657225"/>
              <a:gd name="connsiteX6" fmla="*/ 8440532 w 9144000"/>
              <a:gd name="connsiteY6" fmla="*/ 375390 h 657225"/>
              <a:gd name="connsiteX7" fmla="*/ 8450870 w 9144000"/>
              <a:gd name="connsiteY7" fmla="*/ 375390 h 657225"/>
              <a:gd name="connsiteX8" fmla="*/ 8486566 w 9144000"/>
              <a:gd name="connsiteY8" fmla="*/ 406439 h 657225"/>
              <a:gd name="connsiteX9" fmla="*/ 8452487 w 9144000"/>
              <a:gd name="connsiteY9" fmla="*/ 439520 h 657225"/>
              <a:gd name="connsiteX10" fmla="*/ 8440532 w 9144000"/>
              <a:gd name="connsiteY10" fmla="*/ 439520 h 657225"/>
              <a:gd name="connsiteX11" fmla="*/ 8359313 w 9144000"/>
              <a:gd name="connsiteY11" fmla="*/ 353970 h 657225"/>
              <a:gd name="connsiteX12" fmla="*/ 8357847 w 9144000"/>
              <a:gd name="connsiteY12" fmla="*/ 357073 h 657225"/>
              <a:gd name="connsiteX13" fmla="*/ 8338066 w 9144000"/>
              <a:gd name="connsiteY13" fmla="*/ 398879 h 657225"/>
              <a:gd name="connsiteX14" fmla="*/ 8338066 w 9144000"/>
              <a:gd name="connsiteY14" fmla="*/ 460790 h 657225"/>
              <a:gd name="connsiteX15" fmla="*/ 8406529 w 9144000"/>
              <a:gd name="connsiteY15" fmla="*/ 460790 h 657225"/>
              <a:gd name="connsiteX16" fmla="*/ 8406529 w 9144000"/>
              <a:gd name="connsiteY16" fmla="*/ 438203 h 657225"/>
              <a:gd name="connsiteX17" fmla="*/ 8363159 w 9144000"/>
              <a:gd name="connsiteY17" fmla="*/ 438203 h 657225"/>
              <a:gd name="connsiteX18" fmla="*/ 8363159 w 9144000"/>
              <a:gd name="connsiteY18" fmla="*/ 417366 h 657225"/>
              <a:gd name="connsiteX19" fmla="*/ 8402683 w 9144000"/>
              <a:gd name="connsiteY19" fmla="*/ 417366 h 657225"/>
              <a:gd name="connsiteX20" fmla="*/ 8402683 w 9144000"/>
              <a:gd name="connsiteY20" fmla="*/ 395795 h 657225"/>
              <a:gd name="connsiteX21" fmla="*/ 8363159 w 9144000"/>
              <a:gd name="connsiteY21" fmla="*/ 395795 h 657225"/>
              <a:gd name="connsiteX22" fmla="*/ 8363159 w 9144000"/>
              <a:gd name="connsiteY22" fmla="*/ 376707 h 657225"/>
              <a:gd name="connsiteX23" fmla="*/ 8406529 w 9144000"/>
              <a:gd name="connsiteY23" fmla="*/ 376707 h 657225"/>
              <a:gd name="connsiteX24" fmla="*/ 8406529 w 9144000"/>
              <a:gd name="connsiteY24" fmla="*/ 353970 h 657225"/>
              <a:gd name="connsiteX25" fmla="*/ 8245576 w 9144000"/>
              <a:gd name="connsiteY25" fmla="*/ 353951 h 657225"/>
              <a:gd name="connsiteX26" fmla="*/ 8262083 w 9144000"/>
              <a:gd name="connsiteY26" fmla="*/ 388348 h 657225"/>
              <a:gd name="connsiteX27" fmla="*/ 8288527 w 9144000"/>
              <a:gd name="connsiteY27" fmla="*/ 388348 h 657225"/>
              <a:gd name="connsiteX28" fmla="*/ 8273963 w 9144000"/>
              <a:gd name="connsiteY28" fmla="*/ 353951 h 657225"/>
              <a:gd name="connsiteX29" fmla="*/ 8520246 w 9144000"/>
              <a:gd name="connsiteY29" fmla="*/ 353932 h 657225"/>
              <a:gd name="connsiteX30" fmla="*/ 8520246 w 9144000"/>
              <a:gd name="connsiteY30" fmla="*/ 460789 h 657225"/>
              <a:gd name="connsiteX31" fmla="*/ 8545321 w 9144000"/>
              <a:gd name="connsiteY31" fmla="*/ 460789 h 657225"/>
              <a:gd name="connsiteX32" fmla="*/ 8545321 w 9144000"/>
              <a:gd name="connsiteY32" fmla="*/ 429157 h 657225"/>
              <a:gd name="connsiteX33" fmla="*/ 8554631 w 9144000"/>
              <a:gd name="connsiteY33" fmla="*/ 429157 h 657225"/>
              <a:gd name="connsiteX34" fmla="*/ 8598420 w 9144000"/>
              <a:gd name="connsiteY34" fmla="*/ 391244 h 657225"/>
              <a:gd name="connsiteX35" fmla="*/ 8550347 w 9144000"/>
              <a:gd name="connsiteY35" fmla="*/ 353932 h 657225"/>
              <a:gd name="connsiteX36" fmla="*/ 8415496 w 9144000"/>
              <a:gd name="connsiteY36" fmla="*/ 353932 h 657225"/>
              <a:gd name="connsiteX37" fmla="*/ 8415496 w 9144000"/>
              <a:gd name="connsiteY37" fmla="*/ 460695 h 657225"/>
              <a:gd name="connsiteX38" fmla="*/ 8448547 w 9144000"/>
              <a:gd name="connsiteY38" fmla="*/ 460808 h 657225"/>
              <a:gd name="connsiteX39" fmla="*/ 8513278 w 9144000"/>
              <a:gd name="connsiteY39" fmla="*/ 406439 h 657225"/>
              <a:gd name="connsiteX40" fmla="*/ 8447462 w 9144000"/>
              <a:gd name="connsiteY40" fmla="*/ 353970 h 657225"/>
              <a:gd name="connsiteX41" fmla="*/ 8447500 w 9144000"/>
              <a:gd name="connsiteY41" fmla="*/ 353932 h 657225"/>
              <a:gd name="connsiteX42" fmla="*/ 8415496 w 9144000"/>
              <a:gd name="connsiteY42" fmla="*/ 353932 h 657225"/>
              <a:gd name="connsiteX43" fmla="*/ 8323901 w 9144000"/>
              <a:gd name="connsiteY43" fmla="*/ 353932 h 657225"/>
              <a:gd name="connsiteX44" fmla="*/ 8298694 w 9144000"/>
              <a:gd name="connsiteY44" fmla="*/ 411874 h 657225"/>
              <a:gd name="connsiteX45" fmla="*/ 8291859 w 9144000"/>
              <a:gd name="connsiteY45" fmla="*/ 395870 h 657225"/>
              <a:gd name="connsiteX46" fmla="*/ 8265624 w 9144000"/>
              <a:gd name="connsiteY46" fmla="*/ 395870 h 657225"/>
              <a:gd name="connsiteX47" fmla="*/ 8296943 w 9144000"/>
              <a:gd name="connsiteY47" fmla="*/ 461203 h 657225"/>
              <a:gd name="connsiteX48" fmla="*/ 8299856 w 9144000"/>
              <a:gd name="connsiteY48" fmla="*/ 461203 h 657225"/>
              <a:gd name="connsiteX49" fmla="*/ 8350594 w 9144000"/>
              <a:gd name="connsiteY49" fmla="*/ 353932 h 657225"/>
              <a:gd name="connsiteX50" fmla="*/ 8704282 w 9144000"/>
              <a:gd name="connsiteY50" fmla="*/ 315373 h 657225"/>
              <a:gd name="connsiteX51" fmla="*/ 8704282 w 9144000"/>
              <a:gd name="connsiteY51" fmla="*/ 489998 h 657225"/>
              <a:gd name="connsiteX52" fmla="*/ 8723671 w 9144000"/>
              <a:gd name="connsiteY52" fmla="*/ 489998 h 657225"/>
              <a:gd name="connsiteX53" fmla="*/ 8723671 w 9144000"/>
              <a:gd name="connsiteY53" fmla="*/ 315373 h 657225"/>
              <a:gd name="connsiteX54" fmla="*/ 0 w 9144000"/>
              <a:gd name="connsiteY54" fmla="*/ 0 h 657225"/>
              <a:gd name="connsiteX55" fmla="*/ 9144000 w 9144000"/>
              <a:gd name="connsiteY55" fmla="*/ 0 h 657225"/>
              <a:gd name="connsiteX56" fmla="*/ 9144000 w 9144000"/>
              <a:gd name="connsiteY56" fmla="*/ 657225 h 657225"/>
              <a:gd name="connsiteX57" fmla="*/ 0 w 9144000"/>
              <a:gd name="connsiteY57" fmla="*/ 657225 h 657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9144000" h="657225">
                <a:moveTo>
                  <a:pt x="8545321" y="376500"/>
                </a:moveTo>
                <a:lnTo>
                  <a:pt x="8554631" y="376500"/>
                </a:lnTo>
                <a:cubicBezTo>
                  <a:pt x="8567006" y="376500"/>
                  <a:pt x="8572756" y="383195"/>
                  <a:pt x="8572756" y="391789"/>
                </a:cubicBezTo>
                <a:cubicBezTo>
                  <a:pt x="8572756" y="402133"/>
                  <a:pt x="8566130" y="407812"/>
                  <a:pt x="8552841" y="407812"/>
                </a:cubicBezTo>
                <a:lnTo>
                  <a:pt x="8552841" y="407699"/>
                </a:lnTo>
                <a:lnTo>
                  <a:pt x="8545321" y="407699"/>
                </a:lnTo>
                <a:close/>
                <a:moveTo>
                  <a:pt x="8440532" y="375390"/>
                </a:moveTo>
                <a:lnTo>
                  <a:pt x="8450870" y="375390"/>
                </a:lnTo>
                <a:cubicBezTo>
                  <a:pt x="8474172" y="375390"/>
                  <a:pt x="8486566" y="387050"/>
                  <a:pt x="8486566" y="406439"/>
                </a:cubicBezTo>
                <a:cubicBezTo>
                  <a:pt x="8486566" y="426412"/>
                  <a:pt x="8476095" y="439520"/>
                  <a:pt x="8452487" y="439520"/>
                </a:cubicBezTo>
                <a:lnTo>
                  <a:pt x="8440532" y="439520"/>
                </a:lnTo>
                <a:close/>
                <a:moveTo>
                  <a:pt x="8359313" y="353970"/>
                </a:moveTo>
                <a:lnTo>
                  <a:pt x="8357847" y="357073"/>
                </a:lnTo>
                <a:lnTo>
                  <a:pt x="8338066" y="398879"/>
                </a:lnTo>
                <a:lnTo>
                  <a:pt x="8338066" y="460790"/>
                </a:lnTo>
                <a:lnTo>
                  <a:pt x="8406529" y="460790"/>
                </a:lnTo>
                <a:lnTo>
                  <a:pt x="8406529" y="438203"/>
                </a:lnTo>
                <a:lnTo>
                  <a:pt x="8363159" y="438203"/>
                </a:lnTo>
                <a:lnTo>
                  <a:pt x="8363159" y="417366"/>
                </a:lnTo>
                <a:lnTo>
                  <a:pt x="8402683" y="417366"/>
                </a:lnTo>
                <a:lnTo>
                  <a:pt x="8402683" y="395795"/>
                </a:lnTo>
                <a:lnTo>
                  <a:pt x="8363159" y="395795"/>
                </a:lnTo>
                <a:lnTo>
                  <a:pt x="8363159" y="376707"/>
                </a:lnTo>
                <a:lnTo>
                  <a:pt x="8406529" y="376707"/>
                </a:lnTo>
                <a:lnTo>
                  <a:pt x="8406529" y="353970"/>
                </a:lnTo>
                <a:close/>
                <a:moveTo>
                  <a:pt x="8245576" y="353951"/>
                </a:moveTo>
                <a:lnTo>
                  <a:pt x="8262083" y="388348"/>
                </a:lnTo>
                <a:lnTo>
                  <a:pt x="8288527" y="388348"/>
                </a:lnTo>
                <a:lnTo>
                  <a:pt x="8273963" y="353951"/>
                </a:lnTo>
                <a:close/>
                <a:moveTo>
                  <a:pt x="8520246" y="353932"/>
                </a:moveTo>
                <a:lnTo>
                  <a:pt x="8520246" y="460789"/>
                </a:lnTo>
                <a:lnTo>
                  <a:pt x="8545321" y="460789"/>
                </a:lnTo>
                <a:lnTo>
                  <a:pt x="8545321" y="429157"/>
                </a:lnTo>
                <a:lnTo>
                  <a:pt x="8554631" y="429157"/>
                </a:lnTo>
                <a:cubicBezTo>
                  <a:pt x="8583189" y="429157"/>
                  <a:pt x="8598420" y="413266"/>
                  <a:pt x="8598420" y="391244"/>
                </a:cubicBezTo>
                <a:cubicBezTo>
                  <a:pt x="8598439" y="369711"/>
                  <a:pt x="8581628" y="353932"/>
                  <a:pt x="8550347" y="353932"/>
                </a:cubicBezTo>
                <a:close/>
                <a:moveTo>
                  <a:pt x="8415496" y="353932"/>
                </a:moveTo>
                <a:lnTo>
                  <a:pt x="8415496" y="460695"/>
                </a:lnTo>
                <a:cubicBezTo>
                  <a:pt x="8415496" y="460695"/>
                  <a:pt x="8435867" y="460808"/>
                  <a:pt x="8448547" y="460808"/>
                </a:cubicBezTo>
                <a:cubicBezTo>
                  <a:pt x="8493382" y="460808"/>
                  <a:pt x="8513278" y="437921"/>
                  <a:pt x="8513278" y="406439"/>
                </a:cubicBezTo>
                <a:cubicBezTo>
                  <a:pt x="8513278" y="376349"/>
                  <a:pt x="8492335" y="353970"/>
                  <a:pt x="8447462" y="353970"/>
                </a:cubicBezTo>
                <a:lnTo>
                  <a:pt x="8447500" y="353932"/>
                </a:lnTo>
                <a:cubicBezTo>
                  <a:pt x="8436743" y="353932"/>
                  <a:pt x="8415496" y="353932"/>
                  <a:pt x="8415496" y="353932"/>
                </a:cubicBezTo>
                <a:close/>
                <a:moveTo>
                  <a:pt x="8323901" y="353932"/>
                </a:moveTo>
                <a:lnTo>
                  <a:pt x="8298694" y="411874"/>
                </a:lnTo>
                <a:lnTo>
                  <a:pt x="8291859" y="395870"/>
                </a:lnTo>
                <a:lnTo>
                  <a:pt x="8265624" y="395870"/>
                </a:lnTo>
                <a:lnTo>
                  <a:pt x="8296943" y="461203"/>
                </a:lnTo>
                <a:lnTo>
                  <a:pt x="8299856" y="461203"/>
                </a:lnTo>
                <a:lnTo>
                  <a:pt x="8350594" y="353932"/>
                </a:lnTo>
                <a:close/>
                <a:moveTo>
                  <a:pt x="8704282" y="315373"/>
                </a:moveTo>
                <a:lnTo>
                  <a:pt x="8704282" y="489998"/>
                </a:lnTo>
                <a:lnTo>
                  <a:pt x="8723671" y="489998"/>
                </a:lnTo>
                <a:lnTo>
                  <a:pt x="8723671" y="315373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57225"/>
                </a:lnTo>
                <a:lnTo>
                  <a:pt x="0" y="65722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Wingdings" pitchFamily="2" charset="2"/>
              <a:buNone/>
              <a:defRPr sz="1400" b="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7850" indent="-30162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5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6ACA9DB-4044-6F42-96B1-45EBCD182B84}"/>
              </a:ext>
            </a:extLst>
          </p:cNvPr>
          <p:cNvGrpSpPr/>
          <p:nvPr userDrawn="1"/>
        </p:nvGrpSpPr>
        <p:grpSpPr>
          <a:xfrm>
            <a:off x="-254939" y="-183169"/>
            <a:ext cx="9657928" cy="5511516"/>
            <a:chOff x="-254939" y="-244225"/>
            <a:chExt cx="9657928" cy="7348688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85C25219-E915-0247-86A1-22585D6E3093}"/>
                </a:ext>
              </a:extLst>
            </p:cNvPr>
            <p:cNvGrpSpPr/>
            <p:nvPr userDrawn="1"/>
          </p:nvGrpSpPr>
          <p:grpSpPr>
            <a:xfrm>
              <a:off x="433266" y="6867287"/>
              <a:ext cx="8280398" cy="235792"/>
              <a:chOff x="431801" y="-235792"/>
              <a:chExt cx="4400550" cy="235792"/>
            </a:xfrm>
          </p:grpSpPr>
          <p:cxnSp>
            <p:nvCxnSpPr>
              <p:cNvPr id="57" name="Straight Connector 56">
                <a:extLst>
                  <a:ext uri="{FF2B5EF4-FFF2-40B4-BE49-F238E27FC236}">
                    <a16:creationId xmlns:a16="http://schemas.microsoft.com/office/drawing/2014/main" id="{E473508A-53E9-294C-8A55-AA67E2E362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Connector 57">
                <a:extLst>
                  <a:ext uri="{FF2B5EF4-FFF2-40B4-BE49-F238E27FC236}">
                    <a16:creationId xmlns:a16="http://schemas.microsoft.com/office/drawing/2014/main" id="{AEE1771F-109C-B54D-8B81-A3B0F5D0C42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31062115-5946-2E4B-8C29-C85175435B4D}"/>
                </a:ext>
              </a:extLst>
            </p:cNvPr>
            <p:cNvGrpSpPr/>
            <p:nvPr userDrawn="1"/>
          </p:nvGrpSpPr>
          <p:grpSpPr>
            <a:xfrm>
              <a:off x="-254939" y="6202098"/>
              <a:ext cx="251461" cy="505509"/>
              <a:chOff x="-256403" y="6200775"/>
              <a:chExt cx="251461" cy="505509"/>
            </a:xfrm>
          </p:grpSpPr>
          <p:grpSp>
            <p:nvGrpSpPr>
              <p:cNvPr id="60" name="Group 59">
                <a:extLst>
                  <a:ext uri="{FF2B5EF4-FFF2-40B4-BE49-F238E27FC236}">
                    <a16:creationId xmlns:a16="http://schemas.microsoft.com/office/drawing/2014/main" id="{47C326A5-BE4B-1442-AC13-B44C5D4792CF}"/>
                  </a:ext>
                </a:extLst>
              </p:cNvPr>
              <p:cNvGrpSpPr/>
              <p:nvPr userDrawn="1"/>
            </p:nvGrpSpPr>
            <p:grpSpPr>
              <a:xfrm rot="16200000">
                <a:off x="-383427" y="6327799"/>
                <a:ext cx="505509" cy="251461"/>
                <a:chOff x="431800" y="-235792"/>
                <a:chExt cx="4400551" cy="235792"/>
              </a:xfrm>
            </p:grpSpPr>
            <p:cxnSp>
              <p:nvCxnSpPr>
                <p:cNvPr id="62" name="Straight Connector 61">
                  <a:extLst>
                    <a:ext uri="{FF2B5EF4-FFF2-40B4-BE49-F238E27FC236}">
                      <a16:creationId xmlns:a16="http://schemas.microsoft.com/office/drawing/2014/main" id="{DBB5637D-AB15-E04F-A1B6-3A283BA1C6F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" name="Straight Connector 62">
                  <a:extLst>
                    <a:ext uri="{FF2B5EF4-FFF2-40B4-BE49-F238E27FC236}">
                      <a16:creationId xmlns:a16="http://schemas.microsoft.com/office/drawing/2014/main" id="{A1D7E4D6-88A2-7E4B-9284-DCED9F79105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4" name="Rectangle 63">
                  <a:extLst>
                    <a:ext uri="{FF2B5EF4-FFF2-40B4-BE49-F238E27FC236}">
                      <a16:creationId xmlns:a16="http://schemas.microsoft.com/office/drawing/2014/main" id="{F393F5F7-24EF-2745-BC86-DF4C9F389FCB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</p:grp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F75E910D-9604-9D4F-90E2-EF81D37C867B}"/>
                  </a:ext>
                </a:extLst>
              </p:cNvPr>
              <p:cNvSpPr txBox="1"/>
              <p:nvPr userDrawn="1"/>
            </p:nvSpPr>
            <p:spPr>
              <a:xfrm rot="16200000">
                <a:off x="-285630" y="6399802"/>
                <a:ext cx="309914" cy="129266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sz="5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FOOT</a:t>
                </a:r>
                <a:br>
                  <a:rPr lang="en-US" sz="5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</a:br>
                <a:r>
                  <a:rPr lang="en-US" sz="5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NOTES</a:t>
                </a:r>
              </a:p>
            </p:txBody>
          </p: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292BBFA4-5FEF-524D-AD01-F867D593722F}"/>
                </a:ext>
              </a:extLst>
            </p:cNvPr>
            <p:cNvGrpSpPr/>
            <p:nvPr userDrawn="1"/>
          </p:nvGrpSpPr>
          <p:grpSpPr>
            <a:xfrm>
              <a:off x="433264" y="-244225"/>
              <a:ext cx="8280400" cy="235792"/>
              <a:chOff x="431800" y="-240735"/>
              <a:chExt cx="8280400" cy="235792"/>
            </a:xfrm>
          </p:grpSpPr>
          <p:grpSp>
            <p:nvGrpSpPr>
              <p:cNvPr id="66" name="Group 65">
                <a:extLst>
                  <a:ext uri="{FF2B5EF4-FFF2-40B4-BE49-F238E27FC236}">
                    <a16:creationId xmlns:a16="http://schemas.microsoft.com/office/drawing/2014/main" id="{5A2E8C57-7A20-F840-9308-5611AA6C77E3}"/>
                  </a:ext>
                </a:extLst>
              </p:cNvPr>
              <p:cNvGrpSpPr/>
              <p:nvPr userDrawn="1"/>
            </p:nvGrpSpPr>
            <p:grpSpPr>
              <a:xfrm>
                <a:off x="431800" y="-240735"/>
                <a:ext cx="8280400" cy="235792"/>
                <a:chOff x="431800" y="-235792"/>
                <a:chExt cx="4400551" cy="235792"/>
              </a:xfrm>
            </p:grpSpPr>
            <p:cxnSp>
              <p:nvCxnSpPr>
                <p:cNvPr id="70" name="Straight Connector 69">
                  <a:extLst>
                    <a:ext uri="{FF2B5EF4-FFF2-40B4-BE49-F238E27FC236}">
                      <a16:creationId xmlns:a16="http://schemas.microsoft.com/office/drawing/2014/main" id="{35EF9DEA-530C-4B42-B0F7-9C7D4C25A0A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1" name="Straight Connector 70">
                  <a:extLst>
                    <a:ext uri="{FF2B5EF4-FFF2-40B4-BE49-F238E27FC236}">
                      <a16:creationId xmlns:a16="http://schemas.microsoft.com/office/drawing/2014/main" id="{B71C38FE-1DD7-7B4D-B6D4-CEB6C6D31A2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2" name="Rectangle 71">
                  <a:extLst>
                    <a:ext uri="{FF2B5EF4-FFF2-40B4-BE49-F238E27FC236}">
                      <a16:creationId xmlns:a16="http://schemas.microsoft.com/office/drawing/2014/main" id="{B274FA2B-3A29-0F4D-A4D3-1E12B5D4CEF3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</p:grpSp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AF99FA91-ECED-4D43-BCE4-7FAD08FA3B04}"/>
                  </a:ext>
                </a:extLst>
              </p:cNvPr>
              <p:cNvSpPr txBox="1"/>
              <p:nvPr userDrawn="1"/>
            </p:nvSpPr>
            <p:spPr>
              <a:xfrm>
                <a:off x="3883466" y="-176700"/>
                <a:ext cx="1377081" cy="107721"/>
              </a:xfrm>
              <a:prstGeom prst="rect">
                <a:avLst/>
              </a:prstGeom>
            </p:spPr>
            <p:txBody>
              <a:bodyPr vert="horz" wrap="none" lIns="108000" tIns="0" rIns="108000" bIns="0" rtlCol="0" anchor="ctr">
                <a:spAutoFit/>
              </a:bodyPr>
              <a:lstStyle/>
              <a:p>
                <a:pPr algn="ctr"/>
                <a:r>
                  <a:rPr lang="en-US" sz="5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KEEP CONTENT WITHIN THIS AREA</a:t>
                </a:r>
              </a:p>
            </p:txBody>
          </p:sp>
          <p:cxnSp>
            <p:nvCxnSpPr>
              <p:cNvPr id="68" name="Straight Arrow Connector 67">
                <a:extLst>
                  <a:ext uri="{FF2B5EF4-FFF2-40B4-BE49-F238E27FC236}">
                    <a16:creationId xmlns:a16="http://schemas.microsoft.com/office/drawing/2014/main" id="{B34B6B73-1081-0E44-AF98-571C7E0BD066}"/>
                  </a:ext>
                </a:extLst>
              </p:cNvPr>
              <p:cNvCxnSpPr>
                <a:cxnSpLocks/>
                <a:stCxn id="67" idx="1"/>
                <a:endCxn id="72" idx="2"/>
              </p:cNvCxnSpPr>
              <p:nvPr userDrawn="1"/>
            </p:nvCxnSpPr>
            <p:spPr>
              <a:xfrm flipH="1">
                <a:off x="431800" y="-122839"/>
                <a:ext cx="3451666" cy="1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Arrow Connector 68">
                <a:extLst>
                  <a:ext uri="{FF2B5EF4-FFF2-40B4-BE49-F238E27FC236}">
                    <a16:creationId xmlns:a16="http://schemas.microsoft.com/office/drawing/2014/main" id="{3CF09107-5C11-FD44-BFDC-AE93DE20F6F2}"/>
                  </a:ext>
                </a:extLst>
              </p:cNvPr>
              <p:cNvCxnSpPr>
                <a:cxnSpLocks/>
                <a:stCxn id="67" idx="3"/>
                <a:endCxn id="72" idx="0"/>
              </p:cNvCxnSpPr>
              <p:nvPr userDrawn="1"/>
            </p:nvCxnSpPr>
            <p:spPr>
              <a:xfrm>
                <a:off x="5260547" y="-122839"/>
                <a:ext cx="3451653" cy="0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D62B5D38-D820-3845-8687-4B3E3C84C708}"/>
                </a:ext>
              </a:extLst>
            </p:cNvPr>
            <p:cNvGrpSpPr/>
            <p:nvPr userDrawn="1"/>
          </p:nvGrpSpPr>
          <p:grpSpPr>
            <a:xfrm rot="16200000">
              <a:off x="9024504" y="6329122"/>
              <a:ext cx="505509" cy="251461"/>
              <a:chOff x="431801" y="-235792"/>
              <a:chExt cx="4400550" cy="235792"/>
            </a:xfrm>
          </p:grpSpPr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4872C320-D6C1-DA4E-9AD7-B7A0A8B4D5B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EAF17C3F-BCF7-E84D-B2B3-0197BB3DE5F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B6482D8A-4DDA-CF4B-9EFA-753740F85D70}"/>
                </a:ext>
              </a:extLst>
            </p:cNvPr>
            <p:cNvGrpSpPr/>
            <p:nvPr userDrawn="1"/>
          </p:nvGrpSpPr>
          <p:grpSpPr>
            <a:xfrm>
              <a:off x="-254939" y="420689"/>
              <a:ext cx="9657928" cy="5746484"/>
              <a:chOff x="-254939" y="1236195"/>
              <a:chExt cx="9657928" cy="4930977"/>
            </a:xfrm>
          </p:grpSpPr>
          <p:grpSp>
            <p:nvGrpSpPr>
              <p:cNvPr id="73" name="Group 72">
                <a:extLst>
                  <a:ext uri="{FF2B5EF4-FFF2-40B4-BE49-F238E27FC236}">
                    <a16:creationId xmlns:a16="http://schemas.microsoft.com/office/drawing/2014/main" id="{BA0B2552-2063-B94B-8753-4FFD2EFDAEFA}"/>
                  </a:ext>
                </a:extLst>
              </p:cNvPr>
              <p:cNvGrpSpPr/>
              <p:nvPr userDrawn="1"/>
            </p:nvGrpSpPr>
            <p:grpSpPr>
              <a:xfrm>
                <a:off x="-254939" y="1236195"/>
                <a:ext cx="251461" cy="4930977"/>
                <a:chOff x="-256403" y="1304924"/>
                <a:chExt cx="251461" cy="4843215"/>
              </a:xfrm>
            </p:grpSpPr>
            <p:grpSp>
              <p:nvGrpSpPr>
                <p:cNvPr id="74" name="Group 73">
                  <a:extLst>
                    <a:ext uri="{FF2B5EF4-FFF2-40B4-BE49-F238E27FC236}">
                      <a16:creationId xmlns:a16="http://schemas.microsoft.com/office/drawing/2014/main" id="{3E908781-EB9C-7F43-9C77-51D6DF0D08FB}"/>
                    </a:ext>
                  </a:extLst>
                </p:cNvPr>
                <p:cNvGrpSpPr/>
                <p:nvPr userDrawn="1"/>
              </p:nvGrpSpPr>
              <p:grpSpPr>
                <a:xfrm rot="16200000">
                  <a:off x="-2552280" y="3600801"/>
                  <a:ext cx="4843215" cy="251461"/>
                  <a:chOff x="431800" y="-235792"/>
                  <a:chExt cx="4400551" cy="235792"/>
                </a:xfrm>
              </p:grpSpPr>
              <p:cxnSp>
                <p:nvCxnSpPr>
                  <p:cNvPr id="80" name="Straight Connector 79">
                    <a:extLst>
                      <a:ext uri="{FF2B5EF4-FFF2-40B4-BE49-F238E27FC236}">
                        <a16:creationId xmlns:a16="http://schemas.microsoft.com/office/drawing/2014/main" id="{6348B6E7-397E-7443-A5B3-B13B784EE033}"/>
                      </a:ext>
                    </a:extLst>
                  </p:cNvPr>
                  <p:cNvCxnSpPr>
                    <a:cxnSpLocks/>
                  </p:cNvCxnSpPr>
                  <p:nvPr userDrawn="1"/>
                </p:nvCxnSpPr>
                <p:spPr>
                  <a:xfrm flipV="1">
                    <a:off x="4832351" y="-235792"/>
                    <a:ext cx="0" cy="235792"/>
                  </a:xfrm>
                  <a:prstGeom prst="line">
                    <a:avLst/>
                  </a:prstGeom>
                  <a:ln w="25400"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1" name="Straight Connector 80">
                    <a:extLst>
                      <a:ext uri="{FF2B5EF4-FFF2-40B4-BE49-F238E27FC236}">
                        <a16:creationId xmlns:a16="http://schemas.microsoft.com/office/drawing/2014/main" id="{DCC8C989-AEB2-1342-A4F6-C0CE5593C320}"/>
                      </a:ext>
                    </a:extLst>
                  </p:cNvPr>
                  <p:cNvCxnSpPr>
                    <a:cxnSpLocks/>
                  </p:cNvCxnSpPr>
                  <p:nvPr userDrawn="1"/>
                </p:nvCxnSpPr>
                <p:spPr>
                  <a:xfrm flipV="1">
                    <a:off x="431801" y="-235792"/>
                    <a:ext cx="0" cy="235791"/>
                  </a:xfrm>
                  <a:prstGeom prst="line">
                    <a:avLst/>
                  </a:prstGeom>
                  <a:ln w="25400"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82" name="Rectangle 81">
                    <a:extLst>
                      <a:ext uri="{FF2B5EF4-FFF2-40B4-BE49-F238E27FC236}">
                        <a16:creationId xmlns:a16="http://schemas.microsoft.com/office/drawing/2014/main" id="{E694B1DC-BFA9-8E48-96CE-C60F1DE2D2C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2514180" y="-2318172"/>
                    <a:ext cx="235791" cy="4400551"/>
                  </a:xfrm>
                  <a:prstGeom prst="rect">
                    <a:avLst/>
                  </a:prstGeom>
                  <a:solidFill>
                    <a:schemeClr val="accent2">
                      <a:alpha val="1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50"/>
                  </a:p>
                </p:txBody>
              </p:sp>
            </p:grpSp>
            <p:sp>
              <p:nvSpPr>
                <p:cNvPr id="75" name="TextBox 74">
                  <a:extLst>
                    <a:ext uri="{FF2B5EF4-FFF2-40B4-BE49-F238E27FC236}">
                      <a16:creationId xmlns:a16="http://schemas.microsoft.com/office/drawing/2014/main" id="{FC816E2B-0C94-D948-9F64-0CD5F0050148}"/>
                    </a:ext>
                  </a:extLst>
                </p:cNvPr>
                <p:cNvSpPr txBox="1"/>
                <p:nvPr userDrawn="1"/>
              </p:nvSpPr>
              <p:spPr>
                <a:xfrm rot="16200000">
                  <a:off x="-904420" y="3686135"/>
                  <a:ext cx="1547497" cy="80791"/>
                </a:xfrm>
                <a:prstGeom prst="rect">
                  <a:avLst/>
                </a:prstGeom>
              </p:spPr>
              <p:txBody>
                <a:bodyPr vert="horz" wrap="none" lIns="108000" tIns="0" rIns="108000" bIns="0" rtlCol="0" anchor="ctr">
                  <a:spAutoFit/>
                </a:bodyPr>
                <a:lstStyle/>
                <a:p>
                  <a:pPr algn="ctr"/>
                  <a:r>
                    <a:rPr lang="en-US" sz="5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KEEP CONTENT WITHIN THIS AREA</a:t>
                  </a:r>
                </a:p>
              </p:txBody>
            </p:sp>
            <p:cxnSp>
              <p:nvCxnSpPr>
                <p:cNvPr id="76" name="Straight Arrow Connector 75">
                  <a:extLst>
                    <a:ext uri="{FF2B5EF4-FFF2-40B4-BE49-F238E27FC236}">
                      <a16:creationId xmlns:a16="http://schemas.microsoft.com/office/drawing/2014/main" id="{9C4CC1A9-A535-1144-8940-768AF7ABE4E6}"/>
                    </a:ext>
                  </a:extLst>
                </p:cNvPr>
                <p:cNvCxnSpPr>
                  <a:cxnSpLocks/>
                  <a:stCxn id="75" idx="1"/>
                </p:cNvCxnSpPr>
                <p:nvPr userDrawn="1"/>
              </p:nvCxnSpPr>
              <p:spPr>
                <a:xfrm flipH="1">
                  <a:off x="-130672" y="4500279"/>
                  <a:ext cx="1" cy="1647860"/>
                </a:xfrm>
                <a:prstGeom prst="straightConnector1">
                  <a:avLst/>
                </a:prstGeom>
                <a:ln>
                  <a:solidFill>
                    <a:schemeClr val="accent2"/>
                  </a:solidFill>
                  <a:tailEnd type="arrow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Straight Arrow Connector 76">
                  <a:extLst>
                    <a:ext uri="{FF2B5EF4-FFF2-40B4-BE49-F238E27FC236}">
                      <a16:creationId xmlns:a16="http://schemas.microsoft.com/office/drawing/2014/main" id="{019F48B9-23E2-DA45-B7FC-8F11E3B079C4}"/>
                    </a:ext>
                  </a:extLst>
                </p:cNvPr>
                <p:cNvCxnSpPr>
                  <a:cxnSpLocks/>
                  <a:stCxn id="75" idx="3"/>
                </p:cNvCxnSpPr>
                <p:nvPr userDrawn="1"/>
              </p:nvCxnSpPr>
              <p:spPr>
                <a:xfrm flipH="1" flipV="1">
                  <a:off x="-130673" y="1304928"/>
                  <a:ext cx="2" cy="1647853"/>
                </a:xfrm>
                <a:prstGeom prst="straightConnector1">
                  <a:avLst/>
                </a:prstGeom>
                <a:ln>
                  <a:solidFill>
                    <a:schemeClr val="accent2"/>
                  </a:solidFill>
                  <a:tailEnd type="arrow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5" name="Group 94">
                <a:extLst>
                  <a:ext uri="{FF2B5EF4-FFF2-40B4-BE49-F238E27FC236}">
                    <a16:creationId xmlns:a16="http://schemas.microsoft.com/office/drawing/2014/main" id="{D55D1E59-56A3-A24A-8DE5-328F3950FCC9}"/>
                  </a:ext>
                </a:extLst>
              </p:cNvPr>
              <p:cNvGrpSpPr/>
              <p:nvPr userDrawn="1"/>
            </p:nvGrpSpPr>
            <p:grpSpPr>
              <a:xfrm rot="16200000">
                <a:off x="6812666" y="3576847"/>
                <a:ext cx="4929186" cy="251461"/>
                <a:chOff x="431801" y="-235792"/>
                <a:chExt cx="4462347" cy="235792"/>
              </a:xfrm>
            </p:grpSpPr>
            <p:cxnSp>
              <p:nvCxnSpPr>
                <p:cNvPr id="96" name="Straight Connector 95">
                  <a:extLst>
                    <a:ext uri="{FF2B5EF4-FFF2-40B4-BE49-F238E27FC236}">
                      <a16:creationId xmlns:a16="http://schemas.microsoft.com/office/drawing/2014/main" id="{E20DEBD3-0096-5648-87C1-52DA194811CD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94148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7" name="Straight Connector 96">
                  <a:extLst>
                    <a:ext uri="{FF2B5EF4-FFF2-40B4-BE49-F238E27FC236}">
                      <a16:creationId xmlns:a16="http://schemas.microsoft.com/office/drawing/2014/main" id="{FBF68087-6890-E04C-840F-0B5D5B30DC9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5BB4E0DB-92A2-CE4B-A4D4-C21071C96CD3}"/>
                </a:ext>
              </a:extLst>
            </p:cNvPr>
            <p:cNvGrpSpPr/>
            <p:nvPr userDrawn="1"/>
          </p:nvGrpSpPr>
          <p:grpSpPr>
            <a:xfrm>
              <a:off x="3123421" y="6868673"/>
              <a:ext cx="2929914" cy="235790"/>
              <a:chOff x="3121388" y="6869197"/>
              <a:chExt cx="2929914" cy="235790"/>
            </a:xfrm>
          </p:grpSpPr>
          <p:grpSp>
            <p:nvGrpSpPr>
              <p:cNvPr id="99" name="Group 98">
                <a:extLst>
                  <a:ext uri="{FF2B5EF4-FFF2-40B4-BE49-F238E27FC236}">
                    <a16:creationId xmlns:a16="http://schemas.microsoft.com/office/drawing/2014/main" id="{57650860-F98A-2D48-91EC-A5A2807BDC6C}"/>
                  </a:ext>
                </a:extLst>
              </p:cNvPr>
              <p:cNvGrpSpPr/>
              <p:nvPr userDrawn="1"/>
            </p:nvGrpSpPr>
            <p:grpSpPr>
              <a:xfrm>
                <a:off x="3184525" y="6869197"/>
                <a:ext cx="2774950" cy="60992"/>
                <a:chOff x="3184525" y="6869196"/>
                <a:chExt cx="2774950" cy="235791"/>
              </a:xfrm>
            </p:grpSpPr>
            <p:cxnSp>
              <p:nvCxnSpPr>
                <p:cNvPr id="110" name="Straight Connector 109">
                  <a:extLst>
                    <a:ext uri="{FF2B5EF4-FFF2-40B4-BE49-F238E27FC236}">
                      <a16:creationId xmlns:a16="http://schemas.microsoft.com/office/drawing/2014/main" id="{C0D7E8B1-DE64-BA4B-916D-7BA67CF2D79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3184525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1" name="Straight Connector 110">
                  <a:extLst>
                    <a:ext uri="{FF2B5EF4-FFF2-40B4-BE49-F238E27FC236}">
                      <a16:creationId xmlns:a16="http://schemas.microsoft.com/office/drawing/2014/main" id="{347BA98E-93B4-5545-9E4E-912B913A534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569513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" name="Straight Connector 111">
                  <a:extLst>
                    <a:ext uri="{FF2B5EF4-FFF2-40B4-BE49-F238E27FC236}">
                      <a16:creationId xmlns:a16="http://schemas.microsoft.com/office/drawing/2014/main" id="{E53E46C5-BA51-D94B-A108-538A6E5925D0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5959475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00" name="TextBox 99">
                <a:extLst>
                  <a:ext uri="{FF2B5EF4-FFF2-40B4-BE49-F238E27FC236}">
                    <a16:creationId xmlns:a16="http://schemas.microsoft.com/office/drawing/2014/main" id="{18481EF9-B9B8-5944-A70D-4FBD6F01668A}"/>
                  </a:ext>
                </a:extLst>
              </p:cNvPr>
              <p:cNvSpPr txBox="1"/>
              <p:nvPr userDrawn="1"/>
            </p:nvSpPr>
            <p:spPr>
              <a:xfrm>
                <a:off x="3121388" y="6954537"/>
                <a:ext cx="153888" cy="861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sz="5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1/3</a:t>
                </a:r>
                <a:r>
                  <a:rPr lang="en-US" sz="488" kern="1200" baseline="300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RD</a:t>
                </a:r>
              </a:p>
            </p:txBody>
          </p:sp>
          <p:sp>
            <p:nvSpPr>
              <p:cNvPr id="101" name="TextBox 100">
                <a:extLst>
                  <a:ext uri="{FF2B5EF4-FFF2-40B4-BE49-F238E27FC236}">
                    <a16:creationId xmlns:a16="http://schemas.microsoft.com/office/drawing/2014/main" id="{9B8FEDA2-CA5E-DB41-B9C8-5477A54FB095}"/>
                  </a:ext>
                </a:extLst>
              </p:cNvPr>
              <p:cNvSpPr txBox="1"/>
              <p:nvPr userDrawn="1"/>
            </p:nvSpPr>
            <p:spPr>
              <a:xfrm>
                <a:off x="4487590" y="6954537"/>
                <a:ext cx="171522" cy="861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sz="5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HALF</a:t>
                </a:r>
              </a:p>
            </p:txBody>
          </p:sp>
          <p:sp>
            <p:nvSpPr>
              <p:cNvPr id="104" name="TextBox 103">
                <a:extLst>
                  <a:ext uri="{FF2B5EF4-FFF2-40B4-BE49-F238E27FC236}">
                    <a16:creationId xmlns:a16="http://schemas.microsoft.com/office/drawing/2014/main" id="{95AD9D7F-B960-1248-B6F7-12B9FEDAAF39}"/>
                  </a:ext>
                </a:extLst>
              </p:cNvPr>
              <p:cNvSpPr txBox="1"/>
              <p:nvPr userDrawn="1"/>
            </p:nvSpPr>
            <p:spPr>
              <a:xfrm>
                <a:off x="5870162" y="6954537"/>
                <a:ext cx="181140" cy="861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sz="5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2/3</a:t>
                </a:r>
                <a:r>
                  <a:rPr lang="en-US" sz="488" baseline="300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RDS</a:t>
                </a:r>
              </a:p>
            </p:txBody>
          </p:sp>
          <p:grpSp>
            <p:nvGrpSpPr>
              <p:cNvPr id="106" name="Group 105">
                <a:extLst>
                  <a:ext uri="{FF2B5EF4-FFF2-40B4-BE49-F238E27FC236}">
                    <a16:creationId xmlns:a16="http://schemas.microsoft.com/office/drawing/2014/main" id="{F018DC65-22A5-C346-8BF0-7E16A1FC62E9}"/>
                  </a:ext>
                </a:extLst>
              </p:cNvPr>
              <p:cNvGrpSpPr/>
              <p:nvPr userDrawn="1"/>
            </p:nvGrpSpPr>
            <p:grpSpPr>
              <a:xfrm>
                <a:off x="3184525" y="7040714"/>
                <a:ext cx="2774950" cy="64273"/>
                <a:chOff x="3184525" y="6869196"/>
                <a:chExt cx="2774950" cy="235791"/>
              </a:xfrm>
            </p:grpSpPr>
            <p:cxnSp>
              <p:nvCxnSpPr>
                <p:cNvPr id="107" name="Straight Connector 106">
                  <a:extLst>
                    <a:ext uri="{FF2B5EF4-FFF2-40B4-BE49-F238E27FC236}">
                      <a16:creationId xmlns:a16="http://schemas.microsoft.com/office/drawing/2014/main" id="{E67C92E6-78A9-F947-92B0-F6468A7334E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3184525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8" name="Straight Connector 107">
                  <a:extLst>
                    <a:ext uri="{FF2B5EF4-FFF2-40B4-BE49-F238E27FC236}">
                      <a16:creationId xmlns:a16="http://schemas.microsoft.com/office/drawing/2014/main" id="{D27020A8-1DFE-AD41-98F4-8C87CFF0EEDB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569513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" name="Straight Connector 108">
                  <a:extLst>
                    <a:ext uri="{FF2B5EF4-FFF2-40B4-BE49-F238E27FC236}">
                      <a16:creationId xmlns:a16="http://schemas.microsoft.com/office/drawing/2014/main" id="{FADC7F65-2D38-BF45-951F-C8F488F9763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5959475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47" name="Picture Placeholder 10">
            <a:extLst>
              <a:ext uri="{FF2B5EF4-FFF2-40B4-BE49-F238E27FC236}">
                <a16:creationId xmlns:a16="http://schemas.microsoft.com/office/drawing/2014/main" id="{D9C96E41-86C9-6047-85B6-214B5F3F109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  <a:custGeom>
            <a:avLst/>
            <a:gdLst>
              <a:gd name="connsiteX0" fmla="*/ 8545321 w 9144000"/>
              <a:gd name="connsiteY0" fmla="*/ 6577275 h 6858000"/>
              <a:gd name="connsiteX1" fmla="*/ 8554631 w 9144000"/>
              <a:gd name="connsiteY1" fmla="*/ 6577275 h 6858000"/>
              <a:gd name="connsiteX2" fmla="*/ 8572756 w 9144000"/>
              <a:gd name="connsiteY2" fmla="*/ 6592564 h 6858000"/>
              <a:gd name="connsiteX3" fmla="*/ 8552841 w 9144000"/>
              <a:gd name="connsiteY3" fmla="*/ 6608587 h 6858000"/>
              <a:gd name="connsiteX4" fmla="*/ 8552841 w 9144000"/>
              <a:gd name="connsiteY4" fmla="*/ 6608474 h 6858000"/>
              <a:gd name="connsiteX5" fmla="*/ 8545321 w 9144000"/>
              <a:gd name="connsiteY5" fmla="*/ 6608474 h 6858000"/>
              <a:gd name="connsiteX6" fmla="*/ 8440532 w 9144000"/>
              <a:gd name="connsiteY6" fmla="*/ 6576165 h 6858000"/>
              <a:gd name="connsiteX7" fmla="*/ 8450870 w 9144000"/>
              <a:gd name="connsiteY7" fmla="*/ 6576165 h 6858000"/>
              <a:gd name="connsiteX8" fmla="*/ 8486566 w 9144000"/>
              <a:gd name="connsiteY8" fmla="*/ 6607214 h 6858000"/>
              <a:gd name="connsiteX9" fmla="*/ 8452487 w 9144000"/>
              <a:gd name="connsiteY9" fmla="*/ 6640295 h 6858000"/>
              <a:gd name="connsiteX10" fmla="*/ 8440532 w 9144000"/>
              <a:gd name="connsiteY10" fmla="*/ 6640295 h 6858000"/>
              <a:gd name="connsiteX11" fmla="*/ 8359313 w 9144000"/>
              <a:gd name="connsiteY11" fmla="*/ 6554745 h 6858000"/>
              <a:gd name="connsiteX12" fmla="*/ 8357847 w 9144000"/>
              <a:gd name="connsiteY12" fmla="*/ 6557848 h 6858000"/>
              <a:gd name="connsiteX13" fmla="*/ 8338066 w 9144000"/>
              <a:gd name="connsiteY13" fmla="*/ 6599654 h 6858000"/>
              <a:gd name="connsiteX14" fmla="*/ 8338066 w 9144000"/>
              <a:gd name="connsiteY14" fmla="*/ 6661565 h 6858000"/>
              <a:gd name="connsiteX15" fmla="*/ 8406529 w 9144000"/>
              <a:gd name="connsiteY15" fmla="*/ 6661565 h 6858000"/>
              <a:gd name="connsiteX16" fmla="*/ 8406529 w 9144000"/>
              <a:gd name="connsiteY16" fmla="*/ 6638978 h 6858000"/>
              <a:gd name="connsiteX17" fmla="*/ 8363159 w 9144000"/>
              <a:gd name="connsiteY17" fmla="*/ 6638978 h 6858000"/>
              <a:gd name="connsiteX18" fmla="*/ 8363159 w 9144000"/>
              <a:gd name="connsiteY18" fmla="*/ 6618141 h 6858000"/>
              <a:gd name="connsiteX19" fmla="*/ 8402683 w 9144000"/>
              <a:gd name="connsiteY19" fmla="*/ 6618141 h 6858000"/>
              <a:gd name="connsiteX20" fmla="*/ 8402683 w 9144000"/>
              <a:gd name="connsiteY20" fmla="*/ 6596570 h 6858000"/>
              <a:gd name="connsiteX21" fmla="*/ 8363159 w 9144000"/>
              <a:gd name="connsiteY21" fmla="*/ 6596570 h 6858000"/>
              <a:gd name="connsiteX22" fmla="*/ 8363159 w 9144000"/>
              <a:gd name="connsiteY22" fmla="*/ 6577482 h 6858000"/>
              <a:gd name="connsiteX23" fmla="*/ 8406529 w 9144000"/>
              <a:gd name="connsiteY23" fmla="*/ 6577482 h 6858000"/>
              <a:gd name="connsiteX24" fmla="*/ 8406529 w 9144000"/>
              <a:gd name="connsiteY24" fmla="*/ 6554745 h 6858000"/>
              <a:gd name="connsiteX25" fmla="*/ 8245576 w 9144000"/>
              <a:gd name="connsiteY25" fmla="*/ 6554726 h 6858000"/>
              <a:gd name="connsiteX26" fmla="*/ 8262083 w 9144000"/>
              <a:gd name="connsiteY26" fmla="*/ 6589123 h 6858000"/>
              <a:gd name="connsiteX27" fmla="*/ 8288527 w 9144000"/>
              <a:gd name="connsiteY27" fmla="*/ 6589123 h 6858000"/>
              <a:gd name="connsiteX28" fmla="*/ 8273963 w 9144000"/>
              <a:gd name="connsiteY28" fmla="*/ 6554726 h 6858000"/>
              <a:gd name="connsiteX29" fmla="*/ 8520246 w 9144000"/>
              <a:gd name="connsiteY29" fmla="*/ 6554707 h 6858000"/>
              <a:gd name="connsiteX30" fmla="*/ 8520246 w 9144000"/>
              <a:gd name="connsiteY30" fmla="*/ 6661564 h 6858000"/>
              <a:gd name="connsiteX31" fmla="*/ 8545321 w 9144000"/>
              <a:gd name="connsiteY31" fmla="*/ 6661564 h 6858000"/>
              <a:gd name="connsiteX32" fmla="*/ 8545321 w 9144000"/>
              <a:gd name="connsiteY32" fmla="*/ 6629932 h 6858000"/>
              <a:gd name="connsiteX33" fmla="*/ 8554631 w 9144000"/>
              <a:gd name="connsiteY33" fmla="*/ 6629932 h 6858000"/>
              <a:gd name="connsiteX34" fmla="*/ 8598420 w 9144000"/>
              <a:gd name="connsiteY34" fmla="*/ 6592019 h 6858000"/>
              <a:gd name="connsiteX35" fmla="*/ 8550347 w 9144000"/>
              <a:gd name="connsiteY35" fmla="*/ 6554707 h 6858000"/>
              <a:gd name="connsiteX36" fmla="*/ 8415496 w 9144000"/>
              <a:gd name="connsiteY36" fmla="*/ 6554707 h 6858000"/>
              <a:gd name="connsiteX37" fmla="*/ 8415496 w 9144000"/>
              <a:gd name="connsiteY37" fmla="*/ 6661470 h 6858000"/>
              <a:gd name="connsiteX38" fmla="*/ 8448547 w 9144000"/>
              <a:gd name="connsiteY38" fmla="*/ 6661583 h 6858000"/>
              <a:gd name="connsiteX39" fmla="*/ 8513278 w 9144000"/>
              <a:gd name="connsiteY39" fmla="*/ 6607214 h 6858000"/>
              <a:gd name="connsiteX40" fmla="*/ 8447462 w 9144000"/>
              <a:gd name="connsiteY40" fmla="*/ 6554745 h 6858000"/>
              <a:gd name="connsiteX41" fmla="*/ 8447500 w 9144000"/>
              <a:gd name="connsiteY41" fmla="*/ 6554707 h 6858000"/>
              <a:gd name="connsiteX42" fmla="*/ 8415496 w 9144000"/>
              <a:gd name="connsiteY42" fmla="*/ 6554707 h 6858000"/>
              <a:gd name="connsiteX43" fmla="*/ 8323901 w 9144000"/>
              <a:gd name="connsiteY43" fmla="*/ 6554707 h 6858000"/>
              <a:gd name="connsiteX44" fmla="*/ 8298694 w 9144000"/>
              <a:gd name="connsiteY44" fmla="*/ 6612649 h 6858000"/>
              <a:gd name="connsiteX45" fmla="*/ 8291859 w 9144000"/>
              <a:gd name="connsiteY45" fmla="*/ 6596645 h 6858000"/>
              <a:gd name="connsiteX46" fmla="*/ 8265624 w 9144000"/>
              <a:gd name="connsiteY46" fmla="*/ 6596645 h 6858000"/>
              <a:gd name="connsiteX47" fmla="*/ 8296943 w 9144000"/>
              <a:gd name="connsiteY47" fmla="*/ 6661978 h 6858000"/>
              <a:gd name="connsiteX48" fmla="*/ 8299856 w 9144000"/>
              <a:gd name="connsiteY48" fmla="*/ 6661978 h 6858000"/>
              <a:gd name="connsiteX49" fmla="*/ 8350594 w 9144000"/>
              <a:gd name="connsiteY49" fmla="*/ 6554707 h 6858000"/>
              <a:gd name="connsiteX50" fmla="*/ 8704282 w 9144000"/>
              <a:gd name="connsiteY50" fmla="*/ 6516148 h 6858000"/>
              <a:gd name="connsiteX51" fmla="*/ 8704282 w 9144000"/>
              <a:gd name="connsiteY51" fmla="*/ 6690773 h 6858000"/>
              <a:gd name="connsiteX52" fmla="*/ 8723671 w 9144000"/>
              <a:gd name="connsiteY52" fmla="*/ 6690773 h 6858000"/>
              <a:gd name="connsiteX53" fmla="*/ 8723671 w 9144000"/>
              <a:gd name="connsiteY53" fmla="*/ 6516148 h 6858000"/>
              <a:gd name="connsiteX54" fmla="*/ 0 w 9144000"/>
              <a:gd name="connsiteY54" fmla="*/ 0 h 6858000"/>
              <a:gd name="connsiteX55" fmla="*/ 9144000 w 9144000"/>
              <a:gd name="connsiteY55" fmla="*/ 0 h 6858000"/>
              <a:gd name="connsiteX56" fmla="*/ 9144000 w 9144000"/>
              <a:gd name="connsiteY56" fmla="*/ 6858000 h 6858000"/>
              <a:gd name="connsiteX57" fmla="*/ 0 w 9144000"/>
              <a:gd name="connsiteY5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9144000" h="6858000">
                <a:moveTo>
                  <a:pt x="8545321" y="6577275"/>
                </a:moveTo>
                <a:lnTo>
                  <a:pt x="8554631" y="6577275"/>
                </a:lnTo>
                <a:cubicBezTo>
                  <a:pt x="8567006" y="6577275"/>
                  <a:pt x="8572756" y="6583970"/>
                  <a:pt x="8572756" y="6592564"/>
                </a:cubicBezTo>
                <a:cubicBezTo>
                  <a:pt x="8572756" y="6602908"/>
                  <a:pt x="8566130" y="6608587"/>
                  <a:pt x="8552841" y="6608587"/>
                </a:cubicBezTo>
                <a:lnTo>
                  <a:pt x="8552841" y="6608474"/>
                </a:lnTo>
                <a:lnTo>
                  <a:pt x="8545321" y="6608474"/>
                </a:lnTo>
                <a:close/>
                <a:moveTo>
                  <a:pt x="8440532" y="6576165"/>
                </a:moveTo>
                <a:lnTo>
                  <a:pt x="8450870" y="6576165"/>
                </a:lnTo>
                <a:cubicBezTo>
                  <a:pt x="8474172" y="6576165"/>
                  <a:pt x="8486566" y="6587825"/>
                  <a:pt x="8486566" y="6607214"/>
                </a:cubicBezTo>
                <a:cubicBezTo>
                  <a:pt x="8486566" y="6627187"/>
                  <a:pt x="8476095" y="6640295"/>
                  <a:pt x="8452487" y="6640295"/>
                </a:cubicBezTo>
                <a:lnTo>
                  <a:pt x="8440532" y="6640295"/>
                </a:lnTo>
                <a:close/>
                <a:moveTo>
                  <a:pt x="8359313" y="6554745"/>
                </a:moveTo>
                <a:lnTo>
                  <a:pt x="8357847" y="6557848"/>
                </a:lnTo>
                <a:lnTo>
                  <a:pt x="8338066" y="6599654"/>
                </a:lnTo>
                <a:lnTo>
                  <a:pt x="8338066" y="6661565"/>
                </a:lnTo>
                <a:lnTo>
                  <a:pt x="8406529" y="6661565"/>
                </a:lnTo>
                <a:lnTo>
                  <a:pt x="8406529" y="6638978"/>
                </a:lnTo>
                <a:lnTo>
                  <a:pt x="8363159" y="6638978"/>
                </a:lnTo>
                <a:lnTo>
                  <a:pt x="8363159" y="6618141"/>
                </a:lnTo>
                <a:lnTo>
                  <a:pt x="8402683" y="6618141"/>
                </a:lnTo>
                <a:lnTo>
                  <a:pt x="8402683" y="6596570"/>
                </a:lnTo>
                <a:lnTo>
                  <a:pt x="8363159" y="6596570"/>
                </a:lnTo>
                <a:lnTo>
                  <a:pt x="8363159" y="6577482"/>
                </a:lnTo>
                <a:lnTo>
                  <a:pt x="8406529" y="6577482"/>
                </a:lnTo>
                <a:lnTo>
                  <a:pt x="8406529" y="6554745"/>
                </a:lnTo>
                <a:close/>
                <a:moveTo>
                  <a:pt x="8245576" y="6554726"/>
                </a:moveTo>
                <a:lnTo>
                  <a:pt x="8262083" y="6589123"/>
                </a:lnTo>
                <a:lnTo>
                  <a:pt x="8288527" y="6589123"/>
                </a:lnTo>
                <a:lnTo>
                  <a:pt x="8273963" y="6554726"/>
                </a:lnTo>
                <a:close/>
                <a:moveTo>
                  <a:pt x="8520246" y="6554707"/>
                </a:moveTo>
                <a:lnTo>
                  <a:pt x="8520246" y="6661564"/>
                </a:lnTo>
                <a:lnTo>
                  <a:pt x="8545321" y="6661564"/>
                </a:lnTo>
                <a:lnTo>
                  <a:pt x="8545321" y="6629932"/>
                </a:lnTo>
                <a:lnTo>
                  <a:pt x="8554631" y="6629932"/>
                </a:lnTo>
                <a:cubicBezTo>
                  <a:pt x="8583189" y="6629932"/>
                  <a:pt x="8598420" y="6614041"/>
                  <a:pt x="8598420" y="6592019"/>
                </a:cubicBezTo>
                <a:cubicBezTo>
                  <a:pt x="8598439" y="6570486"/>
                  <a:pt x="8581628" y="6554707"/>
                  <a:pt x="8550347" y="6554707"/>
                </a:cubicBezTo>
                <a:close/>
                <a:moveTo>
                  <a:pt x="8415496" y="6554707"/>
                </a:moveTo>
                <a:lnTo>
                  <a:pt x="8415496" y="6661470"/>
                </a:lnTo>
                <a:cubicBezTo>
                  <a:pt x="8415496" y="6661470"/>
                  <a:pt x="8435867" y="6661583"/>
                  <a:pt x="8448547" y="6661583"/>
                </a:cubicBezTo>
                <a:cubicBezTo>
                  <a:pt x="8493382" y="6661583"/>
                  <a:pt x="8513278" y="6638696"/>
                  <a:pt x="8513278" y="6607214"/>
                </a:cubicBezTo>
                <a:cubicBezTo>
                  <a:pt x="8513278" y="6577124"/>
                  <a:pt x="8492335" y="6554745"/>
                  <a:pt x="8447462" y="6554745"/>
                </a:cubicBezTo>
                <a:lnTo>
                  <a:pt x="8447500" y="6554707"/>
                </a:lnTo>
                <a:cubicBezTo>
                  <a:pt x="8436743" y="6554707"/>
                  <a:pt x="8415496" y="6554707"/>
                  <a:pt x="8415496" y="6554707"/>
                </a:cubicBezTo>
                <a:close/>
                <a:moveTo>
                  <a:pt x="8323901" y="6554707"/>
                </a:moveTo>
                <a:lnTo>
                  <a:pt x="8298694" y="6612649"/>
                </a:lnTo>
                <a:lnTo>
                  <a:pt x="8291859" y="6596645"/>
                </a:lnTo>
                <a:lnTo>
                  <a:pt x="8265624" y="6596645"/>
                </a:lnTo>
                <a:lnTo>
                  <a:pt x="8296943" y="6661978"/>
                </a:lnTo>
                <a:lnTo>
                  <a:pt x="8299856" y="6661978"/>
                </a:lnTo>
                <a:lnTo>
                  <a:pt x="8350594" y="6554707"/>
                </a:lnTo>
                <a:close/>
                <a:moveTo>
                  <a:pt x="8704282" y="6516148"/>
                </a:moveTo>
                <a:lnTo>
                  <a:pt x="8704282" y="6690773"/>
                </a:lnTo>
                <a:lnTo>
                  <a:pt x="8723671" y="6690773"/>
                </a:lnTo>
                <a:lnTo>
                  <a:pt x="8723671" y="6516148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rIns="432000" anchor="ctr">
            <a:noAutofit/>
          </a:bodyPr>
          <a:lstStyle>
            <a:lvl1pPr algn="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Drag image onto slide to add photo</a:t>
            </a:r>
          </a:p>
        </p:txBody>
      </p:sp>
      <p:sp>
        <p:nvSpPr>
          <p:cNvPr id="200" name="First Content Placeholder">
            <a:extLst>
              <a:ext uri="{FF2B5EF4-FFF2-40B4-BE49-F238E27FC236}">
                <a16:creationId xmlns:a16="http://schemas.microsoft.com/office/drawing/2014/main" id="{DC9253A4-356A-9740-9187-428DE58AB885}"/>
              </a:ext>
            </a:extLst>
          </p:cNvPr>
          <p:cNvSpPr>
            <a:spLocks noGrp="1"/>
          </p:cNvSpPr>
          <p:nvPr>
            <p:ph type="body" sz="quarter" idx="200"/>
          </p:nvPr>
        </p:nvSpPr>
        <p:spPr>
          <a:xfrm>
            <a:off x="0" y="0"/>
            <a:ext cx="4572000" cy="5143500"/>
          </a:xfrm>
          <a:gradFill>
            <a:gsLst>
              <a:gs pos="13000">
                <a:schemeClr val="accent1"/>
              </a:gs>
              <a:gs pos="97000">
                <a:schemeClr val="accent1">
                  <a:alpha val="80000"/>
                </a:schemeClr>
              </a:gs>
            </a:gsLst>
            <a:lin ang="5400000" scaled="0"/>
          </a:gradFill>
        </p:spPr>
        <p:txBody>
          <a:bodyPr lIns="432000" rIns="360000" bIns="360000" anchor="ctr"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1350"/>
              </a:spcBef>
              <a:spcAft>
                <a:spcPts val="225"/>
              </a:spcAft>
              <a:buClrTx/>
              <a:buSzTx/>
              <a:buFont typeface="Wingdings" pitchFamily="2" charset="2"/>
              <a:buNone/>
              <a:tabLst/>
              <a:defRPr sz="21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</a:defRPr>
            </a:lvl6pPr>
            <a:lvl7pPr marL="0" indent="0">
              <a:buFontTx/>
              <a:buNone/>
              <a:defRPr>
                <a:solidFill>
                  <a:schemeClr val="bg1"/>
                </a:solidFill>
              </a:defRPr>
            </a:lvl7pPr>
            <a:lvl8pPr marL="0" indent="0">
              <a:buFontTx/>
              <a:buNone/>
              <a:defRPr>
                <a:solidFill>
                  <a:schemeClr val="bg1"/>
                </a:solidFill>
              </a:defRPr>
            </a:lvl8pPr>
            <a:lvl9pPr marL="0" indent="0">
              <a:buFontTx/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1518A119-6232-A242-B4A2-83D06D216BA9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800" y="4650581"/>
            <a:ext cx="3700586" cy="379131"/>
          </a:xfrm>
        </p:spPr>
        <p:txBody>
          <a:bodyPr bIns="0" anchor="b"/>
          <a:lstStyle>
            <a:lvl1pPr marL="4763" indent="-1191">
              <a:spcBef>
                <a:spcPts val="56"/>
              </a:spcBef>
              <a:spcAft>
                <a:spcPts val="56"/>
              </a:spcAft>
              <a:buSzPct val="100000"/>
              <a:buFontTx/>
              <a:buNone/>
              <a:tabLst/>
              <a:defRPr sz="825" b="0">
                <a:solidFill>
                  <a:schemeClr val="bg1"/>
                </a:solidFill>
              </a:defRPr>
            </a:lvl1pPr>
            <a:lvl2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¹"/>
              <a:tabLst/>
              <a:defRPr sz="825" b="0" i="0">
                <a:solidFill>
                  <a:schemeClr val="bg1"/>
                </a:solidFill>
              </a:defRPr>
            </a:lvl2pPr>
            <a:lvl3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²"/>
              <a:tabLst/>
              <a:defRPr sz="825">
                <a:solidFill>
                  <a:schemeClr val="bg1"/>
                </a:solidFill>
              </a:defRPr>
            </a:lvl3pPr>
            <a:lvl4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³"/>
              <a:tabLst/>
              <a:defRPr sz="825">
                <a:solidFill>
                  <a:schemeClr val="bg1"/>
                </a:solidFill>
              </a:defRPr>
            </a:lvl4pPr>
            <a:lvl5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⁴"/>
              <a:tabLst/>
              <a:defRPr sz="825">
                <a:solidFill>
                  <a:schemeClr val="bg1"/>
                </a:solidFill>
              </a:defRPr>
            </a:lvl5pPr>
            <a:lvl6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⁵"/>
              <a:tabLst/>
              <a:defRPr sz="825">
                <a:solidFill>
                  <a:schemeClr val="bg1"/>
                </a:solidFill>
              </a:defRPr>
            </a:lvl6pPr>
            <a:lvl7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⁶"/>
              <a:tabLst/>
              <a:defRPr sz="825">
                <a:solidFill>
                  <a:schemeClr val="bg1"/>
                </a:solidFill>
              </a:defRPr>
            </a:lvl7pPr>
            <a:lvl8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⁷"/>
              <a:tabLst/>
              <a:defRPr sz="825">
                <a:solidFill>
                  <a:schemeClr val="bg1"/>
                </a:solidFill>
              </a:defRPr>
            </a:lvl8pPr>
            <a:lvl9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⁸"/>
              <a:tabLst/>
              <a:defRPr sz="825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/>
              <a:t>Footnotes – Levels 2-9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FE84BD5-7F9D-AE47-BCAB-D3922B3DA1BC}"/>
              </a:ext>
            </a:extLst>
          </p:cNvPr>
          <p:cNvSpPr>
            <a:spLocks noGrp="1"/>
          </p:cNvSpPr>
          <p:nvPr>
            <p:ph type="dt" sz="half" idx="1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3FF406A-59D4-BB4E-A45D-EEB4EEBCE329}"/>
              </a:ext>
            </a:extLst>
          </p:cNvPr>
          <p:cNvSpPr>
            <a:spLocks noGrp="1"/>
          </p:cNvSpPr>
          <p:nvPr>
            <p:ph type="ftr" sz="quarter" idx="1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9E870A-0204-114F-9189-EE4D27C77AFE}"/>
              </a:ext>
            </a:extLst>
          </p:cNvPr>
          <p:cNvSpPr>
            <a:spLocks noGrp="1"/>
          </p:cNvSpPr>
          <p:nvPr>
            <p:ph type="sldNum" sz="quarter" idx="112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9525"/>
            <a:fld id="{078C017C-E1B9-8443-B047-B08AAA027B45}" type="slidenum">
              <a:rPr lang="en-US" smtClean="0"/>
              <a:pPr marL="9525"/>
              <a:t>‹#›</a:t>
            </a:fld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84FC32F-D780-2C41-B31E-1F1C7720CD48}"/>
              </a:ext>
            </a:extLst>
          </p:cNvPr>
          <p:cNvGrpSpPr/>
          <p:nvPr userDrawn="1"/>
        </p:nvGrpSpPr>
        <p:grpSpPr>
          <a:xfrm>
            <a:off x="9399183" y="-1"/>
            <a:ext cx="2961715" cy="7243942"/>
            <a:chOff x="9399182" y="-1"/>
            <a:chExt cx="2961715" cy="9658589"/>
          </a:xfrm>
        </p:grpSpPr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1F6701BF-092D-2F4F-9D3D-CB526578FD23}"/>
                </a:ext>
              </a:extLst>
            </p:cNvPr>
            <p:cNvSpPr/>
            <p:nvPr userDrawn="1"/>
          </p:nvSpPr>
          <p:spPr>
            <a:xfrm>
              <a:off x="9399182" y="-1"/>
              <a:ext cx="2798651" cy="948690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050"/>
            </a:p>
          </p:txBody>
        </p:sp>
        <p:pic>
          <p:nvPicPr>
            <p:cNvPr id="163" name="Picture 162">
              <a:extLst>
                <a:ext uri="{FF2B5EF4-FFF2-40B4-BE49-F238E27FC236}">
                  <a16:creationId xmlns:a16="http://schemas.microsoft.com/office/drawing/2014/main" id="{2D12CE45-289D-6B47-8827-232211E4A4E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t="11482" r="50733" b="17784"/>
            <a:stretch/>
          </p:blipFill>
          <p:spPr>
            <a:xfrm>
              <a:off x="9558506" y="1332920"/>
              <a:ext cx="2639326" cy="746975"/>
            </a:xfrm>
            <a:prstGeom prst="rect">
              <a:avLst/>
            </a:prstGeom>
          </p:spPr>
        </p:pic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06DB9A1-FD76-8C4E-AA60-A3215A54B22B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154" name="Rectangle 153">
                <a:extLst>
                  <a:ext uri="{FF2B5EF4-FFF2-40B4-BE49-F238E27FC236}">
                    <a16:creationId xmlns:a16="http://schemas.microsoft.com/office/drawing/2014/main" id="{9B6A22A1-5D5B-4A45-9873-94CDE4AF5389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155" name="TextBox 154">
                <a:extLst>
                  <a:ext uri="{FF2B5EF4-FFF2-40B4-BE49-F238E27FC236}">
                    <a16:creationId xmlns:a16="http://schemas.microsoft.com/office/drawing/2014/main" id="{7ABB8F1D-E85A-ED44-9693-9F13743BAED4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156" name="Picture 155">
                <a:extLst>
                  <a:ext uri="{FF2B5EF4-FFF2-40B4-BE49-F238E27FC236}">
                    <a16:creationId xmlns:a16="http://schemas.microsoft.com/office/drawing/2014/main" id="{20DBD003-BD74-534F-B6C9-503C1716230E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00987C7D-6B58-624B-A8C2-E1C8B5B41655}"/>
                </a:ext>
              </a:extLst>
            </p:cNvPr>
            <p:cNvSpPr txBox="1"/>
            <p:nvPr userDrawn="1"/>
          </p:nvSpPr>
          <p:spPr>
            <a:xfrm>
              <a:off x="9558507" y="3644763"/>
              <a:ext cx="1231106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sz="825">
                  <a:solidFill>
                    <a:schemeClr val="bg1"/>
                  </a:solidFill>
                </a:rPr>
                <a:t>HOW TO ADD AN IMAGE</a:t>
              </a:r>
            </a:p>
          </p:txBody>
        </p: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76A5E172-F2DB-AB47-BF8B-E04905D4DF3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3847380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73686235-423F-604C-911D-620F011D49F8}"/>
                </a:ext>
              </a:extLst>
            </p:cNvPr>
            <p:cNvSpPr txBox="1"/>
            <p:nvPr userDrawn="1"/>
          </p:nvSpPr>
          <p:spPr>
            <a:xfrm>
              <a:off x="9686426" y="4705690"/>
              <a:ext cx="2297338" cy="28913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900"/>
                </a:spcBef>
                <a:spcAft>
                  <a:spcPts val="300"/>
                </a:spcAft>
                <a:defRPr sz="800" b="1" cap="all" spc="2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0" lvl="1" indent="0">
                <a:lnSpc>
                  <a:spcPct val="90000"/>
                </a:lnSpc>
                <a:spcAft>
                  <a:spcPts val="300"/>
                </a:spcAft>
                <a:tabLst/>
                <a:defRPr sz="12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marL="0" lvl="0" indent="0">
                <a:buFont typeface="Arial" panose="020B0604020202020204" pitchFamily="34" charset="0"/>
                <a:buNone/>
              </a:pPr>
              <a:r>
                <a:rPr lang="en-US" sz="450" b="1"/>
                <a:t>Method 1: </a:t>
              </a:r>
              <a:r>
                <a:rPr lang="en-US" sz="450" b="0"/>
                <a:t>from file browser</a:t>
              </a:r>
            </a:p>
            <a:p>
              <a:pPr lvl="1">
                <a:buNone/>
              </a:pPr>
              <a:r>
                <a:rPr lang="en-US" sz="788"/>
                <a:t>Drag the image onto the slide.</a:t>
              </a:r>
            </a:p>
          </p:txBody>
        </p:sp>
        <p:grpSp>
          <p:nvGrpSpPr>
            <p:cNvPr id="119" name="Group 118">
              <a:extLst>
                <a:ext uri="{FF2B5EF4-FFF2-40B4-BE49-F238E27FC236}">
                  <a16:creationId xmlns:a16="http://schemas.microsoft.com/office/drawing/2014/main" id="{74431D0C-E5D7-5C4B-B34D-ED622DCEC90B}"/>
                </a:ext>
              </a:extLst>
            </p:cNvPr>
            <p:cNvGrpSpPr/>
            <p:nvPr userDrawn="1"/>
          </p:nvGrpSpPr>
          <p:grpSpPr>
            <a:xfrm>
              <a:off x="9541497" y="8247273"/>
              <a:ext cx="2735151" cy="1411315"/>
              <a:chOff x="9296567" y="4910411"/>
              <a:chExt cx="2735151" cy="1411315"/>
            </a:xfrm>
          </p:grpSpPr>
          <p:sp>
            <p:nvSpPr>
              <p:cNvPr id="148" name="Rectangle 147">
                <a:extLst>
                  <a:ext uri="{FF2B5EF4-FFF2-40B4-BE49-F238E27FC236}">
                    <a16:creationId xmlns:a16="http://schemas.microsoft.com/office/drawing/2014/main" id="{3EE33C6F-C414-704B-930C-49B6415FB0D1}"/>
                  </a:ext>
                </a:extLst>
              </p:cNvPr>
              <p:cNvSpPr/>
              <p:nvPr userDrawn="1"/>
            </p:nvSpPr>
            <p:spPr>
              <a:xfrm>
                <a:off x="9296567" y="4910411"/>
                <a:ext cx="2735151" cy="1411315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149" name="TextBox 148">
                <a:extLst>
                  <a:ext uri="{FF2B5EF4-FFF2-40B4-BE49-F238E27FC236}">
                    <a16:creationId xmlns:a16="http://schemas.microsoft.com/office/drawing/2014/main" id="{C7770F39-017B-9A4E-B2C7-C48397F86E0F}"/>
                  </a:ext>
                </a:extLst>
              </p:cNvPr>
              <p:cNvSpPr txBox="1"/>
              <p:nvPr userDrawn="1"/>
            </p:nvSpPr>
            <p:spPr>
              <a:xfrm>
                <a:off x="9662758" y="5039211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Change Image</a:t>
                </a:r>
              </a:p>
            </p:txBody>
          </p:sp>
          <p:pic>
            <p:nvPicPr>
              <p:cNvPr id="150" name="Graphic 149">
                <a:extLst>
                  <a:ext uri="{FF2B5EF4-FFF2-40B4-BE49-F238E27FC236}">
                    <a16:creationId xmlns:a16="http://schemas.microsoft.com/office/drawing/2014/main" id="{2B06D124-E28F-144C-A1A8-A9F9DCEDD39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9456790" y="5049494"/>
                <a:ext cx="155227" cy="155227"/>
              </a:xfrm>
              <a:prstGeom prst="rect">
                <a:avLst/>
              </a:prstGeom>
            </p:spPr>
          </p:pic>
          <p:sp>
            <p:nvSpPr>
              <p:cNvPr id="151" name="TextBox 150">
                <a:extLst>
                  <a:ext uri="{FF2B5EF4-FFF2-40B4-BE49-F238E27FC236}">
                    <a16:creationId xmlns:a16="http://schemas.microsoft.com/office/drawing/2014/main" id="{217354F4-3327-F641-8A6E-7CF3A11F0418}"/>
                  </a:ext>
                </a:extLst>
              </p:cNvPr>
              <p:cNvSpPr txBox="1"/>
              <p:nvPr userDrawn="1"/>
            </p:nvSpPr>
            <p:spPr>
              <a:xfrm>
                <a:off x="9471805" y="5619194"/>
                <a:ext cx="2413353" cy="373948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101204" lvl="1" indent="-98822" algn="l" defTabSz="685800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225"/>
                  </a:spcAft>
                  <a:buFont typeface="Wingdings" pitchFamily="2" charset="2"/>
                  <a:buChar char="§"/>
                  <a:tabLst/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Deleting the image may bring the image placeholder to the top layer. Right-click on the placeholder and choose “Send to Back”.</a:t>
                </a:r>
              </a:p>
            </p:txBody>
          </p:sp>
          <p:sp>
            <p:nvSpPr>
              <p:cNvPr id="152" name="TextBox 151">
                <a:extLst>
                  <a:ext uri="{FF2B5EF4-FFF2-40B4-BE49-F238E27FC236}">
                    <a16:creationId xmlns:a16="http://schemas.microsoft.com/office/drawing/2014/main" id="{C21E8267-10D6-A74C-9247-CF15A2756B51}"/>
                  </a:ext>
                </a:extLst>
              </p:cNvPr>
              <p:cNvSpPr txBox="1"/>
              <p:nvPr userDrawn="1"/>
            </p:nvSpPr>
            <p:spPr>
              <a:xfrm>
                <a:off x="9471805" y="5300350"/>
                <a:ext cx="2422981" cy="2769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685800" rtl="0" eaLnBrk="1" latinLnBrk="0" hangingPunct="1">
                  <a:spcBef>
                    <a:spcPts val="150"/>
                  </a:spcBef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First, delete the existing image to reset the photo placeholder functionality.</a:t>
                </a:r>
              </a:p>
            </p:txBody>
          </p:sp>
          <p:sp>
            <p:nvSpPr>
              <p:cNvPr id="153" name="TextBox 152">
                <a:extLst>
                  <a:ext uri="{FF2B5EF4-FFF2-40B4-BE49-F238E27FC236}">
                    <a16:creationId xmlns:a16="http://schemas.microsoft.com/office/drawing/2014/main" id="{33236540-7695-CC4F-8B5C-2A70FAD9ED38}"/>
                  </a:ext>
                </a:extLst>
              </p:cNvPr>
              <p:cNvSpPr txBox="1"/>
              <p:nvPr userDrawn="1"/>
            </p:nvSpPr>
            <p:spPr>
              <a:xfrm>
                <a:off x="9471805" y="6068871"/>
                <a:ext cx="2422981" cy="13850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685800" rtl="0" eaLnBrk="1" latinLnBrk="0" hangingPunct="1">
                  <a:spcBef>
                    <a:spcPts val="150"/>
                  </a:spcBef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You can now add a new image as normal.</a:t>
                </a:r>
              </a:p>
            </p:txBody>
          </p:sp>
        </p:grpSp>
        <p:grpSp>
          <p:nvGrpSpPr>
            <p:cNvPr id="120" name="Group 119">
              <a:extLst>
                <a:ext uri="{FF2B5EF4-FFF2-40B4-BE49-F238E27FC236}">
                  <a16:creationId xmlns:a16="http://schemas.microsoft.com/office/drawing/2014/main" id="{1CC75D71-084C-2841-A6C3-E4B52088D324}"/>
                </a:ext>
              </a:extLst>
            </p:cNvPr>
            <p:cNvGrpSpPr/>
            <p:nvPr userDrawn="1"/>
          </p:nvGrpSpPr>
          <p:grpSpPr>
            <a:xfrm>
              <a:off x="9541497" y="6890617"/>
              <a:ext cx="2735151" cy="1280928"/>
              <a:chOff x="9286315" y="6976989"/>
              <a:chExt cx="2735151" cy="1280928"/>
            </a:xfrm>
          </p:grpSpPr>
          <p:sp>
            <p:nvSpPr>
              <p:cNvPr id="138" name="Rectangle 137">
                <a:extLst>
                  <a:ext uri="{FF2B5EF4-FFF2-40B4-BE49-F238E27FC236}">
                    <a16:creationId xmlns:a16="http://schemas.microsoft.com/office/drawing/2014/main" id="{80A4814C-F3C9-8E4D-A7A3-91D0BBB9B2DE}"/>
                  </a:ext>
                </a:extLst>
              </p:cNvPr>
              <p:cNvSpPr/>
              <p:nvPr userDrawn="1"/>
            </p:nvSpPr>
            <p:spPr>
              <a:xfrm>
                <a:off x="9286315" y="6976989"/>
                <a:ext cx="2735151" cy="1280928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144" name="TextBox 143">
                <a:extLst>
                  <a:ext uri="{FF2B5EF4-FFF2-40B4-BE49-F238E27FC236}">
                    <a16:creationId xmlns:a16="http://schemas.microsoft.com/office/drawing/2014/main" id="{9E22E78A-6530-6E49-B5B6-FE675F4954F7}"/>
                  </a:ext>
                </a:extLst>
              </p:cNvPr>
              <p:cNvSpPr txBox="1"/>
              <p:nvPr userDrawn="1"/>
            </p:nvSpPr>
            <p:spPr>
              <a:xfrm>
                <a:off x="9652506" y="7105788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Crop Image</a:t>
                </a:r>
              </a:p>
            </p:txBody>
          </p:sp>
          <p:pic>
            <p:nvPicPr>
              <p:cNvPr id="145" name="Graphic 144">
                <a:extLst>
                  <a:ext uri="{FF2B5EF4-FFF2-40B4-BE49-F238E27FC236}">
                    <a16:creationId xmlns:a16="http://schemas.microsoft.com/office/drawing/2014/main" id="{DABEDA03-6252-DA49-BF04-D4C0068F703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9446538" y="7116071"/>
                <a:ext cx="155227" cy="155227"/>
              </a:xfrm>
              <a:prstGeom prst="rect">
                <a:avLst/>
              </a:prstGeom>
            </p:spPr>
          </p:pic>
          <p:sp>
            <p:nvSpPr>
              <p:cNvPr id="146" name="TextBox 145">
                <a:extLst>
                  <a:ext uri="{FF2B5EF4-FFF2-40B4-BE49-F238E27FC236}">
                    <a16:creationId xmlns:a16="http://schemas.microsoft.com/office/drawing/2014/main" id="{8636DC60-0BA4-B64F-91F4-B8555CA43CB7}"/>
                  </a:ext>
                </a:extLst>
              </p:cNvPr>
              <p:cNvSpPr txBox="1"/>
              <p:nvPr userDrawn="1"/>
            </p:nvSpPr>
            <p:spPr>
              <a:xfrm>
                <a:off x="9446538" y="7369972"/>
                <a:ext cx="2384904" cy="777136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Right-click on the image.</a:t>
                </a:r>
              </a:p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Choose “Crop” from the menu. (       )</a:t>
                </a:r>
              </a:p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Adjust the size and position of the image.</a:t>
                </a:r>
              </a:p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Press Esc or click outside the image area to exit the cropping mode.</a:t>
                </a:r>
              </a:p>
            </p:txBody>
          </p:sp>
          <p:pic>
            <p:nvPicPr>
              <p:cNvPr id="147" name="Picture 146">
                <a:extLst>
                  <a:ext uri="{FF2B5EF4-FFF2-40B4-BE49-F238E27FC236}">
                    <a16:creationId xmlns:a16="http://schemas.microsoft.com/office/drawing/2014/main" id="{9C06CF34-F5E9-FF43-92FC-A8A12A5E7514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5"/>
              <a:srcRect l="33684" t="12097" r="43371" b="20368"/>
              <a:stretch/>
            </p:blipFill>
            <p:spPr>
              <a:xfrm>
                <a:off x="11243541" y="7454405"/>
                <a:ext cx="136897" cy="213643"/>
              </a:xfrm>
              <a:prstGeom prst="rect">
                <a:avLst/>
              </a:prstGeom>
              <a:ln w="19050"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</p:pic>
        </p:grpSp>
        <p:grpSp>
          <p:nvGrpSpPr>
            <p:cNvPr id="121" name="Group 120">
              <a:extLst>
                <a:ext uri="{FF2B5EF4-FFF2-40B4-BE49-F238E27FC236}">
                  <a16:creationId xmlns:a16="http://schemas.microsoft.com/office/drawing/2014/main" id="{38052344-BDD9-5C4C-BCF9-CDD928F9ABEF}"/>
                </a:ext>
              </a:extLst>
            </p:cNvPr>
            <p:cNvGrpSpPr/>
            <p:nvPr userDrawn="1"/>
          </p:nvGrpSpPr>
          <p:grpSpPr>
            <a:xfrm>
              <a:off x="9521833" y="3969883"/>
              <a:ext cx="2617883" cy="707288"/>
              <a:chOff x="12352022" y="513115"/>
              <a:chExt cx="2617883" cy="707288"/>
            </a:xfrm>
          </p:grpSpPr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EA326582-6206-9448-AC3D-D39568717478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12352022" y="538142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375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1</a:t>
                </a:r>
              </a:p>
            </p:txBody>
          </p:sp>
          <p:sp>
            <p:nvSpPr>
              <p:cNvPr id="136" name="TextBox 135">
                <a:extLst>
                  <a:ext uri="{FF2B5EF4-FFF2-40B4-BE49-F238E27FC236}">
                    <a16:creationId xmlns:a16="http://schemas.microsoft.com/office/drawing/2014/main" id="{4064E1A2-6908-7D4E-AED8-AABD4AFAA4D9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12352022" y="1033696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375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2</a:t>
                </a:r>
              </a:p>
            </p:txBody>
          </p:sp>
          <p:sp>
            <p:nvSpPr>
              <p:cNvPr id="137" name="TextBox 136">
                <a:extLst>
                  <a:ext uri="{FF2B5EF4-FFF2-40B4-BE49-F238E27FC236}">
                    <a16:creationId xmlns:a16="http://schemas.microsoft.com/office/drawing/2014/main" id="{26F5F72F-54E6-6444-AD2C-1C7049E062D7}"/>
                  </a:ext>
                </a:extLst>
              </p:cNvPr>
              <p:cNvSpPr txBox="1"/>
              <p:nvPr userDrawn="1"/>
            </p:nvSpPr>
            <p:spPr>
              <a:xfrm>
                <a:off x="12516615" y="513115"/>
                <a:ext cx="2453290" cy="707288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0"/>
                <a:r>
                  <a:rPr lang="en-US" sz="788"/>
                  <a:t>Select and download images from the Marketing Resource Database.</a:t>
                </a:r>
              </a:p>
              <a:p>
                <a:pPr lvl="0"/>
                <a:r>
                  <a:rPr lang="en-US" sz="788"/>
                  <a:t>Add the image to the placeholder.</a:t>
                </a:r>
              </a:p>
            </p:txBody>
          </p:sp>
        </p:grp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6ADF7B1D-21B9-4A43-9883-156AF8A7FE24}"/>
                </a:ext>
              </a:extLst>
            </p:cNvPr>
            <p:cNvSpPr txBox="1"/>
            <p:nvPr userDrawn="1"/>
          </p:nvSpPr>
          <p:spPr>
            <a:xfrm>
              <a:off x="9674267" y="4988995"/>
              <a:ext cx="2374733" cy="32316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525"/>
                <a:t>Note: If there are multiple image placeholders on the slide, select the intended placeholder before dragging in the image to let PowerPoint know where you want it.</a:t>
              </a: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FD008BFE-F284-7448-B84A-6DC42232D3A9}"/>
                </a:ext>
              </a:extLst>
            </p:cNvPr>
            <p:cNvSpPr txBox="1"/>
            <p:nvPr userDrawn="1"/>
          </p:nvSpPr>
          <p:spPr>
            <a:xfrm>
              <a:off x="9686426" y="5404252"/>
              <a:ext cx="2297338" cy="63145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900"/>
                </a:spcBef>
                <a:spcAft>
                  <a:spcPts val="300"/>
                </a:spcAft>
                <a:defRPr sz="800" b="1" cap="all" spc="2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0" lvl="1" indent="0">
                <a:lnSpc>
                  <a:spcPct val="90000"/>
                </a:lnSpc>
                <a:spcAft>
                  <a:spcPts val="300"/>
                </a:spcAft>
                <a:tabLst/>
                <a:defRPr sz="12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marL="0" lvl="0" indent="0">
                <a:buFont typeface="Arial" panose="020B0604020202020204" pitchFamily="34" charset="0"/>
                <a:buNone/>
              </a:pPr>
              <a:r>
                <a:rPr lang="en-US" sz="450"/>
                <a:t>Method 2: </a:t>
              </a:r>
              <a:r>
                <a:rPr lang="en-US" sz="450" b="0"/>
                <a:t>Paste from clipboard</a:t>
              </a:r>
            </a:p>
            <a:p>
              <a:pPr lvl="1">
                <a:buNone/>
              </a:pPr>
              <a:r>
                <a:rPr lang="en-US" sz="788"/>
                <a:t>Select the image placeholder.</a:t>
              </a:r>
            </a:p>
            <a:p>
              <a:pPr lvl="1">
                <a:buNone/>
              </a:pPr>
              <a:r>
                <a:rPr lang="en-US" sz="788"/>
                <a:t>Right-click or use keyboard shortcuts to paste the image.</a:t>
              </a:r>
            </a:p>
          </p:txBody>
        </p: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3BA44DCB-A3AF-9546-85AA-0C8080A538B5}"/>
                </a:ext>
              </a:extLst>
            </p:cNvPr>
            <p:cNvSpPr txBox="1"/>
            <p:nvPr userDrawn="1"/>
          </p:nvSpPr>
          <p:spPr>
            <a:xfrm>
              <a:off x="9686426" y="6124341"/>
              <a:ext cx="2297338" cy="43464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900"/>
                </a:spcBef>
                <a:spcAft>
                  <a:spcPts val="300"/>
                </a:spcAft>
                <a:defRPr sz="800" b="1" cap="all" spc="2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0" lvl="1" indent="0">
                <a:lnSpc>
                  <a:spcPct val="90000"/>
                </a:lnSpc>
                <a:spcAft>
                  <a:spcPts val="300"/>
                </a:spcAft>
                <a:tabLst/>
                <a:defRPr sz="12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marL="0" lvl="0" indent="0">
                <a:buFont typeface="Arial" panose="020B0604020202020204" pitchFamily="34" charset="0"/>
                <a:buNone/>
              </a:pPr>
              <a:r>
                <a:rPr lang="en-US" sz="450"/>
                <a:t>Method 3: </a:t>
              </a:r>
              <a:r>
                <a:rPr lang="en-US" sz="450" b="0"/>
                <a:t>Placeholder icon</a:t>
              </a:r>
            </a:p>
            <a:p>
              <a:pPr lvl="1">
                <a:buNone/>
              </a:pPr>
              <a:r>
                <a:rPr lang="en-US" sz="788"/>
                <a:t>Click the image icon inside the placeholder to browse for an image.</a:t>
              </a:r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495F74B5-1BAA-CF4B-B826-677D9A1B2C48}"/>
                </a:ext>
              </a:extLst>
            </p:cNvPr>
            <p:cNvSpPr txBox="1"/>
            <p:nvPr userDrawn="1"/>
          </p:nvSpPr>
          <p:spPr>
            <a:xfrm>
              <a:off x="9674267" y="6554905"/>
              <a:ext cx="2374733" cy="215444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525"/>
                <a:t>Note: This icon may be covered by another element.</a:t>
              </a:r>
              <a:br>
                <a:rPr lang="en-US" sz="525"/>
              </a:br>
              <a:r>
                <a:rPr lang="en-US" sz="525"/>
                <a:t>In this case use one of the other methods.</a:t>
              </a:r>
            </a:p>
          </p:txBody>
        </p: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3F7CB717-E705-2840-9197-C78C7B64E71A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1670329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sz="825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C57B530B-447D-4A4B-9F77-9EBFE328878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62FAFE70-D4B2-8F4F-9523-F66BEB76844C}"/>
                </a:ext>
              </a:extLst>
            </p:cNvPr>
            <p:cNvGrpSpPr/>
            <p:nvPr userDrawn="1"/>
          </p:nvGrpSpPr>
          <p:grpSpPr>
            <a:xfrm>
              <a:off x="9541497" y="2222532"/>
              <a:ext cx="2735151" cy="1326215"/>
              <a:chOff x="9286315" y="6976988"/>
              <a:chExt cx="2735151" cy="1326215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E47B8ADC-2456-1243-95C8-E860AAB723D4}"/>
                  </a:ext>
                </a:extLst>
              </p:cNvPr>
              <p:cNvSpPr/>
              <p:nvPr userDrawn="1"/>
            </p:nvSpPr>
            <p:spPr>
              <a:xfrm>
                <a:off x="9286315" y="6976988"/>
                <a:ext cx="2735151" cy="1326215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EDAA5B06-10D3-584A-BD73-861E5B9ACB56}"/>
                  </a:ext>
                </a:extLst>
              </p:cNvPr>
              <p:cNvSpPr txBox="1"/>
              <p:nvPr userDrawn="1"/>
            </p:nvSpPr>
            <p:spPr>
              <a:xfrm>
                <a:off x="9652506" y="7105788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Adjust overlay text box size</a:t>
                </a:r>
              </a:p>
            </p:txBody>
          </p:sp>
          <p:pic>
            <p:nvPicPr>
              <p:cNvPr id="131" name="Graphic 130">
                <a:extLst>
                  <a:ext uri="{FF2B5EF4-FFF2-40B4-BE49-F238E27FC236}">
                    <a16:creationId xmlns:a16="http://schemas.microsoft.com/office/drawing/2014/main" id="{161E4833-BB86-994F-833D-93E67F55990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9446538" y="7116071"/>
                <a:ext cx="155227" cy="155227"/>
              </a:xfrm>
              <a:prstGeom prst="rect">
                <a:avLst/>
              </a:prstGeom>
            </p:spPr>
          </p:pic>
          <p:sp>
            <p:nvSpPr>
              <p:cNvPr id="132" name="TextBox 131">
                <a:extLst>
                  <a:ext uri="{FF2B5EF4-FFF2-40B4-BE49-F238E27FC236}">
                    <a16:creationId xmlns:a16="http://schemas.microsoft.com/office/drawing/2014/main" id="{8DAA1AE3-7284-B649-9EEF-97FFE151F8C8}"/>
                  </a:ext>
                </a:extLst>
              </p:cNvPr>
              <p:cNvSpPr txBox="1"/>
              <p:nvPr userDrawn="1"/>
            </p:nvSpPr>
            <p:spPr>
              <a:xfrm>
                <a:off x="9446538" y="7369972"/>
                <a:ext cx="2214055" cy="54989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If extra space is required for content, use the size handle on this shape to extend the right edge of the shape to the “2/3rds” slide ruler mark.</a:t>
                </a:r>
              </a:p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Turn on guides (View &gt; Guides) to enable snapping.</a:t>
                </a:r>
              </a:p>
            </p:txBody>
          </p:sp>
        </p:grpSp>
      </p:grpSp>
      <p:sp>
        <p:nvSpPr>
          <p:cNvPr id="500" name="Caption">
            <a:extLst>
              <a:ext uri="{FF2B5EF4-FFF2-40B4-BE49-F238E27FC236}">
                <a16:creationId xmlns:a16="http://schemas.microsoft.com/office/drawing/2014/main" id="{659A1A30-0D40-E04A-93E5-5EBF0216ED61}"/>
              </a:ext>
            </a:extLst>
          </p:cNvPr>
          <p:cNvSpPr>
            <a:spLocks noGrp="1"/>
          </p:cNvSpPr>
          <p:nvPr>
            <p:ph type="body" sz="quarter" idx="500" hasCustomPrompt="1"/>
          </p:nvPr>
        </p:nvSpPr>
        <p:spPr>
          <a:xfrm>
            <a:off x="5960285" y="4650582"/>
            <a:ext cx="2742875" cy="114262"/>
          </a:xfrm>
          <a:effectLst/>
        </p:spPr>
        <p:txBody>
          <a:bodyPr wrap="square" anchor="b">
            <a:sp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 b="0">
                <a:solidFill>
                  <a:schemeClr val="bg1"/>
                </a:solidFill>
                <a:effectLst/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photo caption</a:t>
            </a:r>
          </a:p>
        </p:txBody>
      </p:sp>
    </p:spTree>
    <p:extLst>
      <p:ext uri="{BB962C8B-B14F-4D97-AF65-F5344CB8AC3E}">
        <p14:creationId xmlns:p14="http://schemas.microsoft.com/office/powerpoint/2010/main" val="3967466453"/>
      </p:ext>
    </p:extLst>
  </p:cSld>
  <p:clrMapOvr>
    <a:overrideClrMapping bg1="lt1" tx1="dk1" bg2="lt2" tx2="dk2" accent1="accent1" accent2="accent2" accent3="accent3" accent4="accent4" accent5="accent5" accent6="accent6" hlink="lt1" folHlink="lt1"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ngle Large Stat Over Photo (Ful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TextBox 91">
            <a:extLst>
              <a:ext uri="{FF2B5EF4-FFF2-40B4-BE49-F238E27FC236}">
                <a16:creationId xmlns:a16="http://schemas.microsoft.com/office/drawing/2014/main" id="{23B4BB76-40B0-E54D-B448-1587B8F2254F}"/>
              </a:ext>
            </a:extLst>
          </p:cNvPr>
          <p:cNvSpPr txBox="1">
            <a:spLocks/>
          </p:cNvSpPr>
          <p:nvPr userDrawn="1"/>
        </p:nvSpPr>
        <p:spPr>
          <a:xfrm>
            <a:off x="0" y="4650582"/>
            <a:ext cx="9144000" cy="492919"/>
          </a:xfrm>
          <a:custGeom>
            <a:avLst/>
            <a:gdLst>
              <a:gd name="connsiteX0" fmla="*/ 8545321 w 9144000"/>
              <a:gd name="connsiteY0" fmla="*/ 376500 h 657225"/>
              <a:gd name="connsiteX1" fmla="*/ 8554631 w 9144000"/>
              <a:gd name="connsiteY1" fmla="*/ 376500 h 657225"/>
              <a:gd name="connsiteX2" fmla="*/ 8572756 w 9144000"/>
              <a:gd name="connsiteY2" fmla="*/ 391789 h 657225"/>
              <a:gd name="connsiteX3" fmla="*/ 8552841 w 9144000"/>
              <a:gd name="connsiteY3" fmla="*/ 407812 h 657225"/>
              <a:gd name="connsiteX4" fmla="*/ 8552841 w 9144000"/>
              <a:gd name="connsiteY4" fmla="*/ 407699 h 657225"/>
              <a:gd name="connsiteX5" fmla="*/ 8545321 w 9144000"/>
              <a:gd name="connsiteY5" fmla="*/ 407699 h 657225"/>
              <a:gd name="connsiteX6" fmla="*/ 8440532 w 9144000"/>
              <a:gd name="connsiteY6" fmla="*/ 375390 h 657225"/>
              <a:gd name="connsiteX7" fmla="*/ 8450870 w 9144000"/>
              <a:gd name="connsiteY7" fmla="*/ 375390 h 657225"/>
              <a:gd name="connsiteX8" fmla="*/ 8486566 w 9144000"/>
              <a:gd name="connsiteY8" fmla="*/ 406439 h 657225"/>
              <a:gd name="connsiteX9" fmla="*/ 8452487 w 9144000"/>
              <a:gd name="connsiteY9" fmla="*/ 439520 h 657225"/>
              <a:gd name="connsiteX10" fmla="*/ 8440532 w 9144000"/>
              <a:gd name="connsiteY10" fmla="*/ 439520 h 657225"/>
              <a:gd name="connsiteX11" fmla="*/ 8359313 w 9144000"/>
              <a:gd name="connsiteY11" fmla="*/ 353970 h 657225"/>
              <a:gd name="connsiteX12" fmla="*/ 8357847 w 9144000"/>
              <a:gd name="connsiteY12" fmla="*/ 357073 h 657225"/>
              <a:gd name="connsiteX13" fmla="*/ 8338066 w 9144000"/>
              <a:gd name="connsiteY13" fmla="*/ 398879 h 657225"/>
              <a:gd name="connsiteX14" fmla="*/ 8338066 w 9144000"/>
              <a:gd name="connsiteY14" fmla="*/ 460790 h 657225"/>
              <a:gd name="connsiteX15" fmla="*/ 8406529 w 9144000"/>
              <a:gd name="connsiteY15" fmla="*/ 460790 h 657225"/>
              <a:gd name="connsiteX16" fmla="*/ 8406529 w 9144000"/>
              <a:gd name="connsiteY16" fmla="*/ 438203 h 657225"/>
              <a:gd name="connsiteX17" fmla="*/ 8363159 w 9144000"/>
              <a:gd name="connsiteY17" fmla="*/ 438203 h 657225"/>
              <a:gd name="connsiteX18" fmla="*/ 8363159 w 9144000"/>
              <a:gd name="connsiteY18" fmla="*/ 417366 h 657225"/>
              <a:gd name="connsiteX19" fmla="*/ 8402683 w 9144000"/>
              <a:gd name="connsiteY19" fmla="*/ 417366 h 657225"/>
              <a:gd name="connsiteX20" fmla="*/ 8402683 w 9144000"/>
              <a:gd name="connsiteY20" fmla="*/ 395795 h 657225"/>
              <a:gd name="connsiteX21" fmla="*/ 8363159 w 9144000"/>
              <a:gd name="connsiteY21" fmla="*/ 395795 h 657225"/>
              <a:gd name="connsiteX22" fmla="*/ 8363159 w 9144000"/>
              <a:gd name="connsiteY22" fmla="*/ 376707 h 657225"/>
              <a:gd name="connsiteX23" fmla="*/ 8406529 w 9144000"/>
              <a:gd name="connsiteY23" fmla="*/ 376707 h 657225"/>
              <a:gd name="connsiteX24" fmla="*/ 8406529 w 9144000"/>
              <a:gd name="connsiteY24" fmla="*/ 353970 h 657225"/>
              <a:gd name="connsiteX25" fmla="*/ 8245576 w 9144000"/>
              <a:gd name="connsiteY25" fmla="*/ 353951 h 657225"/>
              <a:gd name="connsiteX26" fmla="*/ 8262083 w 9144000"/>
              <a:gd name="connsiteY26" fmla="*/ 388348 h 657225"/>
              <a:gd name="connsiteX27" fmla="*/ 8288527 w 9144000"/>
              <a:gd name="connsiteY27" fmla="*/ 388348 h 657225"/>
              <a:gd name="connsiteX28" fmla="*/ 8273963 w 9144000"/>
              <a:gd name="connsiteY28" fmla="*/ 353951 h 657225"/>
              <a:gd name="connsiteX29" fmla="*/ 8520246 w 9144000"/>
              <a:gd name="connsiteY29" fmla="*/ 353932 h 657225"/>
              <a:gd name="connsiteX30" fmla="*/ 8520246 w 9144000"/>
              <a:gd name="connsiteY30" fmla="*/ 460789 h 657225"/>
              <a:gd name="connsiteX31" fmla="*/ 8545321 w 9144000"/>
              <a:gd name="connsiteY31" fmla="*/ 460789 h 657225"/>
              <a:gd name="connsiteX32" fmla="*/ 8545321 w 9144000"/>
              <a:gd name="connsiteY32" fmla="*/ 429157 h 657225"/>
              <a:gd name="connsiteX33" fmla="*/ 8554631 w 9144000"/>
              <a:gd name="connsiteY33" fmla="*/ 429157 h 657225"/>
              <a:gd name="connsiteX34" fmla="*/ 8598420 w 9144000"/>
              <a:gd name="connsiteY34" fmla="*/ 391244 h 657225"/>
              <a:gd name="connsiteX35" fmla="*/ 8550347 w 9144000"/>
              <a:gd name="connsiteY35" fmla="*/ 353932 h 657225"/>
              <a:gd name="connsiteX36" fmla="*/ 8415496 w 9144000"/>
              <a:gd name="connsiteY36" fmla="*/ 353932 h 657225"/>
              <a:gd name="connsiteX37" fmla="*/ 8415496 w 9144000"/>
              <a:gd name="connsiteY37" fmla="*/ 460695 h 657225"/>
              <a:gd name="connsiteX38" fmla="*/ 8448547 w 9144000"/>
              <a:gd name="connsiteY38" fmla="*/ 460808 h 657225"/>
              <a:gd name="connsiteX39" fmla="*/ 8513278 w 9144000"/>
              <a:gd name="connsiteY39" fmla="*/ 406439 h 657225"/>
              <a:gd name="connsiteX40" fmla="*/ 8447462 w 9144000"/>
              <a:gd name="connsiteY40" fmla="*/ 353970 h 657225"/>
              <a:gd name="connsiteX41" fmla="*/ 8447500 w 9144000"/>
              <a:gd name="connsiteY41" fmla="*/ 353932 h 657225"/>
              <a:gd name="connsiteX42" fmla="*/ 8415496 w 9144000"/>
              <a:gd name="connsiteY42" fmla="*/ 353932 h 657225"/>
              <a:gd name="connsiteX43" fmla="*/ 8323901 w 9144000"/>
              <a:gd name="connsiteY43" fmla="*/ 353932 h 657225"/>
              <a:gd name="connsiteX44" fmla="*/ 8298694 w 9144000"/>
              <a:gd name="connsiteY44" fmla="*/ 411874 h 657225"/>
              <a:gd name="connsiteX45" fmla="*/ 8291859 w 9144000"/>
              <a:gd name="connsiteY45" fmla="*/ 395870 h 657225"/>
              <a:gd name="connsiteX46" fmla="*/ 8265624 w 9144000"/>
              <a:gd name="connsiteY46" fmla="*/ 395870 h 657225"/>
              <a:gd name="connsiteX47" fmla="*/ 8296943 w 9144000"/>
              <a:gd name="connsiteY47" fmla="*/ 461203 h 657225"/>
              <a:gd name="connsiteX48" fmla="*/ 8299856 w 9144000"/>
              <a:gd name="connsiteY48" fmla="*/ 461203 h 657225"/>
              <a:gd name="connsiteX49" fmla="*/ 8350594 w 9144000"/>
              <a:gd name="connsiteY49" fmla="*/ 353932 h 657225"/>
              <a:gd name="connsiteX50" fmla="*/ 8704282 w 9144000"/>
              <a:gd name="connsiteY50" fmla="*/ 315373 h 657225"/>
              <a:gd name="connsiteX51" fmla="*/ 8704282 w 9144000"/>
              <a:gd name="connsiteY51" fmla="*/ 489998 h 657225"/>
              <a:gd name="connsiteX52" fmla="*/ 8723671 w 9144000"/>
              <a:gd name="connsiteY52" fmla="*/ 489998 h 657225"/>
              <a:gd name="connsiteX53" fmla="*/ 8723671 w 9144000"/>
              <a:gd name="connsiteY53" fmla="*/ 315373 h 657225"/>
              <a:gd name="connsiteX54" fmla="*/ 0 w 9144000"/>
              <a:gd name="connsiteY54" fmla="*/ 0 h 657225"/>
              <a:gd name="connsiteX55" fmla="*/ 9144000 w 9144000"/>
              <a:gd name="connsiteY55" fmla="*/ 0 h 657225"/>
              <a:gd name="connsiteX56" fmla="*/ 9144000 w 9144000"/>
              <a:gd name="connsiteY56" fmla="*/ 657225 h 657225"/>
              <a:gd name="connsiteX57" fmla="*/ 0 w 9144000"/>
              <a:gd name="connsiteY57" fmla="*/ 657225 h 657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9144000" h="657225">
                <a:moveTo>
                  <a:pt x="8545321" y="376500"/>
                </a:moveTo>
                <a:lnTo>
                  <a:pt x="8554631" y="376500"/>
                </a:lnTo>
                <a:cubicBezTo>
                  <a:pt x="8567006" y="376500"/>
                  <a:pt x="8572756" y="383195"/>
                  <a:pt x="8572756" y="391789"/>
                </a:cubicBezTo>
                <a:cubicBezTo>
                  <a:pt x="8572756" y="402133"/>
                  <a:pt x="8566130" y="407812"/>
                  <a:pt x="8552841" y="407812"/>
                </a:cubicBezTo>
                <a:lnTo>
                  <a:pt x="8552841" y="407699"/>
                </a:lnTo>
                <a:lnTo>
                  <a:pt x="8545321" y="407699"/>
                </a:lnTo>
                <a:close/>
                <a:moveTo>
                  <a:pt x="8440532" y="375390"/>
                </a:moveTo>
                <a:lnTo>
                  <a:pt x="8450870" y="375390"/>
                </a:lnTo>
                <a:cubicBezTo>
                  <a:pt x="8474172" y="375390"/>
                  <a:pt x="8486566" y="387050"/>
                  <a:pt x="8486566" y="406439"/>
                </a:cubicBezTo>
                <a:cubicBezTo>
                  <a:pt x="8486566" y="426412"/>
                  <a:pt x="8476095" y="439520"/>
                  <a:pt x="8452487" y="439520"/>
                </a:cubicBezTo>
                <a:lnTo>
                  <a:pt x="8440532" y="439520"/>
                </a:lnTo>
                <a:close/>
                <a:moveTo>
                  <a:pt x="8359313" y="353970"/>
                </a:moveTo>
                <a:lnTo>
                  <a:pt x="8357847" y="357073"/>
                </a:lnTo>
                <a:lnTo>
                  <a:pt x="8338066" y="398879"/>
                </a:lnTo>
                <a:lnTo>
                  <a:pt x="8338066" y="460790"/>
                </a:lnTo>
                <a:lnTo>
                  <a:pt x="8406529" y="460790"/>
                </a:lnTo>
                <a:lnTo>
                  <a:pt x="8406529" y="438203"/>
                </a:lnTo>
                <a:lnTo>
                  <a:pt x="8363159" y="438203"/>
                </a:lnTo>
                <a:lnTo>
                  <a:pt x="8363159" y="417366"/>
                </a:lnTo>
                <a:lnTo>
                  <a:pt x="8402683" y="417366"/>
                </a:lnTo>
                <a:lnTo>
                  <a:pt x="8402683" y="395795"/>
                </a:lnTo>
                <a:lnTo>
                  <a:pt x="8363159" y="395795"/>
                </a:lnTo>
                <a:lnTo>
                  <a:pt x="8363159" y="376707"/>
                </a:lnTo>
                <a:lnTo>
                  <a:pt x="8406529" y="376707"/>
                </a:lnTo>
                <a:lnTo>
                  <a:pt x="8406529" y="353970"/>
                </a:lnTo>
                <a:close/>
                <a:moveTo>
                  <a:pt x="8245576" y="353951"/>
                </a:moveTo>
                <a:lnTo>
                  <a:pt x="8262083" y="388348"/>
                </a:lnTo>
                <a:lnTo>
                  <a:pt x="8288527" y="388348"/>
                </a:lnTo>
                <a:lnTo>
                  <a:pt x="8273963" y="353951"/>
                </a:lnTo>
                <a:close/>
                <a:moveTo>
                  <a:pt x="8520246" y="353932"/>
                </a:moveTo>
                <a:lnTo>
                  <a:pt x="8520246" y="460789"/>
                </a:lnTo>
                <a:lnTo>
                  <a:pt x="8545321" y="460789"/>
                </a:lnTo>
                <a:lnTo>
                  <a:pt x="8545321" y="429157"/>
                </a:lnTo>
                <a:lnTo>
                  <a:pt x="8554631" y="429157"/>
                </a:lnTo>
                <a:cubicBezTo>
                  <a:pt x="8583189" y="429157"/>
                  <a:pt x="8598420" y="413266"/>
                  <a:pt x="8598420" y="391244"/>
                </a:cubicBezTo>
                <a:cubicBezTo>
                  <a:pt x="8598439" y="369711"/>
                  <a:pt x="8581628" y="353932"/>
                  <a:pt x="8550347" y="353932"/>
                </a:cubicBezTo>
                <a:close/>
                <a:moveTo>
                  <a:pt x="8415496" y="353932"/>
                </a:moveTo>
                <a:lnTo>
                  <a:pt x="8415496" y="460695"/>
                </a:lnTo>
                <a:cubicBezTo>
                  <a:pt x="8415496" y="460695"/>
                  <a:pt x="8435867" y="460808"/>
                  <a:pt x="8448547" y="460808"/>
                </a:cubicBezTo>
                <a:cubicBezTo>
                  <a:pt x="8493382" y="460808"/>
                  <a:pt x="8513278" y="437921"/>
                  <a:pt x="8513278" y="406439"/>
                </a:cubicBezTo>
                <a:cubicBezTo>
                  <a:pt x="8513278" y="376349"/>
                  <a:pt x="8492335" y="353970"/>
                  <a:pt x="8447462" y="353970"/>
                </a:cubicBezTo>
                <a:lnTo>
                  <a:pt x="8447500" y="353932"/>
                </a:lnTo>
                <a:cubicBezTo>
                  <a:pt x="8436743" y="353932"/>
                  <a:pt x="8415496" y="353932"/>
                  <a:pt x="8415496" y="353932"/>
                </a:cubicBezTo>
                <a:close/>
                <a:moveTo>
                  <a:pt x="8323901" y="353932"/>
                </a:moveTo>
                <a:lnTo>
                  <a:pt x="8298694" y="411874"/>
                </a:lnTo>
                <a:lnTo>
                  <a:pt x="8291859" y="395870"/>
                </a:lnTo>
                <a:lnTo>
                  <a:pt x="8265624" y="395870"/>
                </a:lnTo>
                <a:lnTo>
                  <a:pt x="8296943" y="461203"/>
                </a:lnTo>
                <a:lnTo>
                  <a:pt x="8299856" y="461203"/>
                </a:lnTo>
                <a:lnTo>
                  <a:pt x="8350594" y="353932"/>
                </a:lnTo>
                <a:close/>
                <a:moveTo>
                  <a:pt x="8704282" y="315373"/>
                </a:moveTo>
                <a:lnTo>
                  <a:pt x="8704282" y="489998"/>
                </a:lnTo>
                <a:lnTo>
                  <a:pt x="8723671" y="489998"/>
                </a:lnTo>
                <a:lnTo>
                  <a:pt x="8723671" y="315373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57225"/>
                </a:lnTo>
                <a:lnTo>
                  <a:pt x="0" y="65722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Wingdings" pitchFamily="2" charset="2"/>
              <a:buNone/>
              <a:defRPr sz="1400" b="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7850" indent="-30162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5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59B1C78-E256-DF49-A6F9-68ADE4F58193}"/>
              </a:ext>
            </a:extLst>
          </p:cNvPr>
          <p:cNvGrpSpPr/>
          <p:nvPr userDrawn="1"/>
        </p:nvGrpSpPr>
        <p:grpSpPr>
          <a:xfrm>
            <a:off x="-254939" y="-183169"/>
            <a:ext cx="9657928" cy="5511516"/>
            <a:chOff x="-254939" y="-244225"/>
            <a:chExt cx="9657928" cy="7348688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85C25219-E915-0247-86A1-22585D6E3093}"/>
                </a:ext>
              </a:extLst>
            </p:cNvPr>
            <p:cNvGrpSpPr/>
            <p:nvPr userDrawn="1"/>
          </p:nvGrpSpPr>
          <p:grpSpPr>
            <a:xfrm>
              <a:off x="433266" y="6867287"/>
              <a:ext cx="8280398" cy="235792"/>
              <a:chOff x="431801" y="-235792"/>
              <a:chExt cx="4400550" cy="235792"/>
            </a:xfrm>
          </p:grpSpPr>
          <p:cxnSp>
            <p:nvCxnSpPr>
              <p:cNvPr id="57" name="Straight Connector 56">
                <a:extLst>
                  <a:ext uri="{FF2B5EF4-FFF2-40B4-BE49-F238E27FC236}">
                    <a16:creationId xmlns:a16="http://schemas.microsoft.com/office/drawing/2014/main" id="{E473508A-53E9-294C-8A55-AA67E2E362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Connector 57">
                <a:extLst>
                  <a:ext uri="{FF2B5EF4-FFF2-40B4-BE49-F238E27FC236}">
                    <a16:creationId xmlns:a16="http://schemas.microsoft.com/office/drawing/2014/main" id="{AEE1771F-109C-B54D-8B81-A3B0F5D0C42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31062115-5946-2E4B-8C29-C85175435B4D}"/>
                </a:ext>
              </a:extLst>
            </p:cNvPr>
            <p:cNvGrpSpPr/>
            <p:nvPr userDrawn="1"/>
          </p:nvGrpSpPr>
          <p:grpSpPr>
            <a:xfrm>
              <a:off x="-254939" y="6202098"/>
              <a:ext cx="251461" cy="505509"/>
              <a:chOff x="-256403" y="6200775"/>
              <a:chExt cx="251461" cy="505509"/>
            </a:xfrm>
          </p:grpSpPr>
          <p:grpSp>
            <p:nvGrpSpPr>
              <p:cNvPr id="60" name="Group 59">
                <a:extLst>
                  <a:ext uri="{FF2B5EF4-FFF2-40B4-BE49-F238E27FC236}">
                    <a16:creationId xmlns:a16="http://schemas.microsoft.com/office/drawing/2014/main" id="{47C326A5-BE4B-1442-AC13-B44C5D4792CF}"/>
                  </a:ext>
                </a:extLst>
              </p:cNvPr>
              <p:cNvGrpSpPr/>
              <p:nvPr userDrawn="1"/>
            </p:nvGrpSpPr>
            <p:grpSpPr>
              <a:xfrm rot="16200000">
                <a:off x="-383427" y="6327799"/>
                <a:ext cx="505509" cy="251461"/>
                <a:chOff x="431800" y="-235792"/>
                <a:chExt cx="4400551" cy="235792"/>
              </a:xfrm>
            </p:grpSpPr>
            <p:cxnSp>
              <p:nvCxnSpPr>
                <p:cNvPr id="62" name="Straight Connector 61">
                  <a:extLst>
                    <a:ext uri="{FF2B5EF4-FFF2-40B4-BE49-F238E27FC236}">
                      <a16:creationId xmlns:a16="http://schemas.microsoft.com/office/drawing/2014/main" id="{DBB5637D-AB15-E04F-A1B6-3A283BA1C6F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" name="Straight Connector 62">
                  <a:extLst>
                    <a:ext uri="{FF2B5EF4-FFF2-40B4-BE49-F238E27FC236}">
                      <a16:creationId xmlns:a16="http://schemas.microsoft.com/office/drawing/2014/main" id="{A1D7E4D6-88A2-7E4B-9284-DCED9F79105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4" name="Rectangle 63">
                  <a:extLst>
                    <a:ext uri="{FF2B5EF4-FFF2-40B4-BE49-F238E27FC236}">
                      <a16:creationId xmlns:a16="http://schemas.microsoft.com/office/drawing/2014/main" id="{F393F5F7-24EF-2745-BC86-DF4C9F389FCB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</p:grp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F75E910D-9604-9D4F-90E2-EF81D37C867B}"/>
                  </a:ext>
                </a:extLst>
              </p:cNvPr>
              <p:cNvSpPr txBox="1"/>
              <p:nvPr userDrawn="1"/>
            </p:nvSpPr>
            <p:spPr>
              <a:xfrm rot="16200000">
                <a:off x="-311278" y="6399802"/>
                <a:ext cx="361210" cy="129266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sz="5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 FOOT </a:t>
                </a:r>
                <a:br>
                  <a:rPr lang="en-US" sz="5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</a:br>
                <a:r>
                  <a:rPr lang="en-US" sz="5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 NOTES </a:t>
                </a:r>
              </a:p>
            </p:txBody>
          </p: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292BBFA4-5FEF-524D-AD01-F867D593722F}"/>
                </a:ext>
              </a:extLst>
            </p:cNvPr>
            <p:cNvGrpSpPr/>
            <p:nvPr userDrawn="1"/>
          </p:nvGrpSpPr>
          <p:grpSpPr>
            <a:xfrm>
              <a:off x="433264" y="-244225"/>
              <a:ext cx="8280400" cy="235792"/>
              <a:chOff x="431800" y="-240735"/>
              <a:chExt cx="8280400" cy="235792"/>
            </a:xfrm>
          </p:grpSpPr>
          <p:grpSp>
            <p:nvGrpSpPr>
              <p:cNvPr id="66" name="Group 65">
                <a:extLst>
                  <a:ext uri="{FF2B5EF4-FFF2-40B4-BE49-F238E27FC236}">
                    <a16:creationId xmlns:a16="http://schemas.microsoft.com/office/drawing/2014/main" id="{5A2E8C57-7A20-F840-9308-5611AA6C77E3}"/>
                  </a:ext>
                </a:extLst>
              </p:cNvPr>
              <p:cNvGrpSpPr/>
              <p:nvPr userDrawn="1"/>
            </p:nvGrpSpPr>
            <p:grpSpPr>
              <a:xfrm>
                <a:off x="431800" y="-240735"/>
                <a:ext cx="8280400" cy="235792"/>
                <a:chOff x="431800" y="-235792"/>
                <a:chExt cx="4400551" cy="235792"/>
              </a:xfrm>
            </p:grpSpPr>
            <p:cxnSp>
              <p:nvCxnSpPr>
                <p:cNvPr id="70" name="Straight Connector 69">
                  <a:extLst>
                    <a:ext uri="{FF2B5EF4-FFF2-40B4-BE49-F238E27FC236}">
                      <a16:creationId xmlns:a16="http://schemas.microsoft.com/office/drawing/2014/main" id="{35EF9DEA-530C-4B42-B0F7-9C7D4C25A0A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1" name="Straight Connector 70">
                  <a:extLst>
                    <a:ext uri="{FF2B5EF4-FFF2-40B4-BE49-F238E27FC236}">
                      <a16:creationId xmlns:a16="http://schemas.microsoft.com/office/drawing/2014/main" id="{B71C38FE-1DD7-7B4D-B6D4-CEB6C6D31A2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2" name="Rectangle 71">
                  <a:extLst>
                    <a:ext uri="{FF2B5EF4-FFF2-40B4-BE49-F238E27FC236}">
                      <a16:creationId xmlns:a16="http://schemas.microsoft.com/office/drawing/2014/main" id="{B274FA2B-3A29-0F4D-A4D3-1E12B5D4CEF3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</p:grpSp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AF99FA91-ECED-4D43-BCE4-7FAD08FA3B04}"/>
                  </a:ext>
                </a:extLst>
              </p:cNvPr>
              <p:cNvSpPr txBox="1"/>
              <p:nvPr userDrawn="1"/>
            </p:nvSpPr>
            <p:spPr>
              <a:xfrm>
                <a:off x="3864230" y="-176700"/>
                <a:ext cx="1415553" cy="107721"/>
              </a:xfrm>
              <a:prstGeom prst="rect">
                <a:avLst/>
              </a:prstGeom>
            </p:spPr>
            <p:txBody>
              <a:bodyPr vert="horz" wrap="none" lIns="108000" tIns="0" rIns="108000" bIns="0" rtlCol="0" anchor="ctr">
                <a:spAutoFit/>
              </a:bodyPr>
              <a:lstStyle/>
              <a:p>
                <a:pPr algn="ctr"/>
                <a:r>
                  <a:rPr lang="en-US" sz="5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 KEEP CONTENT WITHIN THIS AREA </a:t>
                </a:r>
              </a:p>
            </p:txBody>
          </p:sp>
          <p:cxnSp>
            <p:nvCxnSpPr>
              <p:cNvPr id="68" name="Straight Arrow Connector 67">
                <a:extLst>
                  <a:ext uri="{FF2B5EF4-FFF2-40B4-BE49-F238E27FC236}">
                    <a16:creationId xmlns:a16="http://schemas.microsoft.com/office/drawing/2014/main" id="{B34B6B73-1081-0E44-AF98-571C7E0BD066}"/>
                  </a:ext>
                </a:extLst>
              </p:cNvPr>
              <p:cNvCxnSpPr>
                <a:cxnSpLocks/>
                <a:stCxn id="67" idx="1"/>
                <a:endCxn id="72" idx="2"/>
              </p:cNvCxnSpPr>
              <p:nvPr userDrawn="1"/>
            </p:nvCxnSpPr>
            <p:spPr>
              <a:xfrm flipH="1">
                <a:off x="431800" y="-122839"/>
                <a:ext cx="3432430" cy="1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Arrow Connector 68">
                <a:extLst>
                  <a:ext uri="{FF2B5EF4-FFF2-40B4-BE49-F238E27FC236}">
                    <a16:creationId xmlns:a16="http://schemas.microsoft.com/office/drawing/2014/main" id="{3CF09107-5C11-FD44-BFDC-AE93DE20F6F2}"/>
                  </a:ext>
                </a:extLst>
              </p:cNvPr>
              <p:cNvCxnSpPr>
                <a:cxnSpLocks/>
                <a:stCxn id="67" idx="3"/>
                <a:endCxn id="72" idx="0"/>
              </p:cNvCxnSpPr>
              <p:nvPr userDrawn="1"/>
            </p:nvCxnSpPr>
            <p:spPr>
              <a:xfrm>
                <a:off x="5279783" y="-122839"/>
                <a:ext cx="3432417" cy="0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D62B5D38-D820-3845-8687-4B3E3C84C708}"/>
                </a:ext>
              </a:extLst>
            </p:cNvPr>
            <p:cNvGrpSpPr/>
            <p:nvPr userDrawn="1"/>
          </p:nvGrpSpPr>
          <p:grpSpPr>
            <a:xfrm rot="16200000">
              <a:off x="9024504" y="6329122"/>
              <a:ext cx="505509" cy="251461"/>
              <a:chOff x="431801" y="-235792"/>
              <a:chExt cx="4400550" cy="235792"/>
            </a:xfrm>
          </p:grpSpPr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4872C320-D6C1-DA4E-9AD7-B7A0A8B4D5B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EAF17C3F-BCF7-E84D-B2B3-0197BB3DE5F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B6482D8A-4DDA-CF4B-9EFA-753740F85D70}"/>
                </a:ext>
              </a:extLst>
            </p:cNvPr>
            <p:cNvGrpSpPr/>
            <p:nvPr userDrawn="1"/>
          </p:nvGrpSpPr>
          <p:grpSpPr>
            <a:xfrm>
              <a:off x="-254939" y="420689"/>
              <a:ext cx="9657928" cy="5746484"/>
              <a:chOff x="-254939" y="1236195"/>
              <a:chExt cx="9657928" cy="4930977"/>
            </a:xfrm>
          </p:grpSpPr>
          <p:grpSp>
            <p:nvGrpSpPr>
              <p:cNvPr id="73" name="Group 72">
                <a:extLst>
                  <a:ext uri="{FF2B5EF4-FFF2-40B4-BE49-F238E27FC236}">
                    <a16:creationId xmlns:a16="http://schemas.microsoft.com/office/drawing/2014/main" id="{BA0B2552-2063-B94B-8753-4FFD2EFDAEFA}"/>
                  </a:ext>
                </a:extLst>
              </p:cNvPr>
              <p:cNvGrpSpPr/>
              <p:nvPr userDrawn="1"/>
            </p:nvGrpSpPr>
            <p:grpSpPr>
              <a:xfrm>
                <a:off x="-254939" y="1236195"/>
                <a:ext cx="251461" cy="4930977"/>
                <a:chOff x="-256403" y="1304924"/>
                <a:chExt cx="251461" cy="4843215"/>
              </a:xfrm>
            </p:grpSpPr>
            <p:grpSp>
              <p:nvGrpSpPr>
                <p:cNvPr id="74" name="Group 73">
                  <a:extLst>
                    <a:ext uri="{FF2B5EF4-FFF2-40B4-BE49-F238E27FC236}">
                      <a16:creationId xmlns:a16="http://schemas.microsoft.com/office/drawing/2014/main" id="{3E908781-EB9C-7F43-9C77-51D6DF0D08FB}"/>
                    </a:ext>
                  </a:extLst>
                </p:cNvPr>
                <p:cNvGrpSpPr/>
                <p:nvPr userDrawn="1"/>
              </p:nvGrpSpPr>
              <p:grpSpPr>
                <a:xfrm rot="16200000">
                  <a:off x="-2552280" y="3600801"/>
                  <a:ext cx="4843215" cy="251461"/>
                  <a:chOff x="431800" y="-235792"/>
                  <a:chExt cx="4400551" cy="235792"/>
                </a:xfrm>
              </p:grpSpPr>
              <p:cxnSp>
                <p:nvCxnSpPr>
                  <p:cNvPr id="80" name="Straight Connector 79">
                    <a:extLst>
                      <a:ext uri="{FF2B5EF4-FFF2-40B4-BE49-F238E27FC236}">
                        <a16:creationId xmlns:a16="http://schemas.microsoft.com/office/drawing/2014/main" id="{6348B6E7-397E-7443-A5B3-B13B784EE033}"/>
                      </a:ext>
                    </a:extLst>
                  </p:cNvPr>
                  <p:cNvCxnSpPr>
                    <a:cxnSpLocks/>
                  </p:cNvCxnSpPr>
                  <p:nvPr userDrawn="1"/>
                </p:nvCxnSpPr>
                <p:spPr>
                  <a:xfrm flipV="1">
                    <a:off x="4832351" y="-235792"/>
                    <a:ext cx="0" cy="235792"/>
                  </a:xfrm>
                  <a:prstGeom prst="line">
                    <a:avLst/>
                  </a:prstGeom>
                  <a:ln w="25400"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1" name="Straight Connector 80">
                    <a:extLst>
                      <a:ext uri="{FF2B5EF4-FFF2-40B4-BE49-F238E27FC236}">
                        <a16:creationId xmlns:a16="http://schemas.microsoft.com/office/drawing/2014/main" id="{DCC8C989-AEB2-1342-A4F6-C0CE5593C320}"/>
                      </a:ext>
                    </a:extLst>
                  </p:cNvPr>
                  <p:cNvCxnSpPr>
                    <a:cxnSpLocks/>
                  </p:cNvCxnSpPr>
                  <p:nvPr userDrawn="1"/>
                </p:nvCxnSpPr>
                <p:spPr>
                  <a:xfrm flipV="1">
                    <a:off x="431801" y="-235792"/>
                    <a:ext cx="0" cy="235791"/>
                  </a:xfrm>
                  <a:prstGeom prst="line">
                    <a:avLst/>
                  </a:prstGeom>
                  <a:ln w="25400"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82" name="Rectangle 81">
                    <a:extLst>
                      <a:ext uri="{FF2B5EF4-FFF2-40B4-BE49-F238E27FC236}">
                        <a16:creationId xmlns:a16="http://schemas.microsoft.com/office/drawing/2014/main" id="{E694B1DC-BFA9-8E48-96CE-C60F1DE2D2C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2514180" y="-2318172"/>
                    <a:ext cx="235791" cy="4400551"/>
                  </a:xfrm>
                  <a:prstGeom prst="rect">
                    <a:avLst/>
                  </a:prstGeom>
                  <a:solidFill>
                    <a:schemeClr val="accent2">
                      <a:alpha val="1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50"/>
                  </a:p>
                </p:txBody>
              </p:sp>
            </p:grpSp>
            <p:sp>
              <p:nvSpPr>
                <p:cNvPr id="75" name="TextBox 74">
                  <a:extLst>
                    <a:ext uri="{FF2B5EF4-FFF2-40B4-BE49-F238E27FC236}">
                      <a16:creationId xmlns:a16="http://schemas.microsoft.com/office/drawing/2014/main" id="{FC816E2B-0C94-D948-9F64-0CD5F0050148}"/>
                    </a:ext>
                  </a:extLst>
                </p:cNvPr>
                <p:cNvSpPr txBox="1"/>
                <p:nvPr userDrawn="1"/>
              </p:nvSpPr>
              <p:spPr>
                <a:xfrm rot="16200000">
                  <a:off x="-926036" y="3686135"/>
                  <a:ext cx="1590730" cy="80791"/>
                </a:xfrm>
                <a:prstGeom prst="rect">
                  <a:avLst/>
                </a:prstGeom>
              </p:spPr>
              <p:txBody>
                <a:bodyPr vert="horz" wrap="none" lIns="108000" tIns="0" rIns="108000" bIns="0" rtlCol="0" anchor="ctr">
                  <a:spAutoFit/>
                </a:bodyPr>
                <a:lstStyle/>
                <a:p>
                  <a:pPr algn="ctr"/>
                  <a:r>
                    <a:rPr lang="en-US" sz="5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 KEEP CONTENT WITHIN THIS AREA </a:t>
                  </a:r>
                </a:p>
              </p:txBody>
            </p:sp>
            <p:cxnSp>
              <p:nvCxnSpPr>
                <p:cNvPr id="76" name="Straight Arrow Connector 75">
                  <a:extLst>
                    <a:ext uri="{FF2B5EF4-FFF2-40B4-BE49-F238E27FC236}">
                      <a16:creationId xmlns:a16="http://schemas.microsoft.com/office/drawing/2014/main" id="{9C4CC1A9-A535-1144-8940-768AF7ABE4E6}"/>
                    </a:ext>
                  </a:extLst>
                </p:cNvPr>
                <p:cNvCxnSpPr>
                  <a:cxnSpLocks/>
                  <a:stCxn id="75" idx="1"/>
                </p:cNvCxnSpPr>
                <p:nvPr userDrawn="1"/>
              </p:nvCxnSpPr>
              <p:spPr>
                <a:xfrm flipH="1">
                  <a:off x="-130672" y="4521895"/>
                  <a:ext cx="1" cy="1626243"/>
                </a:xfrm>
                <a:prstGeom prst="straightConnector1">
                  <a:avLst/>
                </a:prstGeom>
                <a:ln>
                  <a:solidFill>
                    <a:schemeClr val="accent2"/>
                  </a:solidFill>
                  <a:tailEnd type="arrow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Straight Arrow Connector 76">
                  <a:extLst>
                    <a:ext uri="{FF2B5EF4-FFF2-40B4-BE49-F238E27FC236}">
                      <a16:creationId xmlns:a16="http://schemas.microsoft.com/office/drawing/2014/main" id="{019F48B9-23E2-DA45-B7FC-8F11E3B079C4}"/>
                    </a:ext>
                  </a:extLst>
                </p:cNvPr>
                <p:cNvCxnSpPr>
                  <a:cxnSpLocks/>
                  <a:stCxn id="75" idx="3"/>
                </p:cNvCxnSpPr>
                <p:nvPr userDrawn="1"/>
              </p:nvCxnSpPr>
              <p:spPr>
                <a:xfrm flipH="1" flipV="1">
                  <a:off x="-130673" y="1304928"/>
                  <a:ext cx="2" cy="1626237"/>
                </a:xfrm>
                <a:prstGeom prst="straightConnector1">
                  <a:avLst/>
                </a:prstGeom>
                <a:ln>
                  <a:solidFill>
                    <a:schemeClr val="accent2"/>
                  </a:solidFill>
                  <a:tailEnd type="arrow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5" name="Group 94">
                <a:extLst>
                  <a:ext uri="{FF2B5EF4-FFF2-40B4-BE49-F238E27FC236}">
                    <a16:creationId xmlns:a16="http://schemas.microsoft.com/office/drawing/2014/main" id="{D55D1E59-56A3-A24A-8DE5-328F3950FCC9}"/>
                  </a:ext>
                </a:extLst>
              </p:cNvPr>
              <p:cNvGrpSpPr/>
              <p:nvPr userDrawn="1"/>
            </p:nvGrpSpPr>
            <p:grpSpPr>
              <a:xfrm rot="16200000">
                <a:off x="6812666" y="3576847"/>
                <a:ext cx="4929186" cy="251461"/>
                <a:chOff x="431801" y="-235792"/>
                <a:chExt cx="4462347" cy="235792"/>
              </a:xfrm>
            </p:grpSpPr>
            <p:cxnSp>
              <p:nvCxnSpPr>
                <p:cNvPr id="96" name="Straight Connector 95">
                  <a:extLst>
                    <a:ext uri="{FF2B5EF4-FFF2-40B4-BE49-F238E27FC236}">
                      <a16:creationId xmlns:a16="http://schemas.microsoft.com/office/drawing/2014/main" id="{E20DEBD3-0096-5648-87C1-52DA194811CD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94148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7" name="Straight Connector 96">
                  <a:extLst>
                    <a:ext uri="{FF2B5EF4-FFF2-40B4-BE49-F238E27FC236}">
                      <a16:creationId xmlns:a16="http://schemas.microsoft.com/office/drawing/2014/main" id="{FBF68087-6890-E04C-840F-0B5D5B30DC9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5BB4E0DB-92A2-CE4B-A4D4-C21071C96CD3}"/>
                </a:ext>
              </a:extLst>
            </p:cNvPr>
            <p:cNvGrpSpPr/>
            <p:nvPr userDrawn="1"/>
          </p:nvGrpSpPr>
          <p:grpSpPr>
            <a:xfrm>
              <a:off x="3092964" y="6868673"/>
              <a:ext cx="2990828" cy="235790"/>
              <a:chOff x="3090931" y="6869197"/>
              <a:chExt cx="2990828" cy="235790"/>
            </a:xfrm>
          </p:grpSpPr>
          <p:grpSp>
            <p:nvGrpSpPr>
              <p:cNvPr id="99" name="Group 98">
                <a:extLst>
                  <a:ext uri="{FF2B5EF4-FFF2-40B4-BE49-F238E27FC236}">
                    <a16:creationId xmlns:a16="http://schemas.microsoft.com/office/drawing/2014/main" id="{57650860-F98A-2D48-91EC-A5A2807BDC6C}"/>
                  </a:ext>
                </a:extLst>
              </p:cNvPr>
              <p:cNvGrpSpPr/>
              <p:nvPr userDrawn="1"/>
            </p:nvGrpSpPr>
            <p:grpSpPr>
              <a:xfrm>
                <a:off x="3184525" y="6869197"/>
                <a:ext cx="2774950" cy="60992"/>
                <a:chOff x="3184525" y="6869196"/>
                <a:chExt cx="2774950" cy="235791"/>
              </a:xfrm>
            </p:grpSpPr>
            <p:cxnSp>
              <p:nvCxnSpPr>
                <p:cNvPr id="110" name="Straight Connector 109">
                  <a:extLst>
                    <a:ext uri="{FF2B5EF4-FFF2-40B4-BE49-F238E27FC236}">
                      <a16:creationId xmlns:a16="http://schemas.microsoft.com/office/drawing/2014/main" id="{C0D7E8B1-DE64-BA4B-916D-7BA67CF2D79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3184525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1" name="Straight Connector 110">
                  <a:extLst>
                    <a:ext uri="{FF2B5EF4-FFF2-40B4-BE49-F238E27FC236}">
                      <a16:creationId xmlns:a16="http://schemas.microsoft.com/office/drawing/2014/main" id="{347BA98E-93B4-5545-9E4E-912B913A534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569513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" name="Straight Connector 111">
                  <a:extLst>
                    <a:ext uri="{FF2B5EF4-FFF2-40B4-BE49-F238E27FC236}">
                      <a16:creationId xmlns:a16="http://schemas.microsoft.com/office/drawing/2014/main" id="{E53E46C5-BA51-D94B-A108-538A6E5925D0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5959475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00" name="TextBox 99">
                <a:extLst>
                  <a:ext uri="{FF2B5EF4-FFF2-40B4-BE49-F238E27FC236}">
                    <a16:creationId xmlns:a16="http://schemas.microsoft.com/office/drawing/2014/main" id="{18481EF9-B9B8-5944-A70D-4FBD6F01668A}"/>
                  </a:ext>
                </a:extLst>
              </p:cNvPr>
              <p:cNvSpPr txBox="1"/>
              <p:nvPr userDrawn="1"/>
            </p:nvSpPr>
            <p:spPr>
              <a:xfrm>
                <a:off x="3090931" y="6954537"/>
                <a:ext cx="214802" cy="861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sz="5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 1/3 </a:t>
                </a:r>
                <a:r>
                  <a:rPr lang="en-US" sz="488" kern="1200" baseline="300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 RD </a:t>
                </a:r>
              </a:p>
            </p:txBody>
          </p:sp>
          <p:sp>
            <p:nvSpPr>
              <p:cNvPr id="101" name="TextBox 100">
                <a:extLst>
                  <a:ext uri="{FF2B5EF4-FFF2-40B4-BE49-F238E27FC236}">
                    <a16:creationId xmlns:a16="http://schemas.microsoft.com/office/drawing/2014/main" id="{9B8FEDA2-CA5E-DB41-B9C8-5477A54FB095}"/>
                  </a:ext>
                </a:extLst>
              </p:cNvPr>
              <p:cNvSpPr txBox="1"/>
              <p:nvPr userDrawn="1"/>
            </p:nvSpPr>
            <p:spPr>
              <a:xfrm>
                <a:off x="4468354" y="6954537"/>
                <a:ext cx="209994" cy="861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sz="5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 HALF </a:t>
                </a:r>
              </a:p>
            </p:txBody>
          </p:sp>
          <p:sp>
            <p:nvSpPr>
              <p:cNvPr id="104" name="TextBox 103">
                <a:extLst>
                  <a:ext uri="{FF2B5EF4-FFF2-40B4-BE49-F238E27FC236}">
                    <a16:creationId xmlns:a16="http://schemas.microsoft.com/office/drawing/2014/main" id="{95AD9D7F-B960-1248-B6F7-12B9FEDAAF39}"/>
                  </a:ext>
                </a:extLst>
              </p:cNvPr>
              <p:cNvSpPr txBox="1"/>
              <p:nvPr userDrawn="1"/>
            </p:nvSpPr>
            <p:spPr>
              <a:xfrm>
                <a:off x="5839705" y="6954537"/>
                <a:ext cx="242054" cy="861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sz="5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 2/3 </a:t>
                </a:r>
                <a:r>
                  <a:rPr lang="en-US" sz="488" baseline="300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 RDS </a:t>
                </a:r>
              </a:p>
            </p:txBody>
          </p:sp>
          <p:grpSp>
            <p:nvGrpSpPr>
              <p:cNvPr id="106" name="Group 105">
                <a:extLst>
                  <a:ext uri="{FF2B5EF4-FFF2-40B4-BE49-F238E27FC236}">
                    <a16:creationId xmlns:a16="http://schemas.microsoft.com/office/drawing/2014/main" id="{F018DC65-22A5-C346-8BF0-7E16A1FC62E9}"/>
                  </a:ext>
                </a:extLst>
              </p:cNvPr>
              <p:cNvGrpSpPr/>
              <p:nvPr userDrawn="1"/>
            </p:nvGrpSpPr>
            <p:grpSpPr>
              <a:xfrm>
                <a:off x="3184525" y="7040714"/>
                <a:ext cx="2774950" cy="64273"/>
                <a:chOff x="3184525" y="6869196"/>
                <a:chExt cx="2774950" cy="235791"/>
              </a:xfrm>
            </p:grpSpPr>
            <p:cxnSp>
              <p:nvCxnSpPr>
                <p:cNvPr id="107" name="Straight Connector 106">
                  <a:extLst>
                    <a:ext uri="{FF2B5EF4-FFF2-40B4-BE49-F238E27FC236}">
                      <a16:creationId xmlns:a16="http://schemas.microsoft.com/office/drawing/2014/main" id="{E67C92E6-78A9-F947-92B0-F6468A7334E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3184525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8" name="Straight Connector 107">
                  <a:extLst>
                    <a:ext uri="{FF2B5EF4-FFF2-40B4-BE49-F238E27FC236}">
                      <a16:creationId xmlns:a16="http://schemas.microsoft.com/office/drawing/2014/main" id="{D27020A8-1DFE-AD41-98F4-8C87CFF0EEDB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569513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" name="Straight Connector 108">
                  <a:extLst>
                    <a:ext uri="{FF2B5EF4-FFF2-40B4-BE49-F238E27FC236}">
                      <a16:creationId xmlns:a16="http://schemas.microsoft.com/office/drawing/2014/main" id="{FADC7F65-2D38-BF45-951F-C8F488F9763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5959475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47" name="Picture Placeholder 10">
            <a:extLst>
              <a:ext uri="{FF2B5EF4-FFF2-40B4-BE49-F238E27FC236}">
                <a16:creationId xmlns:a16="http://schemas.microsoft.com/office/drawing/2014/main" id="{D9C96E41-86C9-6047-85B6-214B5F3F109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  <a:custGeom>
            <a:avLst/>
            <a:gdLst>
              <a:gd name="connsiteX0" fmla="*/ 8545321 w 9144000"/>
              <a:gd name="connsiteY0" fmla="*/ 6577275 h 6858000"/>
              <a:gd name="connsiteX1" fmla="*/ 8554631 w 9144000"/>
              <a:gd name="connsiteY1" fmla="*/ 6577275 h 6858000"/>
              <a:gd name="connsiteX2" fmla="*/ 8572756 w 9144000"/>
              <a:gd name="connsiteY2" fmla="*/ 6592564 h 6858000"/>
              <a:gd name="connsiteX3" fmla="*/ 8552841 w 9144000"/>
              <a:gd name="connsiteY3" fmla="*/ 6608587 h 6858000"/>
              <a:gd name="connsiteX4" fmla="*/ 8552841 w 9144000"/>
              <a:gd name="connsiteY4" fmla="*/ 6608474 h 6858000"/>
              <a:gd name="connsiteX5" fmla="*/ 8545321 w 9144000"/>
              <a:gd name="connsiteY5" fmla="*/ 6608474 h 6858000"/>
              <a:gd name="connsiteX6" fmla="*/ 8440532 w 9144000"/>
              <a:gd name="connsiteY6" fmla="*/ 6576165 h 6858000"/>
              <a:gd name="connsiteX7" fmla="*/ 8450870 w 9144000"/>
              <a:gd name="connsiteY7" fmla="*/ 6576165 h 6858000"/>
              <a:gd name="connsiteX8" fmla="*/ 8486566 w 9144000"/>
              <a:gd name="connsiteY8" fmla="*/ 6607214 h 6858000"/>
              <a:gd name="connsiteX9" fmla="*/ 8452487 w 9144000"/>
              <a:gd name="connsiteY9" fmla="*/ 6640295 h 6858000"/>
              <a:gd name="connsiteX10" fmla="*/ 8440532 w 9144000"/>
              <a:gd name="connsiteY10" fmla="*/ 6640295 h 6858000"/>
              <a:gd name="connsiteX11" fmla="*/ 8359313 w 9144000"/>
              <a:gd name="connsiteY11" fmla="*/ 6554745 h 6858000"/>
              <a:gd name="connsiteX12" fmla="*/ 8357847 w 9144000"/>
              <a:gd name="connsiteY12" fmla="*/ 6557848 h 6858000"/>
              <a:gd name="connsiteX13" fmla="*/ 8338066 w 9144000"/>
              <a:gd name="connsiteY13" fmla="*/ 6599654 h 6858000"/>
              <a:gd name="connsiteX14" fmla="*/ 8338066 w 9144000"/>
              <a:gd name="connsiteY14" fmla="*/ 6661565 h 6858000"/>
              <a:gd name="connsiteX15" fmla="*/ 8406529 w 9144000"/>
              <a:gd name="connsiteY15" fmla="*/ 6661565 h 6858000"/>
              <a:gd name="connsiteX16" fmla="*/ 8406529 w 9144000"/>
              <a:gd name="connsiteY16" fmla="*/ 6638978 h 6858000"/>
              <a:gd name="connsiteX17" fmla="*/ 8363159 w 9144000"/>
              <a:gd name="connsiteY17" fmla="*/ 6638978 h 6858000"/>
              <a:gd name="connsiteX18" fmla="*/ 8363159 w 9144000"/>
              <a:gd name="connsiteY18" fmla="*/ 6618141 h 6858000"/>
              <a:gd name="connsiteX19" fmla="*/ 8402683 w 9144000"/>
              <a:gd name="connsiteY19" fmla="*/ 6618141 h 6858000"/>
              <a:gd name="connsiteX20" fmla="*/ 8402683 w 9144000"/>
              <a:gd name="connsiteY20" fmla="*/ 6596570 h 6858000"/>
              <a:gd name="connsiteX21" fmla="*/ 8363159 w 9144000"/>
              <a:gd name="connsiteY21" fmla="*/ 6596570 h 6858000"/>
              <a:gd name="connsiteX22" fmla="*/ 8363159 w 9144000"/>
              <a:gd name="connsiteY22" fmla="*/ 6577482 h 6858000"/>
              <a:gd name="connsiteX23" fmla="*/ 8406529 w 9144000"/>
              <a:gd name="connsiteY23" fmla="*/ 6577482 h 6858000"/>
              <a:gd name="connsiteX24" fmla="*/ 8406529 w 9144000"/>
              <a:gd name="connsiteY24" fmla="*/ 6554745 h 6858000"/>
              <a:gd name="connsiteX25" fmla="*/ 8245576 w 9144000"/>
              <a:gd name="connsiteY25" fmla="*/ 6554726 h 6858000"/>
              <a:gd name="connsiteX26" fmla="*/ 8262083 w 9144000"/>
              <a:gd name="connsiteY26" fmla="*/ 6589123 h 6858000"/>
              <a:gd name="connsiteX27" fmla="*/ 8288527 w 9144000"/>
              <a:gd name="connsiteY27" fmla="*/ 6589123 h 6858000"/>
              <a:gd name="connsiteX28" fmla="*/ 8273963 w 9144000"/>
              <a:gd name="connsiteY28" fmla="*/ 6554726 h 6858000"/>
              <a:gd name="connsiteX29" fmla="*/ 8520246 w 9144000"/>
              <a:gd name="connsiteY29" fmla="*/ 6554707 h 6858000"/>
              <a:gd name="connsiteX30" fmla="*/ 8520246 w 9144000"/>
              <a:gd name="connsiteY30" fmla="*/ 6661564 h 6858000"/>
              <a:gd name="connsiteX31" fmla="*/ 8545321 w 9144000"/>
              <a:gd name="connsiteY31" fmla="*/ 6661564 h 6858000"/>
              <a:gd name="connsiteX32" fmla="*/ 8545321 w 9144000"/>
              <a:gd name="connsiteY32" fmla="*/ 6629932 h 6858000"/>
              <a:gd name="connsiteX33" fmla="*/ 8554631 w 9144000"/>
              <a:gd name="connsiteY33" fmla="*/ 6629932 h 6858000"/>
              <a:gd name="connsiteX34" fmla="*/ 8598420 w 9144000"/>
              <a:gd name="connsiteY34" fmla="*/ 6592019 h 6858000"/>
              <a:gd name="connsiteX35" fmla="*/ 8550347 w 9144000"/>
              <a:gd name="connsiteY35" fmla="*/ 6554707 h 6858000"/>
              <a:gd name="connsiteX36" fmla="*/ 8415496 w 9144000"/>
              <a:gd name="connsiteY36" fmla="*/ 6554707 h 6858000"/>
              <a:gd name="connsiteX37" fmla="*/ 8415496 w 9144000"/>
              <a:gd name="connsiteY37" fmla="*/ 6661470 h 6858000"/>
              <a:gd name="connsiteX38" fmla="*/ 8448547 w 9144000"/>
              <a:gd name="connsiteY38" fmla="*/ 6661583 h 6858000"/>
              <a:gd name="connsiteX39" fmla="*/ 8513278 w 9144000"/>
              <a:gd name="connsiteY39" fmla="*/ 6607214 h 6858000"/>
              <a:gd name="connsiteX40" fmla="*/ 8447462 w 9144000"/>
              <a:gd name="connsiteY40" fmla="*/ 6554745 h 6858000"/>
              <a:gd name="connsiteX41" fmla="*/ 8447500 w 9144000"/>
              <a:gd name="connsiteY41" fmla="*/ 6554707 h 6858000"/>
              <a:gd name="connsiteX42" fmla="*/ 8415496 w 9144000"/>
              <a:gd name="connsiteY42" fmla="*/ 6554707 h 6858000"/>
              <a:gd name="connsiteX43" fmla="*/ 8323901 w 9144000"/>
              <a:gd name="connsiteY43" fmla="*/ 6554707 h 6858000"/>
              <a:gd name="connsiteX44" fmla="*/ 8298694 w 9144000"/>
              <a:gd name="connsiteY44" fmla="*/ 6612649 h 6858000"/>
              <a:gd name="connsiteX45" fmla="*/ 8291859 w 9144000"/>
              <a:gd name="connsiteY45" fmla="*/ 6596645 h 6858000"/>
              <a:gd name="connsiteX46" fmla="*/ 8265624 w 9144000"/>
              <a:gd name="connsiteY46" fmla="*/ 6596645 h 6858000"/>
              <a:gd name="connsiteX47" fmla="*/ 8296943 w 9144000"/>
              <a:gd name="connsiteY47" fmla="*/ 6661978 h 6858000"/>
              <a:gd name="connsiteX48" fmla="*/ 8299856 w 9144000"/>
              <a:gd name="connsiteY48" fmla="*/ 6661978 h 6858000"/>
              <a:gd name="connsiteX49" fmla="*/ 8350594 w 9144000"/>
              <a:gd name="connsiteY49" fmla="*/ 6554707 h 6858000"/>
              <a:gd name="connsiteX50" fmla="*/ 8704282 w 9144000"/>
              <a:gd name="connsiteY50" fmla="*/ 6516148 h 6858000"/>
              <a:gd name="connsiteX51" fmla="*/ 8704282 w 9144000"/>
              <a:gd name="connsiteY51" fmla="*/ 6690773 h 6858000"/>
              <a:gd name="connsiteX52" fmla="*/ 8723671 w 9144000"/>
              <a:gd name="connsiteY52" fmla="*/ 6690773 h 6858000"/>
              <a:gd name="connsiteX53" fmla="*/ 8723671 w 9144000"/>
              <a:gd name="connsiteY53" fmla="*/ 6516148 h 6858000"/>
              <a:gd name="connsiteX54" fmla="*/ 0 w 9144000"/>
              <a:gd name="connsiteY54" fmla="*/ 0 h 6858000"/>
              <a:gd name="connsiteX55" fmla="*/ 9144000 w 9144000"/>
              <a:gd name="connsiteY55" fmla="*/ 0 h 6858000"/>
              <a:gd name="connsiteX56" fmla="*/ 9144000 w 9144000"/>
              <a:gd name="connsiteY56" fmla="*/ 6858000 h 6858000"/>
              <a:gd name="connsiteX57" fmla="*/ 0 w 9144000"/>
              <a:gd name="connsiteY5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9144000" h="6858000">
                <a:moveTo>
                  <a:pt x="8545321" y="6577275"/>
                </a:moveTo>
                <a:lnTo>
                  <a:pt x="8554631" y="6577275"/>
                </a:lnTo>
                <a:cubicBezTo>
                  <a:pt x="8567006" y="6577275"/>
                  <a:pt x="8572756" y="6583970"/>
                  <a:pt x="8572756" y="6592564"/>
                </a:cubicBezTo>
                <a:cubicBezTo>
                  <a:pt x="8572756" y="6602908"/>
                  <a:pt x="8566130" y="6608587"/>
                  <a:pt x="8552841" y="6608587"/>
                </a:cubicBezTo>
                <a:lnTo>
                  <a:pt x="8552841" y="6608474"/>
                </a:lnTo>
                <a:lnTo>
                  <a:pt x="8545321" y="6608474"/>
                </a:lnTo>
                <a:close/>
                <a:moveTo>
                  <a:pt x="8440532" y="6576165"/>
                </a:moveTo>
                <a:lnTo>
                  <a:pt x="8450870" y="6576165"/>
                </a:lnTo>
                <a:cubicBezTo>
                  <a:pt x="8474172" y="6576165"/>
                  <a:pt x="8486566" y="6587825"/>
                  <a:pt x="8486566" y="6607214"/>
                </a:cubicBezTo>
                <a:cubicBezTo>
                  <a:pt x="8486566" y="6627187"/>
                  <a:pt x="8476095" y="6640295"/>
                  <a:pt x="8452487" y="6640295"/>
                </a:cubicBezTo>
                <a:lnTo>
                  <a:pt x="8440532" y="6640295"/>
                </a:lnTo>
                <a:close/>
                <a:moveTo>
                  <a:pt x="8359313" y="6554745"/>
                </a:moveTo>
                <a:lnTo>
                  <a:pt x="8357847" y="6557848"/>
                </a:lnTo>
                <a:lnTo>
                  <a:pt x="8338066" y="6599654"/>
                </a:lnTo>
                <a:lnTo>
                  <a:pt x="8338066" y="6661565"/>
                </a:lnTo>
                <a:lnTo>
                  <a:pt x="8406529" y="6661565"/>
                </a:lnTo>
                <a:lnTo>
                  <a:pt x="8406529" y="6638978"/>
                </a:lnTo>
                <a:lnTo>
                  <a:pt x="8363159" y="6638978"/>
                </a:lnTo>
                <a:lnTo>
                  <a:pt x="8363159" y="6618141"/>
                </a:lnTo>
                <a:lnTo>
                  <a:pt x="8402683" y="6618141"/>
                </a:lnTo>
                <a:lnTo>
                  <a:pt x="8402683" y="6596570"/>
                </a:lnTo>
                <a:lnTo>
                  <a:pt x="8363159" y="6596570"/>
                </a:lnTo>
                <a:lnTo>
                  <a:pt x="8363159" y="6577482"/>
                </a:lnTo>
                <a:lnTo>
                  <a:pt x="8406529" y="6577482"/>
                </a:lnTo>
                <a:lnTo>
                  <a:pt x="8406529" y="6554745"/>
                </a:lnTo>
                <a:close/>
                <a:moveTo>
                  <a:pt x="8245576" y="6554726"/>
                </a:moveTo>
                <a:lnTo>
                  <a:pt x="8262083" y="6589123"/>
                </a:lnTo>
                <a:lnTo>
                  <a:pt x="8288527" y="6589123"/>
                </a:lnTo>
                <a:lnTo>
                  <a:pt x="8273963" y="6554726"/>
                </a:lnTo>
                <a:close/>
                <a:moveTo>
                  <a:pt x="8520246" y="6554707"/>
                </a:moveTo>
                <a:lnTo>
                  <a:pt x="8520246" y="6661564"/>
                </a:lnTo>
                <a:lnTo>
                  <a:pt x="8545321" y="6661564"/>
                </a:lnTo>
                <a:lnTo>
                  <a:pt x="8545321" y="6629932"/>
                </a:lnTo>
                <a:lnTo>
                  <a:pt x="8554631" y="6629932"/>
                </a:lnTo>
                <a:cubicBezTo>
                  <a:pt x="8583189" y="6629932"/>
                  <a:pt x="8598420" y="6614041"/>
                  <a:pt x="8598420" y="6592019"/>
                </a:cubicBezTo>
                <a:cubicBezTo>
                  <a:pt x="8598439" y="6570486"/>
                  <a:pt x="8581628" y="6554707"/>
                  <a:pt x="8550347" y="6554707"/>
                </a:cubicBezTo>
                <a:close/>
                <a:moveTo>
                  <a:pt x="8415496" y="6554707"/>
                </a:moveTo>
                <a:lnTo>
                  <a:pt x="8415496" y="6661470"/>
                </a:lnTo>
                <a:cubicBezTo>
                  <a:pt x="8415496" y="6661470"/>
                  <a:pt x="8435867" y="6661583"/>
                  <a:pt x="8448547" y="6661583"/>
                </a:cubicBezTo>
                <a:cubicBezTo>
                  <a:pt x="8493382" y="6661583"/>
                  <a:pt x="8513278" y="6638696"/>
                  <a:pt x="8513278" y="6607214"/>
                </a:cubicBezTo>
                <a:cubicBezTo>
                  <a:pt x="8513278" y="6577124"/>
                  <a:pt x="8492335" y="6554745"/>
                  <a:pt x="8447462" y="6554745"/>
                </a:cubicBezTo>
                <a:lnTo>
                  <a:pt x="8447500" y="6554707"/>
                </a:lnTo>
                <a:cubicBezTo>
                  <a:pt x="8436743" y="6554707"/>
                  <a:pt x="8415496" y="6554707"/>
                  <a:pt x="8415496" y="6554707"/>
                </a:cubicBezTo>
                <a:close/>
                <a:moveTo>
                  <a:pt x="8323901" y="6554707"/>
                </a:moveTo>
                <a:lnTo>
                  <a:pt x="8298694" y="6612649"/>
                </a:lnTo>
                <a:lnTo>
                  <a:pt x="8291859" y="6596645"/>
                </a:lnTo>
                <a:lnTo>
                  <a:pt x="8265624" y="6596645"/>
                </a:lnTo>
                <a:lnTo>
                  <a:pt x="8296943" y="6661978"/>
                </a:lnTo>
                <a:lnTo>
                  <a:pt x="8299856" y="6661978"/>
                </a:lnTo>
                <a:lnTo>
                  <a:pt x="8350594" y="6554707"/>
                </a:lnTo>
                <a:close/>
                <a:moveTo>
                  <a:pt x="8704282" y="6516148"/>
                </a:moveTo>
                <a:lnTo>
                  <a:pt x="8704282" y="6690773"/>
                </a:lnTo>
                <a:lnTo>
                  <a:pt x="8723671" y="6690773"/>
                </a:lnTo>
                <a:lnTo>
                  <a:pt x="8723671" y="6516148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rIns="432000" anchor="ctr">
            <a:noAutofit/>
          </a:bodyPr>
          <a:lstStyle>
            <a:lvl1pPr algn="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 Drag image onto slide to add photo </a:t>
            </a:r>
          </a:p>
        </p:txBody>
      </p:sp>
      <p:sp>
        <p:nvSpPr>
          <p:cNvPr id="200" name="First Content Placeholder">
            <a:extLst>
              <a:ext uri="{FF2B5EF4-FFF2-40B4-BE49-F238E27FC236}">
                <a16:creationId xmlns:a16="http://schemas.microsoft.com/office/drawing/2014/main" id="{DC9253A4-356A-9740-9187-428DE58AB885}"/>
              </a:ext>
            </a:extLst>
          </p:cNvPr>
          <p:cNvSpPr>
            <a:spLocks noGrp="1"/>
          </p:cNvSpPr>
          <p:nvPr>
            <p:ph type="body" sz="quarter" idx="200"/>
          </p:nvPr>
        </p:nvSpPr>
        <p:spPr>
          <a:xfrm>
            <a:off x="1" y="0"/>
            <a:ext cx="3186557" cy="5143500"/>
          </a:xfrm>
          <a:gradFill>
            <a:gsLst>
              <a:gs pos="13000">
                <a:schemeClr val="accent1"/>
              </a:gs>
              <a:gs pos="97000">
                <a:schemeClr val="accent1">
                  <a:alpha val="80000"/>
                </a:schemeClr>
              </a:gs>
            </a:gsLst>
            <a:lin ang="5400000" scaled="0"/>
          </a:gradFill>
        </p:spPr>
        <p:txBody>
          <a:bodyPr lIns="432000" rIns="360000" bIns="360000" anchor="ctr"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225"/>
              </a:spcAft>
              <a:buClrTx/>
              <a:buSzTx/>
              <a:buFont typeface="Wingdings" pitchFamily="2" charset="2"/>
              <a:buNone/>
              <a:tabLst/>
              <a:defRPr sz="33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</a:defRPr>
            </a:lvl6pPr>
            <a:lvl7pPr marL="0" indent="0">
              <a:buFontTx/>
              <a:buNone/>
              <a:defRPr>
                <a:solidFill>
                  <a:schemeClr val="bg1"/>
                </a:solidFill>
              </a:defRPr>
            </a:lvl7pPr>
            <a:lvl8pPr marL="0" indent="0">
              <a:buFontTx/>
              <a:buNone/>
              <a:defRPr>
                <a:solidFill>
                  <a:schemeClr val="bg1"/>
                </a:solidFill>
              </a:defRPr>
            </a:lvl8pPr>
            <a:lvl9pPr marL="0" indent="0">
              <a:buFontTx/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1518A119-6232-A242-B4A2-83D06D216BA9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800" y="4650581"/>
            <a:ext cx="2311400" cy="379131"/>
          </a:xfrm>
        </p:spPr>
        <p:txBody>
          <a:bodyPr bIns="0" anchor="b"/>
          <a:lstStyle>
            <a:lvl1pPr marL="4763" indent="-1191">
              <a:spcBef>
                <a:spcPts val="56"/>
              </a:spcBef>
              <a:spcAft>
                <a:spcPts val="56"/>
              </a:spcAft>
              <a:buSzPct val="100000"/>
              <a:buFontTx/>
              <a:buNone/>
              <a:tabLst/>
              <a:defRPr sz="825" b="0">
                <a:solidFill>
                  <a:schemeClr val="bg1"/>
                </a:solidFill>
              </a:defRPr>
            </a:lvl1pPr>
            <a:lvl2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¹"/>
              <a:tabLst/>
              <a:defRPr sz="825" b="0" i="0">
                <a:solidFill>
                  <a:schemeClr val="bg1"/>
                </a:solidFill>
              </a:defRPr>
            </a:lvl2pPr>
            <a:lvl3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²"/>
              <a:tabLst/>
              <a:defRPr sz="825">
                <a:solidFill>
                  <a:schemeClr val="bg1"/>
                </a:solidFill>
              </a:defRPr>
            </a:lvl3pPr>
            <a:lvl4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³"/>
              <a:tabLst/>
              <a:defRPr sz="825">
                <a:solidFill>
                  <a:schemeClr val="bg1"/>
                </a:solidFill>
              </a:defRPr>
            </a:lvl4pPr>
            <a:lvl5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⁴"/>
              <a:tabLst/>
              <a:defRPr sz="825">
                <a:solidFill>
                  <a:schemeClr val="bg1"/>
                </a:solidFill>
              </a:defRPr>
            </a:lvl5pPr>
            <a:lvl6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⁵"/>
              <a:tabLst/>
              <a:defRPr sz="825">
                <a:solidFill>
                  <a:schemeClr val="bg1"/>
                </a:solidFill>
              </a:defRPr>
            </a:lvl6pPr>
            <a:lvl7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⁶"/>
              <a:tabLst/>
              <a:defRPr sz="825">
                <a:solidFill>
                  <a:schemeClr val="bg1"/>
                </a:solidFill>
              </a:defRPr>
            </a:lvl7pPr>
            <a:lvl8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⁷"/>
              <a:tabLst/>
              <a:defRPr sz="825">
                <a:solidFill>
                  <a:schemeClr val="bg1"/>
                </a:solidFill>
              </a:defRPr>
            </a:lvl8pPr>
            <a:lvl9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⁸"/>
              <a:tabLst/>
              <a:defRPr sz="825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 Click to add source and footnotes. (Level 1 formatting for source, and levels 2+ for footnote numbering.) If over 4 lines, move footnote text to “Footnotes Appendix” slide and write “See Appendix for footnotes #-#” with level 1 formatting. </a:t>
            </a:r>
          </a:p>
          <a:p>
            <a:pPr lvl="1"/>
            <a:r>
              <a:rPr lang="en-US"/>
              <a:t> Footnotes – Levels 2-9 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FE84BD5-7F9D-AE47-BCAB-D3922B3DA1BC}"/>
              </a:ext>
            </a:extLst>
          </p:cNvPr>
          <p:cNvSpPr>
            <a:spLocks noGrp="1"/>
          </p:cNvSpPr>
          <p:nvPr>
            <p:ph type="dt" sz="half" idx="1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3FF406A-59D4-BB4E-A45D-EEB4EEBCE329}"/>
              </a:ext>
            </a:extLst>
          </p:cNvPr>
          <p:cNvSpPr>
            <a:spLocks noGrp="1"/>
          </p:cNvSpPr>
          <p:nvPr>
            <p:ph type="ftr" sz="quarter" idx="1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9E870A-0204-114F-9189-EE4D27C77AFE}"/>
              </a:ext>
            </a:extLst>
          </p:cNvPr>
          <p:cNvSpPr>
            <a:spLocks noGrp="1"/>
          </p:cNvSpPr>
          <p:nvPr>
            <p:ph type="sldNum" sz="quarter" idx="112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9525"/>
            <a:fld id="{078C017C-E1B9-8443-B047-B08AAA027B45}" type="slidenum">
              <a:rPr lang="en-US" smtClean="0"/>
              <a:pPr marL="9525"/>
              <a:t>‹#›</a:t>
            </a:fld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7197522-BF99-8445-8C68-D6578288AD2D}"/>
              </a:ext>
            </a:extLst>
          </p:cNvPr>
          <p:cNvGrpSpPr/>
          <p:nvPr userDrawn="1"/>
        </p:nvGrpSpPr>
        <p:grpSpPr>
          <a:xfrm>
            <a:off x="9399183" y="-1"/>
            <a:ext cx="2961715" cy="7267165"/>
            <a:chOff x="9399182" y="-2"/>
            <a:chExt cx="2961715" cy="9689553"/>
          </a:xfrm>
        </p:grpSpPr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058DECCA-09EF-5C43-8453-6890A89614B0}"/>
                </a:ext>
              </a:extLst>
            </p:cNvPr>
            <p:cNvSpPr/>
            <p:nvPr userDrawn="1"/>
          </p:nvSpPr>
          <p:spPr>
            <a:xfrm>
              <a:off x="9399182" y="-2"/>
              <a:ext cx="2798651" cy="951547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050"/>
            </a:p>
          </p:txBody>
        </p:sp>
        <p:pic>
          <p:nvPicPr>
            <p:cNvPr id="162" name="Picture 161">
              <a:extLst>
                <a:ext uri="{FF2B5EF4-FFF2-40B4-BE49-F238E27FC236}">
                  <a16:creationId xmlns:a16="http://schemas.microsoft.com/office/drawing/2014/main" id="{512A7C54-DE21-4344-96B4-6CF162E7EF9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t="18182" r="54279" b="28233"/>
            <a:stretch/>
          </p:blipFill>
          <p:spPr>
            <a:xfrm>
              <a:off x="9558506" y="1325046"/>
              <a:ext cx="2639326" cy="784740"/>
            </a:xfrm>
            <a:prstGeom prst="rect">
              <a:avLst/>
            </a:prstGeom>
          </p:spPr>
        </p:pic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21F4F9E6-E172-8440-B1C2-D5D4BD628238}"/>
                </a:ext>
              </a:extLst>
            </p:cNvPr>
            <p:cNvSpPr/>
            <p:nvPr userDrawn="1"/>
          </p:nvSpPr>
          <p:spPr>
            <a:xfrm>
              <a:off x="9541497" y="162442"/>
              <a:ext cx="2819400" cy="814510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/>
            </a:p>
          </p:txBody>
        </p:sp>
        <p:sp>
          <p:nvSpPr>
            <p:cNvPr id="155" name="TextBox 154">
              <a:extLst>
                <a:ext uri="{FF2B5EF4-FFF2-40B4-BE49-F238E27FC236}">
                  <a16:creationId xmlns:a16="http://schemas.microsoft.com/office/drawing/2014/main" id="{9C96D69A-1828-5C46-BC13-9C94FCBFE241}"/>
                </a:ext>
              </a:extLst>
            </p:cNvPr>
            <p:cNvSpPr txBox="1"/>
            <p:nvPr userDrawn="1"/>
          </p:nvSpPr>
          <p:spPr>
            <a:xfrm>
              <a:off x="10147060" y="306441"/>
              <a:ext cx="2129588" cy="50783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algn="l"/>
              <a:r>
                <a:rPr lang="en-US" sz="8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 Access programmed text formats by using the ‘Indent More’ button to change the indent level. </a:t>
              </a:r>
            </a:p>
          </p:txBody>
        </p:sp>
        <p:pic>
          <p:nvPicPr>
            <p:cNvPr id="156" name="Picture 155">
              <a:extLst>
                <a:ext uri="{FF2B5EF4-FFF2-40B4-BE49-F238E27FC236}">
                  <a16:creationId xmlns:a16="http://schemas.microsoft.com/office/drawing/2014/main" id="{8103D77D-8415-7749-BCBB-4905B395A7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8882" t="5165" r="-1"/>
            <a:stretch/>
          </p:blipFill>
          <p:spPr>
            <a:xfrm>
              <a:off x="9694938" y="411250"/>
              <a:ext cx="324017" cy="289055"/>
            </a:xfrm>
            <a:prstGeom prst="roundRect">
              <a:avLst/>
            </a:prstGeom>
          </p:spPr>
        </p:pic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A1DB698E-0CEF-AD45-8121-4CD4E026F6C2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1728037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sz="825">
                  <a:solidFill>
                    <a:schemeClr val="bg1"/>
                  </a:solidFill>
                </a:rPr>
                <a:t> TEXT FORMATS IN THIS LAYOUT </a:t>
              </a:r>
            </a:p>
          </p:txBody>
        </p: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E884F550-2205-3843-81FA-454481A85FD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12E1247F-233F-F94C-98B1-C8EC05E1729D}"/>
                </a:ext>
              </a:extLst>
            </p:cNvPr>
            <p:cNvGrpSpPr/>
            <p:nvPr userDrawn="1"/>
          </p:nvGrpSpPr>
          <p:grpSpPr>
            <a:xfrm>
              <a:off x="9521833" y="2253495"/>
              <a:ext cx="2754815" cy="7436056"/>
              <a:chOff x="9521833" y="2531409"/>
              <a:chExt cx="2754815" cy="7436056"/>
            </a:xfrm>
          </p:grpSpPr>
          <p:sp>
            <p:nvSpPr>
              <p:cNvPr id="116" name="TextBox 115">
                <a:extLst>
                  <a:ext uri="{FF2B5EF4-FFF2-40B4-BE49-F238E27FC236}">
                    <a16:creationId xmlns:a16="http://schemas.microsoft.com/office/drawing/2014/main" id="{E8B2BC36-E252-F449-91B0-E44A4C6E88AC}"/>
                  </a:ext>
                </a:extLst>
              </p:cNvPr>
              <p:cNvSpPr txBox="1"/>
              <p:nvPr userDrawn="1"/>
            </p:nvSpPr>
            <p:spPr>
              <a:xfrm>
                <a:off x="9558507" y="3953640"/>
                <a:ext cx="1288814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sz="825">
                    <a:solidFill>
                      <a:schemeClr val="bg1"/>
                    </a:solidFill>
                  </a:rPr>
                  <a:t> HOW TO ADD AN IMAGE </a:t>
                </a:r>
              </a:p>
            </p:txBody>
          </p:sp>
          <p:cxnSp>
            <p:nvCxnSpPr>
              <p:cNvPr id="117" name="Straight Connector 116">
                <a:extLst>
                  <a:ext uri="{FF2B5EF4-FFF2-40B4-BE49-F238E27FC236}">
                    <a16:creationId xmlns:a16="http://schemas.microsoft.com/office/drawing/2014/main" id="{828801CA-93C8-9E4C-AB3C-451F07B6D7F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558507" y="4156257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TextBox 117">
                <a:extLst>
                  <a:ext uri="{FF2B5EF4-FFF2-40B4-BE49-F238E27FC236}">
                    <a16:creationId xmlns:a16="http://schemas.microsoft.com/office/drawing/2014/main" id="{75B9A3BF-AC32-DA42-A161-4BB2E2281D4D}"/>
                  </a:ext>
                </a:extLst>
              </p:cNvPr>
              <p:cNvSpPr txBox="1"/>
              <p:nvPr userDrawn="1"/>
            </p:nvSpPr>
            <p:spPr>
              <a:xfrm>
                <a:off x="9686426" y="5014568"/>
                <a:ext cx="2297338" cy="28913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 b="1"/>
                  <a:t> Method 1: </a:t>
                </a:r>
                <a:r>
                  <a:rPr lang="en-US" sz="450" b="0"/>
                  <a:t> from file browser </a:t>
                </a:r>
              </a:p>
              <a:p>
                <a:pPr lvl="1">
                  <a:buNone/>
                </a:pPr>
                <a:r>
                  <a:rPr lang="en-US" sz="788"/>
                  <a:t> Drag the image onto the slide. </a:t>
                </a:r>
              </a:p>
            </p:txBody>
          </p:sp>
          <p:sp>
            <p:nvSpPr>
              <p:cNvPr id="148" name="Rectangle 147">
                <a:extLst>
                  <a:ext uri="{FF2B5EF4-FFF2-40B4-BE49-F238E27FC236}">
                    <a16:creationId xmlns:a16="http://schemas.microsoft.com/office/drawing/2014/main" id="{924F2A4D-5E0A-1240-8BED-C913FAAFD6F2}"/>
                  </a:ext>
                </a:extLst>
              </p:cNvPr>
              <p:cNvSpPr/>
              <p:nvPr userDrawn="1"/>
            </p:nvSpPr>
            <p:spPr>
              <a:xfrm>
                <a:off x="9541497" y="8556150"/>
                <a:ext cx="2735151" cy="1411315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149" name="TextBox 148">
                <a:extLst>
                  <a:ext uri="{FF2B5EF4-FFF2-40B4-BE49-F238E27FC236}">
                    <a16:creationId xmlns:a16="http://schemas.microsoft.com/office/drawing/2014/main" id="{8A3C99CB-E95A-B74E-BE7F-0792FAF9671D}"/>
                  </a:ext>
                </a:extLst>
              </p:cNvPr>
              <p:cNvSpPr txBox="1"/>
              <p:nvPr userDrawn="1"/>
            </p:nvSpPr>
            <p:spPr>
              <a:xfrm>
                <a:off x="9907688" y="8684950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 TIP: Change Image </a:t>
                </a:r>
              </a:p>
            </p:txBody>
          </p:sp>
          <p:pic>
            <p:nvPicPr>
              <p:cNvPr id="150" name="Graphic 149">
                <a:extLst>
                  <a:ext uri="{FF2B5EF4-FFF2-40B4-BE49-F238E27FC236}">
                    <a16:creationId xmlns:a16="http://schemas.microsoft.com/office/drawing/2014/main" id="{9D2838B6-04DF-EB45-9DD9-3C36BB13157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9701720" y="8695233"/>
                <a:ext cx="155227" cy="155227"/>
              </a:xfrm>
              <a:prstGeom prst="rect">
                <a:avLst/>
              </a:prstGeom>
            </p:spPr>
          </p:pic>
          <p:sp>
            <p:nvSpPr>
              <p:cNvPr id="151" name="TextBox 150">
                <a:extLst>
                  <a:ext uri="{FF2B5EF4-FFF2-40B4-BE49-F238E27FC236}">
                    <a16:creationId xmlns:a16="http://schemas.microsoft.com/office/drawing/2014/main" id="{C2A77126-7E90-1843-AE86-D347F2D075EE}"/>
                  </a:ext>
                </a:extLst>
              </p:cNvPr>
              <p:cNvSpPr txBox="1"/>
              <p:nvPr userDrawn="1"/>
            </p:nvSpPr>
            <p:spPr>
              <a:xfrm>
                <a:off x="9716735" y="9264933"/>
                <a:ext cx="2413353" cy="373948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101204" lvl="1" indent="-98822" algn="l" defTabSz="685800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225"/>
                  </a:spcAft>
                  <a:buFont typeface="Wingdings" pitchFamily="2" charset="2"/>
                  <a:buChar char="§"/>
                  <a:tabLst/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 Deleting the image may bring the image placeholder to the top layer. Right-click on the placeholder and choose “Send to Back”. </a:t>
                </a:r>
              </a:p>
            </p:txBody>
          </p:sp>
          <p:sp>
            <p:nvSpPr>
              <p:cNvPr id="152" name="TextBox 151">
                <a:extLst>
                  <a:ext uri="{FF2B5EF4-FFF2-40B4-BE49-F238E27FC236}">
                    <a16:creationId xmlns:a16="http://schemas.microsoft.com/office/drawing/2014/main" id="{0FAD37BE-7E80-0046-A61C-0B15F860162C}"/>
                  </a:ext>
                </a:extLst>
              </p:cNvPr>
              <p:cNvSpPr txBox="1"/>
              <p:nvPr userDrawn="1"/>
            </p:nvSpPr>
            <p:spPr>
              <a:xfrm>
                <a:off x="9716735" y="8946089"/>
                <a:ext cx="2422981" cy="2769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685800" rtl="0" eaLnBrk="1" latinLnBrk="0" hangingPunct="1">
                  <a:spcBef>
                    <a:spcPts val="150"/>
                  </a:spcBef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 First, delete the existing image to reset the photo placeholder functionality. </a:t>
                </a:r>
              </a:p>
            </p:txBody>
          </p:sp>
          <p:sp>
            <p:nvSpPr>
              <p:cNvPr id="153" name="TextBox 152">
                <a:extLst>
                  <a:ext uri="{FF2B5EF4-FFF2-40B4-BE49-F238E27FC236}">
                    <a16:creationId xmlns:a16="http://schemas.microsoft.com/office/drawing/2014/main" id="{5B98A223-2512-6C4D-87C9-B2267FF7CCD9}"/>
                  </a:ext>
                </a:extLst>
              </p:cNvPr>
              <p:cNvSpPr txBox="1"/>
              <p:nvPr userDrawn="1"/>
            </p:nvSpPr>
            <p:spPr>
              <a:xfrm>
                <a:off x="9716735" y="9714610"/>
                <a:ext cx="2422981" cy="13850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685800" rtl="0" eaLnBrk="1" latinLnBrk="0" hangingPunct="1">
                  <a:spcBef>
                    <a:spcPts val="150"/>
                  </a:spcBef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 You can now add a new image as normal. </a:t>
                </a:r>
              </a:p>
            </p:txBody>
          </p:sp>
          <p:sp>
            <p:nvSpPr>
              <p:cNvPr id="138" name="Rectangle 137">
                <a:extLst>
                  <a:ext uri="{FF2B5EF4-FFF2-40B4-BE49-F238E27FC236}">
                    <a16:creationId xmlns:a16="http://schemas.microsoft.com/office/drawing/2014/main" id="{330B2B4B-905D-9A46-A3F8-DF5095A8A808}"/>
                  </a:ext>
                </a:extLst>
              </p:cNvPr>
              <p:cNvSpPr/>
              <p:nvPr userDrawn="1"/>
            </p:nvSpPr>
            <p:spPr>
              <a:xfrm>
                <a:off x="9541497" y="7199494"/>
                <a:ext cx="2735151" cy="1280928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144" name="TextBox 143">
                <a:extLst>
                  <a:ext uri="{FF2B5EF4-FFF2-40B4-BE49-F238E27FC236}">
                    <a16:creationId xmlns:a16="http://schemas.microsoft.com/office/drawing/2014/main" id="{2150B26E-162C-6547-A215-96C9E1F3D965}"/>
                  </a:ext>
                </a:extLst>
              </p:cNvPr>
              <p:cNvSpPr txBox="1"/>
              <p:nvPr userDrawn="1"/>
            </p:nvSpPr>
            <p:spPr>
              <a:xfrm>
                <a:off x="9907688" y="7328293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 TIP: Crop Image </a:t>
                </a:r>
              </a:p>
            </p:txBody>
          </p:sp>
          <p:pic>
            <p:nvPicPr>
              <p:cNvPr id="145" name="Graphic 144">
                <a:extLst>
                  <a:ext uri="{FF2B5EF4-FFF2-40B4-BE49-F238E27FC236}">
                    <a16:creationId xmlns:a16="http://schemas.microsoft.com/office/drawing/2014/main" id="{B7C5CED2-A0E3-BC4E-91D6-56BB03F90E1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9701720" y="7338576"/>
                <a:ext cx="155227" cy="155227"/>
              </a:xfrm>
              <a:prstGeom prst="rect">
                <a:avLst/>
              </a:prstGeom>
            </p:spPr>
          </p:pic>
          <p:sp>
            <p:nvSpPr>
              <p:cNvPr id="146" name="TextBox 145">
                <a:extLst>
                  <a:ext uri="{FF2B5EF4-FFF2-40B4-BE49-F238E27FC236}">
                    <a16:creationId xmlns:a16="http://schemas.microsoft.com/office/drawing/2014/main" id="{BF216341-3721-3F4D-8307-92E095EF4A01}"/>
                  </a:ext>
                </a:extLst>
              </p:cNvPr>
              <p:cNvSpPr txBox="1"/>
              <p:nvPr userDrawn="1"/>
            </p:nvSpPr>
            <p:spPr>
              <a:xfrm>
                <a:off x="9701720" y="7592477"/>
                <a:ext cx="2384904" cy="777136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 Right-click on the image. </a:t>
                </a:r>
              </a:p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 Choose “Crop” from the menu. ( ) </a:t>
                </a:r>
              </a:p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 Adjust the size and position of the image. </a:t>
                </a:r>
              </a:p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 Press Esc or click outside the image area to exit the cropping mode. </a:t>
                </a:r>
              </a:p>
            </p:txBody>
          </p:sp>
          <p:pic>
            <p:nvPicPr>
              <p:cNvPr id="147" name="Picture 146">
                <a:extLst>
                  <a:ext uri="{FF2B5EF4-FFF2-40B4-BE49-F238E27FC236}">
                    <a16:creationId xmlns:a16="http://schemas.microsoft.com/office/drawing/2014/main" id="{06858368-B053-6843-9D5C-3B4B3F349159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5"/>
              <a:srcRect l="33684" t="12097" r="43371" b="20368"/>
              <a:stretch/>
            </p:blipFill>
            <p:spPr>
              <a:xfrm>
                <a:off x="11498723" y="7676910"/>
                <a:ext cx="136897" cy="213643"/>
              </a:xfrm>
              <a:prstGeom prst="rect">
                <a:avLst/>
              </a:prstGeom>
              <a:ln w="19050"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</p:pic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E31E6EE2-4F47-504B-B3F7-9B15B3C8AF25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9521833" y="4303787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375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 1 </a:t>
                </a:r>
              </a:p>
            </p:txBody>
          </p:sp>
          <p:sp>
            <p:nvSpPr>
              <p:cNvPr id="136" name="TextBox 135">
                <a:extLst>
                  <a:ext uri="{FF2B5EF4-FFF2-40B4-BE49-F238E27FC236}">
                    <a16:creationId xmlns:a16="http://schemas.microsoft.com/office/drawing/2014/main" id="{349068D4-361C-5C46-A532-3801C2F1365D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9521833" y="4799341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375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 2 </a:t>
                </a:r>
              </a:p>
            </p:txBody>
          </p:sp>
          <p:sp>
            <p:nvSpPr>
              <p:cNvPr id="137" name="TextBox 136">
                <a:extLst>
                  <a:ext uri="{FF2B5EF4-FFF2-40B4-BE49-F238E27FC236}">
                    <a16:creationId xmlns:a16="http://schemas.microsoft.com/office/drawing/2014/main" id="{F2DCEAA6-A668-EA47-BC03-B82CE31AF08C}"/>
                  </a:ext>
                </a:extLst>
              </p:cNvPr>
              <p:cNvSpPr txBox="1"/>
              <p:nvPr userDrawn="1"/>
            </p:nvSpPr>
            <p:spPr>
              <a:xfrm>
                <a:off x="9686426" y="4278760"/>
                <a:ext cx="2453290" cy="707288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0"/>
                <a:r>
                  <a:rPr lang="en-US" sz="788"/>
                  <a:t> Select and download images from the Marketing Resource Database. </a:t>
                </a:r>
              </a:p>
              <a:p>
                <a:pPr lvl="0"/>
                <a:r>
                  <a:rPr lang="en-US" sz="788"/>
                  <a:t> Add the image to the placeholder. </a:t>
                </a:r>
              </a:p>
            </p:txBody>
          </p:sp>
          <p:sp>
            <p:nvSpPr>
              <p:cNvPr id="122" name="TextBox 121">
                <a:extLst>
                  <a:ext uri="{FF2B5EF4-FFF2-40B4-BE49-F238E27FC236}">
                    <a16:creationId xmlns:a16="http://schemas.microsoft.com/office/drawing/2014/main" id="{488662D1-77FE-D34D-BFA8-B58A59DB47EA}"/>
                  </a:ext>
                </a:extLst>
              </p:cNvPr>
              <p:cNvSpPr txBox="1"/>
              <p:nvPr userDrawn="1"/>
            </p:nvSpPr>
            <p:spPr>
              <a:xfrm>
                <a:off x="9674267" y="5297872"/>
                <a:ext cx="2374733" cy="32316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/>
                  <a:t> Note: If there are multiple image placeholders on the slide, select the intended placeholder before dragging in the image to let PowerPoint know where you want it. </a:t>
                </a:r>
              </a:p>
            </p:txBody>
          </p:sp>
          <p:sp>
            <p:nvSpPr>
              <p:cNvPr id="123" name="TextBox 122">
                <a:extLst>
                  <a:ext uri="{FF2B5EF4-FFF2-40B4-BE49-F238E27FC236}">
                    <a16:creationId xmlns:a16="http://schemas.microsoft.com/office/drawing/2014/main" id="{10E9AA29-096E-D54C-95D4-EFDFFD7CC612}"/>
                  </a:ext>
                </a:extLst>
              </p:cNvPr>
              <p:cNvSpPr txBox="1"/>
              <p:nvPr userDrawn="1"/>
            </p:nvSpPr>
            <p:spPr>
              <a:xfrm>
                <a:off x="9686426" y="5713129"/>
                <a:ext cx="2297338" cy="63145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/>
                  <a:t> Method 2: </a:t>
                </a:r>
                <a:r>
                  <a:rPr lang="en-US" sz="450" b="0"/>
                  <a:t> Paste from clipboard </a:t>
                </a:r>
              </a:p>
              <a:p>
                <a:pPr lvl="1">
                  <a:buNone/>
                </a:pPr>
                <a:r>
                  <a:rPr lang="en-US" sz="788"/>
                  <a:t> Select the image placeholder. </a:t>
                </a:r>
              </a:p>
              <a:p>
                <a:pPr lvl="1">
                  <a:buNone/>
                </a:pPr>
                <a:r>
                  <a:rPr lang="en-US" sz="788"/>
                  <a:t> Right-click or use keyboard shortcuts to paste the image. </a:t>
                </a:r>
              </a:p>
            </p:txBody>
          </p:sp>
          <p:sp>
            <p:nvSpPr>
              <p:cNvPr id="124" name="TextBox 123">
                <a:extLst>
                  <a:ext uri="{FF2B5EF4-FFF2-40B4-BE49-F238E27FC236}">
                    <a16:creationId xmlns:a16="http://schemas.microsoft.com/office/drawing/2014/main" id="{0B4A71BF-5B38-0644-8E4F-605A80E979B2}"/>
                  </a:ext>
                </a:extLst>
              </p:cNvPr>
              <p:cNvSpPr txBox="1"/>
              <p:nvPr userDrawn="1"/>
            </p:nvSpPr>
            <p:spPr>
              <a:xfrm>
                <a:off x="9686426" y="6433220"/>
                <a:ext cx="2297338" cy="4346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/>
                  <a:t> Method 3: </a:t>
                </a:r>
                <a:r>
                  <a:rPr lang="en-US" sz="450" b="0"/>
                  <a:t> Placeholder icon </a:t>
                </a:r>
              </a:p>
              <a:p>
                <a:pPr lvl="1">
                  <a:buNone/>
                </a:pPr>
                <a:r>
                  <a:rPr lang="en-US" sz="788"/>
                  <a:t> Click the image icon inside the placeholder to browse for an image. </a:t>
                </a:r>
              </a:p>
            </p:txBody>
          </p:sp>
          <p:sp>
            <p:nvSpPr>
              <p:cNvPr id="125" name="TextBox 124">
                <a:extLst>
                  <a:ext uri="{FF2B5EF4-FFF2-40B4-BE49-F238E27FC236}">
                    <a16:creationId xmlns:a16="http://schemas.microsoft.com/office/drawing/2014/main" id="{2A674F33-12AC-0340-BFB9-C1CA46F83893}"/>
                  </a:ext>
                </a:extLst>
              </p:cNvPr>
              <p:cNvSpPr txBox="1"/>
              <p:nvPr userDrawn="1"/>
            </p:nvSpPr>
            <p:spPr>
              <a:xfrm>
                <a:off x="9674267" y="6863782"/>
                <a:ext cx="2374733" cy="21544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/>
                  <a:t> Note: This icon may be covered by another element. </a:t>
                </a:r>
                <a:br>
                  <a:rPr lang="en-US" sz="525"/>
                </a:br>
                <a:r>
                  <a:rPr lang="en-US" sz="525"/>
                  <a:t> In this case use one of the other methods. </a:t>
                </a:r>
              </a:p>
            </p:txBody>
          </p:sp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318F2069-729F-9B4A-8445-081E2247CBB1}"/>
                  </a:ext>
                </a:extLst>
              </p:cNvPr>
              <p:cNvSpPr/>
              <p:nvPr userDrawn="1"/>
            </p:nvSpPr>
            <p:spPr>
              <a:xfrm>
                <a:off x="9541497" y="2531409"/>
                <a:ext cx="2735151" cy="1326215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905C9F4A-8864-BA4C-B90C-28BC8E5E724C}"/>
                  </a:ext>
                </a:extLst>
              </p:cNvPr>
              <p:cNvSpPr txBox="1"/>
              <p:nvPr userDrawn="1"/>
            </p:nvSpPr>
            <p:spPr>
              <a:xfrm>
                <a:off x="9907688" y="2660209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 TIP: Adjust overlay text box size </a:t>
                </a:r>
              </a:p>
            </p:txBody>
          </p:sp>
          <p:pic>
            <p:nvPicPr>
              <p:cNvPr id="131" name="Graphic 130">
                <a:extLst>
                  <a:ext uri="{FF2B5EF4-FFF2-40B4-BE49-F238E27FC236}">
                    <a16:creationId xmlns:a16="http://schemas.microsoft.com/office/drawing/2014/main" id="{F23C5373-D4CD-5047-843F-B92DB290985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9701720" y="2670492"/>
                <a:ext cx="155227" cy="155227"/>
              </a:xfrm>
              <a:prstGeom prst="rect">
                <a:avLst/>
              </a:prstGeom>
            </p:spPr>
          </p:pic>
          <p:sp>
            <p:nvSpPr>
              <p:cNvPr id="132" name="TextBox 131">
                <a:extLst>
                  <a:ext uri="{FF2B5EF4-FFF2-40B4-BE49-F238E27FC236}">
                    <a16:creationId xmlns:a16="http://schemas.microsoft.com/office/drawing/2014/main" id="{C0F58EBC-DF0A-A441-813C-62553D74D316}"/>
                  </a:ext>
                </a:extLst>
              </p:cNvPr>
              <p:cNvSpPr txBox="1"/>
              <p:nvPr userDrawn="1"/>
            </p:nvSpPr>
            <p:spPr>
              <a:xfrm>
                <a:off x="9701720" y="2924393"/>
                <a:ext cx="2214055" cy="54989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 If extra space is required for content, use the size handle on this shape to extend the right edge of the shape to the “2/3rds” slide ruler mark. </a:t>
                </a:r>
              </a:p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 Turn on guides (View &gt; Guides) to enable snapping. </a:t>
                </a:r>
              </a:p>
            </p:txBody>
          </p:sp>
        </p:grpSp>
      </p:grpSp>
      <p:sp>
        <p:nvSpPr>
          <p:cNvPr id="500" name="Caption">
            <a:extLst>
              <a:ext uri="{FF2B5EF4-FFF2-40B4-BE49-F238E27FC236}">
                <a16:creationId xmlns:a16="http://schemas.microsoft.com/office/drawing/2014/main" id="{C8FA2963-29D5-4B4C-9DB5-0731074098A4}"/>
              </a:ext>
            </a:extLst>
          </p:cNvPr>
          <p:cNvSpPr>
            <a:spLocks noGrp="1"/>
          </p:cNvSpPr>
          <p:nvPr>
            <p:ph type="body" sz="quarter" idx="500" hasCustomPrompt="1"/>
          </p:nvPr>
        </p:nvSpPr>
        <p:spPr>
          <a:xfrm>
            <a:off x="5960285" y="4650582"/>
            <a:ext cx="2742875" cy="114262"/>
          </a:xfrm>
          <a:effectLst/>
        </p:spPr>
        <p:txBody>
          <a:bodyPr wrap="square" anchor="b">
            <a:sp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 b="0">
                <a:solidFill>
                  <a:schemeClr val="bg1"/>
                </a:solidFill>
                <a:effectLst/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photo caption</a:t>
            </a:r>
          </a:p>
        </p:txBody>
      </p:sp>
    </p:spTree>
    <p:extLst>
      <p:ext uri="{BB962C8B-B14F-4D97-AF65-F5344CB8AC3E}">
        <p14:creationId xmlns:p14="http://schemas.microsoft.com/office/powerpoint/2010/main" val="3565087314"/>
      </p:ext>
    </p:extLst>
  </p:cSld>
  <p:clrMapOvr>
    <a:overrideClrMapping bg1="lt1" tx1="dk1" bg2="lt2" tx2="dk2" accent1="accent1" accent2="accent2" accent3="accent3" accent4="accent4" accent5="accent5" accent6="accent6" hlink="lt1" folHlink="lt1"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istics Text Over Graphic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TextBox 91">
            <a:extLst>
              <a:ext uri="{FF2B5EF4-FFF2-40B4-BE49-F238E27FC236}">
                <a16:creationId xmlns:a16="http://schemas.microsoft.com/office/drawing/2014/main" id="{041452B9-404B-4B43-893C-BB42AF2A9105}"/>
              </a:ext>
            </a:extLst>
          </p:cNvPr>
          <p:cNvSpPr txBox="1">
            <a:spLocks/>
          </p:cNvSpPr>
          <p:nvPr userDrawn="1"/>
        </p:nvSpPr>
        <p:spPr>
          <a:xfrm>
            <a:off x="0" y="4650582"/>
            <a:ext cx="9144000" cy="492919"/>
          </a:xfrm>
          <a:custGeom>
            <a:avLst/>
            <a:gdLst>
              <a:gd name="connsiteX0" fmla="*/ 8545321 w 9144000"/>
              <a:gd name="connsiteY0" fmla="*/ 376500 h 657225"/>
              <a:gd name="connsiteX1" fmla="*/ 8554631 w 9144000"/>
              <a:gd name="connsiteY1" fmla="*/ 376500 h 657225"/>
              <a:gd name="connsiteX2" fmla="*/ 8572756 w 9144000"/>
              <a:gd name="connsiteY2" fmla="*/ 391789 h 657225"/>
              <a:gd name="connsiteX3" fmla="*/ 8552841 w 9144000"/>
              <a:gd name="connsiteY3" fmla="*/ 407812 h 657225"/>
              <a:gd name="connsiteX4" fmla="*/ 8552841 w 9144000"/>
              <a:gd name="connsiteY4" fmla="*/ 407699 h 657225"/>
              <a:gd name="connsiteX5" fmla="*/ 8545321 w 9144000"/>
              <a:gd name="connsiteY5" fmla="*/ 407699 h 657225"/>
              <a:gd name="connsiteX6" fmla="*/ 8440532 w 9144000"/>
              <a:gd name="connsiteY6" fmla="*/ 375390 h 657225"/>
              <a:gd name="connsiteX7" fmla="*/ 8450870 w 9144000"/>
              <a:gd name="connsiteY7" fmla="*/ 375390 h 657225"/>
              <a:gd name="connsiteX8" fmla="*/ 8486566 w 9144000"/>
              <a:gd name="connsiteY8" fmla="*/ 406439 h 657225"/>
              <a:gd name="connsiteX9" fmla="*/ 8452487 w 9144000"/>
              <a:gd name="connsiteY9" fmla="*/ 439520 h 657225"/>
              <a:gd name="connsiteX10" fmla="*/ 8440532 w 9144000"/>
              <a:gd name="connsiteY10" fmla="*/ 439520 h 657225"/>
              <a:gd name="connsiteX11" fmla="*/ 8359313 w 9144000"/>
              <a:gd name="connsiteY11" fmla="*/ 353970 h 657225"/>
              <a:gd name="connsiteX12" fmla="*/ 8357847 w 9144000"/>
              <a:gd name="connsiteY12" fmla="*/ 357073 h 657225"/>
              <a:gd name="connsiteX13" fmla="*/ 8338066 w 9144000"/>
              <a:gd name="connsiteY13" fmla="*/ 398879 h 657225"/>
              <a:gd name="connsiteX14" fmla="*/ 8338066 w 9144000"/>
              <a:gd name="connsiteY14" fmla="*/ 460790 h 657225"/>
              <a:gd name="connsiteX15" fmla="*/ 8406529 w 9144000"/>
              <a:gd name="connsiteY15" fmla="*/ 460790 h 657225"/>
              <a:gd name="connsiteX16" fmla="*/ 8406529 w 9144000"/>
              <a:gd name="connsiteY16" fmla="*/ 438203 h 657225"/>
              <a:gd name="connsiteX17" fmla="*/ 8363159 w 9144000"/>
              <a:gd name="connsiteY17" fmla="*/ 438203 h 657225"/>
              <a:gd name="connsiteX18" fmla="*/ 8363159 w 9144000"/>
              <a:gd name="connsiteY18" fmla="*/ 417366 h 657225"/>
              <a:gd name="connsiteX19" fmla="*/ 8402683 w 9144000"/>
              <a:gd name="connsiteY19" fmla="*/ 417366 h 657225"/>
              <a:gd name="connsiteX20" fmla="*/ 8402683 w 9144000"/>
              <a:gd name="connsiteY20" fmla="*/ 395795 h 657225"/>
              <a:gd name="connsiteX21" fmla="*/ 8363159 w 9144000"/>
              <a:gd name="connsiteY21" fmla="*/ 395795 h 657225"/>
              <a:gd name="connsiteX22" fmla="*/ 8363159 w 9144000"/>
              <a:gd name="connsiteY22" fmla="*/ 376707 h 657225"/>
              <a:gd name="connsiteX23" fmla="*/ 8406529 w 9144000"/>
              <a:gd name="connsiteY23" fmla="*/ 376707 h 657225"/>
              <a:gd name="connsiteX24" fmla="*/ 8406529 w 9144000"/>
              <a:gd name="connsiteY24" fmla="*/ 353970 h 657225"/>
              <a:gd name="connsiteX25" fmla="*/ 8245576 w 9144000"/>
              <a:gd name="connsiteY25" fmla="*/ 353951 h 657225"/>
              <a:gd name="connsiteX26" fmla="*/ 8262083 w 9144000"/>
              <a:gd name="connsiteY26" fmla="*/ 388348 h 657225"/>
              <a:gd name="connsiteX27" fmla="*/ 8288527 w 9144000"/>
              <a:gd name="connsiteY27" fmla="*/ 388348 h 657225"/>
              <a:gd name="connsiteX28" fmla="*/ 8273963 w 9144000"/>
              <a:gd name="connsiteY28" fmla="*/ 353951 h 657225"/>
              <a:gd name="connsiteX29" fmla="*/ 8520246 w 9144000"/>
              <a:gd name="connsiteY29" fmla="*/ 353932 h 657225"/>
              <a:gd name="connsiteX30" fmla="*/ 8520246 w 9144000"/>
              <a:gd name="connsiteY30" fmla="*/ 460789 h 657225"/>
              <a:gd name="connsiteX31" fmla="*/ 8545321 w 9144000"/>
              <a:gd name="connsiteY31" fmla="*/ 460789 h 657225"/>
              <a:gd name="connsiteX32" fmla="*/ 8545321 w 9144000"/>
              <a:gd name="connsiteY32" fmla="*/ 429157 h 657225"/>
              <a:gd name="connsiteX33" fmla="*/ 8554631 w 9144000"/>
              <a:gd name="connsiteY33" fmla="*/ 429157 h 657225"/>
              <a:gd name="connsiteX34" fmla="*/ 8598420 w 9144000"/>
              <a:gd name="connsiteY34" fmla="*/ 391244 h 657225"/>
              <a:gd name="connsiteX35" fmla="*/ 8550347 w 9144000"/>
              <a:gd name="connsiteY35" fmla="*/ 353932 h 657225"/>
              <a:gd name="connsiteX36" fmla="*/ 8415496 w 9144000"/>
              <a:gd name="connsiteY36" fmla="*/ 353932 h 657225"/>
              <a:gd name="connsiteX37" fmla="*/ 8415496 w 9144000"/>
              <a:gd name="connsiteY37" fmla="*/ 460695 h 657225"/>
              <a:gd name="connsiteX38" fmla="*/ 8448547 w 9144000"/>
              <a:gd name="connsiteY38" fmla="*/ 460808 h 657225"/>
              <a:gd name="connsiteX39" fmla="*/ 8513278 w 9144000"/>
              <a:gd name="connsiteY39" fmla="*/ 406439 h 657225"/>
              <a:gd name="connsiteX40" fmla="*/ 8447462 w 9144000"/>
              <a:gd name="connsiteY40" fmla="*/ 353970 h 657225"/>
              <a:gd name="connsiteX41" fmla="*/ 8447500 w 9144000"/>
              <a:gd name="connsiteY41" fmla="*/ 353932 h 657225"/>
              <a:gd name="connsiteX42" fmla="*/ 8415496 w 9144000"/>
              <a:gd name="connsiteY42" fmla="*/ 353932 h 657225"/>
              <a:gd name="connsiteX43" fmla="*/ 8323901 w 9144000"/>
              <a:gd name="connsiteY43" fmla="*/ 353932 h 657225"/>
              <a:gd name="connsiteX44" fmla="*/ 8298694 w 9144000"/>
              <a:gd name="connsiteY44" fmla="*/ 411874 h 657225"/>
              <a:gd name="connsiteX45" fmla="*/ 8291859 w 9144000"/>
              <a:gd name="connsiteY45" fmla="*/ 395870 h 657225"/>
              <a:gd name="connsiteX46" fmla="*/ 8265624 w 9144000"/>
              <a:gd name="connsiteY46" fmla="*/ 395870 h 657225"/>
              <a:gd name="connsiteX47" fmla="*/ 8296943 w 9144000"/>
              <a:gd name="connsiteY47" fmla="*/ 461203 h 657225"/>
              <a:gd name="connsiteX48" fmla="*/ 8299856 w 9144000"/>
              <a:gd name="connsiteY48" fmla="*/ 461203 h 657225"/>
              <a:gd name="connsiteX49" fmla="*/ 8350594 w 9144000"/>
              <a:gd name="connsiteY49" fmla="*/ 353932 h 657225"/>
              <a:gd name="connsiteX50" fmla="*/ 8704282 w 9144000"/>
              <a:gd name="connsiteY50" fmla="*/ 315373 h 657225"/>
              <a:gd name="connsiteX51" fmla="*/ 8704282 w 9144000"/>
              <a:gd name="connsiteY51" fmla="*/ 489998 h 657225"/>
              <a:gd name="connsiteX52" fmla="*/ 8723671 w 9144000"/>
              <a:gd name="connsiteY52" fmla="*/ 489998 h 657225"/>
              <a:gd name="connsiteX53" fmla="*/ 8723671 w 9144000"/>
              <a:gd name="connsiteY53" fmla="*/ 315373 h 657225"/>
              <a:gd name="connsiteX54" fmla="*/ 0 w 9144000"/>
              <a:gd name="connsiteY54" fmla="*/ 0 h 657225"/>
              <a:gd name="connsiteX55" fmla="*/ 9144000 w 9144000"/>
              <a:gd name="connsiteY55" fmla="*/ 0 h 657225"/>
              <a:gd name="connsiteX56" fmla="*/ 9144000 w 9144000"/>
              <a:gd name="connsiteY56" fmla="*/ 657225 h 657225"/>
              <a:gd name="connsiteX57" fmla="*/ 0 w 9144000"/>
              <a:gd name="connsiteY57" fmla="*/ 657225 h 657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9144000" h="657225">
                <a:moveTo>
                  <a:pt x="8545321" y="376500"/>
                </a:moveTo>
                <a:lnTo>
                  <a:pt x="8554631" y="376500"/>
                </a:lnTo>
                <a:cubicBezTo>
                  <a:pt x="8567006" y="376500"/>
                  <a:pt x="8572756" y="383195"/>
                  <a:pt x="8572756" y="391789"/>
                </a:cubicBezTo>
                <a:cubicBezTo>
                  <a:pt x="8572756" y="402133"/>
                  <a:pt x="8566130" y="407812"/>
                  <a:pt x="8552841" y="407812"/>
                </a:cubicBezTo>
                <a:lnTo>
                  <a:pt x="8552841" y="407699"/>
                </a:lnTo>
                <a:lnTo>
                  <a:pt x="8545321" y="407699"/>
                </a:lnTo>
                <a:close/>
                <a:moveTo>
                  <a:pt x="8440532" y="375390"/>
                </a:moveTo>
                <a:lnTo>
                  <a:pt x="8450870" y="375390"/>
                </a:lnTo>
                <a:cubicBezTo>
                  <a:pt x="8474172" y="375390"/>
                  <a:pt x="8486566" y="387050"/>
                  <a:pt x="8486566" y="406439"/>
                </a:cubicBezTo>
                <a:cubicBezTo>
                  <a:pt x="8486566" y="426412"/>
                  <a:pt x="8476095" y="439520"/>
                  <a:pt x="8452487" y="439520"/>
                </a:cubicBezTo>
                <a:lnTo>
                  <a:pt x="8440532" y="439520"/>
                </a:lnTo>
                <a:close/>
                <a:moveTo>
                  <a:pt x="8359313" y="353970"/>
                </a:moveTo>
                <a:lnTo>
                  <a:pt x="8357847" y="357073"/>
                </a:lnTo>
                <a:lnTo>
                  <a:pt x="8338066" y="398879"/>
                </a:lnTo>
                <a:lnTo>
                  <a:pt x="8338066" y="460790"/>
                </a:lnTo>
                <a:lnTo>
                  <a:pt x="8406529" y="460790"/>
                </a:lnTo>
                <a:lnTo>
                  <a:pt x="8406529" y="438203"/>
                </a:lnTo>
                <a:lnTo>
                  <a:pt x="8363159" y="438203"/>
                </a:lnTo>
                <a:lnTo>
                  <a:pt x="8363159" y="417366"/>
                </a:lnTo>
                <a:lnTo>
                  <a:pt x="8402683" y="417366"/>
                </a:lnTo>
                <a:lnTo>
                  <a:pt x="8402683" y="395795"/>
                </a:lnTo>
                <a:lnTo>
                  <a:pt x="8363159" y="395795"/>
                </a:lnTo>
                <a:lnTo>
                  <a:pt x="8363159" y="376707"/>
                </a:lnTo>
                <a:lnTo>
                  <a:pt x="8406529" y="376707"/>
                </a:lnTo>
                <a:lnTo>
                  <a:pt x="8406529" y="353970"/>
                </a:lnTo>
                <a:close/>
                <a:moveTo>
                  <a:pt x="8245576" y="353951"/>
                </a:moveTo>
                <a:lnTo>
                  <a:pt x="8262083" y="388348"/>
                </a:lnTo>
                <a:lnTo>
                  <a:pt x="8288527" y="388348"/>
                </a:lnTo>
                <a:lnTo>
                  <a:pt x="8273963" y="353951"/>
                </a:lnTo>
                <a:close/>
                <a:moveTo>
                  <a:pt x="8520246" y="353932"/>
                </a:moveTo>
                <a:lnTo>
                  <a:pt x="8520246" y="460789"/>
                </a:lnTo>
                <a:lnTo>
                  <a:pt x="8545321" y="460789"/>
                </a:lnTo>
                <a:lnTo>
                  <a:pt x="8545321" y="429157"/>
                </a:lnTo>
                <a:lnTo>
                  <a:pt x="8554631" y="429157"/>
                </a:lnTo>
                <a:cubicBezTo>
                  <a:pt x="8583189" y="429157"/>
                  <a:pt x="8598420" y="413266"/>
                  <a:pt x="8598420" y="391244"/>
                </a:cubicBezTo>
                <a:cubicBezTo>
                  <a:pt x="8598439" y="369711"/>
                  <a:pt x="8581628" y="353932"/>
                  <a:pt x="8550347" y="353932"/>
                </a:cubicBezTo>
                <a:close/>
                <a:moveTo>
                  <a:pt x="8415496" y="353932"/>
                </a:moveTo>
                <a:lnTo>
                  <a:pt x="8415496" y="460695"/>
                </a:lnTo>
                <a:cubicBezTo>
                  <a:pt x="8415496" y="460695"/>
                  <a:pt x="8435867" y="460808"/>
                  <a:pt x="8448547" y="460808"/>
                </a:cubicBezTo>
                <a:cubicBezTo>
                  <a:pt x="8493382" y="460808"/>
                  <a:pt x="8513278" y="437921"/>
                  <a:pt x="8513278" y="406439"/>
                </a:cubicBezTo>
                <a:cubicBezTo>
                  <a:pt x="8513278" y="376349"/>
                  <a:pt x="8492335" y="353970"/>
                  <a:pt x="8447462" y="353970"/>
                </a:cubicBezTo>
                <a:lnTo>
                  <a:pt x="8447500" y="353932"/>
                </a:lnTo>
                <a:cubicBezTo>
                  <a:pt x="8436743" y="353932"/>
                  <a:pt x="8415496" y="353932"/>
                  <a:pt x="8415496" y="353932"/>
                </a:cubicBezTo>
                <a:close/>
                <a:moveTo>
                  <a:pt x="8323901" y="353932"/>
                </a:moveTo>
                <a:lnTo>
                  <a:pt x="8298694" y="411874"/>
                </a:lnTo>
                <a:lnTo>
                  <a:pt x="8291859" y="395870"/>
                </a:lnTo>
                <a:lnTo>
                  <a:pt x="8265624" y="395870"/>
                </a:lnTo>
                <a:lnTo>
                  <a:pt x="8296943" y="461203"/>
                </a:lnTo>
                <a:lnTo>
                  <a:pt x="8299856" y="461203"/>
                </a:lnTo>
                <a:lnTo>
                  <a:pt x="8350594" y="353932"/>
                </a:lnTo>
                <a:close/>
                <a:moveTo>
                  <a:pt x="8704282" y="315373"/>
                </a:moveTo>
                <a:lnTo>
                  <a:pt x="8704282" y="489998"/>
                </a:lnTo>
                <a:lnTo>
                  <a:pt x="8723671" y="489998"/>
                </a:lnTo>
                <a:lnTo>
                  <a:pt x="8723671" y="315373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57225"/>
                </a:lnTo>
                <a:lnTo>
                  <a:pt x="0" y="65722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Wingdings" pitchFamily="2" charset="2"/>
              <a:buNone/>
              <a:defRPr sz="1400" b="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7850" indent="-30162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5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6ACA9DB-4044-6F42-96B1-45EBCD182B84}"/>
              </a:ext>
            </a:extLst>
          </p:cNvPr>
          <p:cNvGrpSpPr/>
          <p:nvPr userDrawn="1"/>
        </p:nvGrpSpPr>
        <p:grpSpPr>
          <a:xfrm>
            <a:off x="-254939" y="-183169"/>
            <a:ext cx="9657928" cy="5511516"/>
            <a:chOff x="-254939" y="-244225"/>
            <a:chExt cx="9657928" cy="7348688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85C25219-E915-0247-86A1-22585D6E3093}"/>
                </a:ext>
              </a:extLst>
            </p:cNvPr>
            <p:cNvGrpSpPr/>
            <p:nvPr userDrawn="1"/>
          </p:nvGrpSpPr>
          <p:grpSpPr>
            <a:xfrm>
              <a:off x="433266" y="6867287"/>
              <a:ext cx="8280398" cy="235792"/>
              <a:chOff x="431801" y="-235792"/>
              <a:chExt cx="4400550" cy="235792"/>
            </a:xfrm>
          </p:grpSpPr>
          <p:cxnSp>
            <p:nvCxnSpPr>
              <p:cNvPr id="57" name="Straight Connector 56">
                <a:extLst>
                  <a:ext uri="{FF2B5EF4-FFF2-40B4-BE49-F238E27FC236}">
                    <a16:creationId xmlns:a16="http://schemas.microsoft.com/office/drawing/2014/main" id="{E473508A-53E9-294C-8A55-AA67E2E362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Connector 57">
                <a:extLst>
                  <a:ext uri="{FF2B5EF4-FFF2-40B4-BE49-F238E27FC236}">
                    <a16:creationId xmlns:a16="http://schemas.microsoft.com/office/drawing/2014/main" id="{AEE1771F-109C-B54D-8B81-A3B0F5D0C42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31062115-5946-2E4B-8C29-C85175435B4D}"/>
                </a:ext>
              </a:extLst>
            </p:cNvPr>
            <p:cNvGrpSpPr/>
            <p:nvPr userDrawn="1"/>
          </p:nvGrpSpPr>
          <p:grpSpPr>
            <a:xfrm>
              <a:off x="-254939" y="6202098"/>
              <a:ext cx="251461" cy="505509"/>
              <a:chOff x="-256403" y="6200775"/>
              <a:chExt cx="251461" cy="505509"/>
            </a:xfrm>
          </p:grpSpPr>
          <p:grpSp>
            <p:nvGrpSpPr>
              <p:cNvPr id="60" name="Group 59">
                <a:extLst>
                  <a:ext uri="{FF2B5EF4-FFF2-40B4-BE49-F238E27FC236}">
                    <a16:creationId xmlns:a16="http://schemas.microsoft.com/office/drawing/2014/main" id="{47C326A5-BE4B-1442-AC13-B44C5D4792CF}"/>
                  </a:ext>
                </a:extLst>
              </p:cNvPr>
              <p:cNvGrpSpPr/>
              <p:nvPr userDrawn="1"/>
            </p:nvGrpSpPr>
            <p:grpSpPr>
              <a:xfrm rot="16200000">
                <a:off x="-383427" y="6327799"/>
                <a:ext cx="505509" cy="251461"/>
                <a:chOff x="431800" y="-235792"/>
                <a:chExt cx="4400551" cy="235792"/>
              </a:xfrm>
            </p:grpSpPr>
            <p:cxnSp>
              <p:nvCxnSpPr>
                <p:cNvPr id="62" name="Straight Connector 61">
                  <a:extLst>
                    <a:ext uri="{FF2B5EF4-FFF2-40B4-BE49-F238E27FC236}">
                      <a16:creationId xmlns:a16="http://schemas.microsoft.com/office/drawing/2014/main" id="{DBB5637D-AB15-E04F-A1B6-3A283BA1C6F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" name="Straight Connector 62">
                  <a:extLst>
                    <a:ext uri="{FF2B5EF4-FFF2-40B4-BE49-F238E27FC236}">
                      <a16:creationId xmlns:a16="http://schemas.microsoft.com/office/drawing/2014/main" id="{A1D7E4D6-88A2-7E4B-9284-DCED9F79105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4" name="Rectangle 63">
                  <a:extLst>
                    <a:ext uri="{FF2B5EF4-FFF2-40B4-BE49-F238E27FC236}">
                      <a16:creationId xmlns:a16="http://schemas.microsoft.com/office/drawing/2014/main" id="{F393F5F7-24EF-2745-BC86-DF4C9F389FCB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</p:grp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F75E910D-9604-9D4F-90E2-EF81D37C867B}"/>
                  </a:ext>
                </a:extLst>
              </p:cNvPr>
              <p:cNvSpPr txBox="1"/>
              <p:nvPr userDrawn="1"/>
            </p:nvSpPr>
            <p:spPr>
              <a:xfrm rot="16200000">
                <a:off x="-285630" y="6399802"/>
                <a:ext cx="309914" cy="129266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sz="5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FOOT</a:t>
                </a:r>
                <a:br>
                  <a:rPr lang="en-US" sz="5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</a:br>
                <a:r>
                  <a:rPr lang="en-US" sz="5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NOTES</a:t>
                </a:r>
              </a:p>
            </p:txBody>
          </p: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292BBFA4-5FEF-524D-AD01-F867D593722F}"/>
                </a:ext>
              </a:extLst>
            </p:cNvPr>
            <p:cNvGrpSpPr/>
            <p:nvPr userDrawn="1"/>
          </p:nvGrpSpPr>
          <p:grpSpPr>
            <a:xfrm>
              <a:off x="433264" y="-244225"/>
              <a:ext cx="8280400" cy="235792"/>
              <a:chOff x="431800" y="-240735"/>
              <a:chExt cx="8280400" cy="235792"/>
            </a:xfrm>
          </p:grpSpPr>
          <p:grpSp>
            <p:nvGrpSpPr>
              <p:cNvPr id="66" name="Group 65">
                <a:extLst>
                  <a:ext uri="{FF2B5EF4-FFF2-40B4-BE49-F238E27FC236}">
                    <a16:creationId xmlns:a16="http://schemas.microsoft.com/office/drawing/2014/main" id="{5A2E8C57-7A20-F840-9308-5611AA6C77E3}"/>
                  </a:ext>
                </a:extLst>
              </p:cNvPr>
              <p:cNvGrpSpPr/>
              <p:nvPr userDrawn="1"/>
            </p:nvGrpSpPr>
            <p:grpSpPr>
              <a:xfrm>
                <a:off x="431800" y="-240735"/>
                <a:ext cx="8280400" cy="235792"/>
                <a:chOff x="431800" y="-235792"/>
                <a:chExt cx="4400551" cy="235792"/>
              </a:xfrm>
            </p:grpSpPr>
            <p:cxnSp>
              <p:nvCxnSpPr>
                <p:cNvPr id="70" name="Straight Connector 69">
                  <a:extLst>
                    <a:ext uri="{FF2B5EF4-FFF2-40B4-BE49-F238E27FC236}">
                      <a16:creationId xmlns:a16="http://schemas.microsoft.com/office/drawing/2014/main" id="{35EF9DEA-530C-4B42-B0F7-9C7D4C25A0A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1" name="Straight Connector 70">
                  <a:extLst>
                    <a:ext uri="{FF2B5EF4-FFF2-40B4-BE49-F238E27FC236}">
                      <a16:creationId xmlns:a16="http://schemas.microsoft.com/office/drawing/2014/main" id="{B71C38FE-1DD7-7B4D-B6D4-CEB6C6D31A2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2" name="Rectangle 71">
                  <a:extLst>
                    <a:ext uri="{FF2B5EF4-FFF2-40B4-BE49-F238E27FC236}">
                      <a16:creationId xmlns:a16="http://schemas.microsoft.com/office/drawing/2014/main" id="{B274FA2B-3A29-0F4D-A4D3-1E12B5D4CEF3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</p:grpSp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AF99FA91-ECED-4D43-BCE4-7FAD08FA3B04}"/>
                  </a:ext>
                </a:extLst>
              </p:cNvPr>
              <p:cNvSpPr txBox="1"/>
              <p:nvPr userDrawn="1"/>
            </p:nvSpPr>
            <p:spPr>
              <a:xfrm>
                <a:off x="3883466" y="-176700"/>
                <a:ext cx="1377081" cy="107721"/>
              </a:xfrm>
              <a:prstGeom prst="rect">
                <a:avLst/>
              </a:prstGeom>
            </p:spPr>
            <p:txBody>
              <a:bodyPr vert="horz" wrap="none" lIns="108000" tIns="0" rIns="108000" bIns="0" rtlCol="0" anchor="ctr">
                <a:spAutoFit/>
              </a:bodyPr>
              <a:lstStyle/>
              <a:p>
                <a:pPr algn="ctr"/>
                <a:r>
                  <a:rPr lang="en-US" sz="5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KEEP CONTENT WITHIN THIS AREA</a:t>
                </a:r>
              </a:p>
            </p:txBody>
          </p:sp>
          <p:cxnSp>
            <p:nvCxnSpPr>
              <p:cNvPr id="68" name="Straight Arrow Connector 67">
                <a:extLst>
                  <a:ext uri="{FF2B5EF4-FFF2-40B4-BE49-F238E27FC236}">
                    <a16:creationId xmlns:a16="http://schemas.microsoft.com/office/drawing/2014/main" id="{B34B6B73-1081-0E44-AF98-571C7E0BD066}"/>
                  </a:ext>
                </a:extLst>
              </p:cNvPr>
              <p:cNvCxnSpPr>
                <a:cxnSpLocks/>
                <a:stCxn id="67" idx="1"/>
                <a:endCxn id="72" idx="2"/>
              </p:cNvCxnSpPr>
              <p:nvPr userDrawn="1"/>
            </p:nvCxnSpPr>
            <p:spPr>
              <a:xfrm flipH="1">
                <a:off x="431800" y="-122839"/>
                <a:ext cx="3451666" cy="1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Arrow Connector 68">
                <a:extLst>
                  <a:ext uri="{FF2B5EF4-FFF2-40B4-BE49-F238E27FC236}">
                    <a16:creationId xmlns:a16="http://schemas.microsoft.com/office/drawing/2014/main" id="{3CF09107-5C11-FD44-BFDC-AE93DE20F6F2}"/>
                  </a:ext>
                </a:extLst>
              </p:cNvPr>
              <p:cNvCxnSpPr>
                <a:cxnSpLocks/>
                <a:stCxn id="67" idx="3"/>
                <a:endCxn id="72" idx="0"/>
              </p:cNvCxnSpPr>
              <p:nvPr userDrawn="1"/>
            </p:nvCxnSpPr>
            <p:spPr>
              <a:xfrm>
                <a:off x="5260547" y="-122839"/>
                <a:ext cx="3451653" cy="0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D62B5D38-D820-3845-8687-4B3E3C84C708}"/>
                </a:ext>
              </a:extLst>
            </p:cNvPr>
            <p:cNvGrpSpPr/>
            <p:nvPr userDrawn="1"/>
          </p:nvGrpSpPr>
          <p:grpSpPr>
            <a:xfrm rot="16200000">
              <a:off x="9024504" y="6329122"/>
              <a:ext cx="505509" cy="251461"/>
              <a:chOff x="431801" y="-235792"/>
              <a:chExt cx="4400550" cy="235792"/>
            </a:xfrm>
          </p:grpSpPr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4872C320-D6C1-DA4E-9AD7-B7A0A8B4D5B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EAF17C3F-BCF7-E84D-B2B3-0197BB3DE5F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B6482D8A-4DDA-CF4B-9EFA-753740F85D70}"/>
                </a:ext>
              </a:extLst>
            </p:cNvPr>
            <p:cNvGrpSpPr/>
            <p:nvPr userDrawn="1"/>
          </p:nvGrpSpPr>
          <p:grpSpPr>
            <a:xfrm>
              <a:off x="-254939" y="420689"/>
              <a:ext cx="9657928" cy="5746484"/>
              <a:chOff x="-254939" y="1236195"/>
              <a:chExt cx="9657928" cy="4930977"/>
            </a:xfrm>
          </p:grpSpPr>
          <p:grpSp>
            <p:nvGrpSpPr>
              <p:cNvPr id="73" name="Group 72">
                <a:extLst>
                  <a:ext uri="{FF2B5EF4-FFF2-40B4-BE49-F238E27FC236}">
                    <a16:creationId xmlns:a16="http://schemas.microsoft.com/office/drawing/2014/main" id="{BA0B2552-2063-B94B-8753-4FFD2EFDAEFA}"/>
                  </a:ext>
                </a:extLst>
              </p:cNvPr>
              <p:cNvGrpSpPr/>
              <p:nvPr userDrawn="1"/>
            </p:nvGrpSpPr>
            <p:grpSpPr>
              <a:xfrm>
                <a:off x="-254939" y="1236195"/>
                <a:ext cx="251461" cy="4930977"/>
                <a:chOff x="-256403" y="1304924"/>
                <a:chExt cx="251461" cy="4843215"/>
              </a:xfrm>
            </p:grpSpPr>
            <p:grpSp>
              <p:nvGrpSpPr>
                <p:cNvPr id="74" name="Group 73">
                  <a:extLst>
                    <a:ext uri="{FF2B5EF4-FFF2-40B4-BE49-F238E27FC236}">
                      <a16:creationId xmlns:a16="http://schemas.microsoft.com/office/drawing/2014/main" id="{3E908781-EB9C-7F43-9C77-51D6DF0D08FB}"/>
                    </a:ext>
                  </a:extLst>
                </p:cNvPr>
                <p:cNvGrpSpPr/>
                <p:nvPr userDrawn="1"/>
              </p:nvGrpSpPr>
              <p:grpSpPr>
                <a:xfrm rot="16200000">
                  <a:off x="-2552280" y="3600801"/>
                  <a:ext cx="4843215" cy="251461"/>
                  <a:chOff x="431800" y="-235792"/>
                  <a:chExt cx="4400551" cy="235792"/>
                </a:xfrm>
              </p:grpSpPr>
              <p:cxnSp>
                <p:nvCxnSpPr>
                  <p:cNvPr id="80" name="Straight Connector 79">
                    <a:extLst>
                      <a:ext uri="{FF2B5EF4-FFF2-40B4-BE49-F238E27FC236}">
                        <a16:creationId xmlns:a16="http://schemas.microsoft.com/office/drawing/2014/main" id="{6348B6E7-397E-7443-A5B3-B13B784EE033}"/>
                      </a:ext>
                    </a:extLst>
                  </p:cNvPr>
                  <p:cNvCxnSpPr>
                    <a:cxnSpLocks/>
                  </p:cNvCxnSpPr>
                  <p:nvPr userDrawn="1"/>
                </p:nvCxnSpPr>
                <p:spPr>
                  <a:xfrm flipV="1">
                    <a:off x="4832351" y="-235792"/>
                    <a:ext cx="0" cy="235792"/>
                  </a:xfrm>
                  <a:prstGeom prst="line">
                    <a:avLst/>
                  </a:prstGeom>
                  <a:ln w="25400"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1" name="Straight Connector 80">
                    <a:extLst>
                      <a:ext uri="{FF2B5EF4-FFF2-40B4-BE49-F238E27FC236}">
                        <a16:creationId xmlns:a16="http://schemas.microsoft.com/office/drawing/2014/main" id="{DCC8C989-AEB2-1342-A4F6-C0CE5593C320}"/>
                      </a:ext>
                    </a:extLst>
                  </p:cNvPr>
                  <p:cNvCxnSpPr>
                    <a:cxnSpLocks/>
                  </p:cNvCxnSpPr>
                  <p:nvPr userDrawn="1"/>
                </p:nvCxnSpPr>
                <p:spPr>
                  <a:xfrm flipV="1">
                    <a:off x="431801" y="-235792"/>
                    <a:ext cx="0" cy="235791"/>
                  </a:xfrm>
                  <a:prstGeom prst="line">
                    <a:avLst/>
                  </a:prstGeom>
                  <a:ln w="25400"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82" name="Rectangle 81">
                    <a:extLst>
                      <a:ext uri="{FF2B5EF4-FFF2-40B4-BE49-F238E27FC236}">
                        <a16:creationId xmlns:a16="http://schemas.microsoft.com/office/drawing/2014/main" id="{E694B1DC-BFA9-8E48-96CE-C60F1DE2D2C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2514180" y="-2318172"/>
                    <a:ext cx="235791" cy="4400551"/>
                  </a:xfrm>
                  <a:prstGeom prst="rect">
                    <a:avLst/>
                  </a:prstGeom>
                  <a:solidFill>
                    <a:schemeClr val="accent2">
                      <a:alpha val="1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50"/>
                  </a:p>
                </p:txBody>
              </p:sp>
            </p:grpSp>
            <p:sp>
              <p:nvSpPr>
                <p:cNvPr id="75" name="TextBox 74">
                  <a:extLst>
                    <a:ext uri="{FF2B5EF4-FFF2-40B4-BE49-F238E27FC236}">
                      <a16:creationId xmlns:a16="http://schemas.microsoft.com/office/drawing/2014/main" id="{FC816E2B-0C94-D948-9F64-0CD5F0050148}"/>
                    </a:ext>
                  </a:extLst>
                </p:cNvPr>
                <p:cNvSpPr txBox="1"/>
                <p:nvPr userDrawn="1"/>
              </p:nvSpPr>
              <p:spPr>
                <a:xfrm rot="16200000">
                  <a:off x="-904420" y="3686135"/>
                  <a:ext cx="1547497" cy="80791"/>
                </a:xfrm>
                <a:prstGeom prst="rect">
                  <a:avLst/>
                </a:prstGeom>
              </p:spPr>
              <p:txBody>
                <a:bodyPr vert="horz" wrap="none" lIns="108000" tIns="0" rIns="108000" bIns="0" rtlCol="0" anchor="ctr">
                  <a:spAutoFit/>
                </a:bodyPr>
                <a:lstStyle/>
                <a:p>
                  <a:pPr algn="ctr"/>
                  <a:r>
                    <a:rPr lang="en-US" sz="5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KEEP CONTENT WITHIN THIS AREA</a:t>
                  </a:r>
                </a:p>
              </p:txBody>
            </p:sp>
            <p:cxnSp>
              <p:nvCxnSpPr>
                <p:cNvPr id="76" name="Straight Arrow Connector 75">
                  <a:extLst>
                    <a:ext uri="{FF2B5EF4-FFF2-40B4-BE49-F238E27FC236}">
                      <a16:creationId xmlns:a16="http://schemas.microsoft.com/office/drawing/2014/main" id="{9C4CC1A9-A535-1144-8940-768AF7ABE4E6}"/>
                    </a:ext>
                  </a:extLst>
                </p:cNvPr>
                <p:cNvCxnSpPr>
                  <a:cxnSpLocks/>
                  <a:stCxn id="75" idx="1"/>
                </p:cNvCxnSpPr>
                <p:nvPr userDrawn="1"/>
              </p:nvCxnSpPr>
              <p:spPr>
                <a:xfrm flipH="1">
                  <a:off x="-130672" y="4500279"/>
                  <a:ext cx="1" cy="1647860"/>
                </a:xfrm>
                <a:prstGeom prst="straightConnector1">
                  <a:avLst/>
                </a:prstGeom>
                <a:ln>
                  <a:solidFill>
                    <a:schemeClr val="accent2"/>
                  </a:solidFill>
                  <a:tailEnd type="arrow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Straight Arrow Connector 76">
                  <a:extLst>
                    <a:ext uri="{FF2B5EF4-FFF2-40B4-BE49-F238E27FC236}">
                      <a16:creationId xmlns:a16="http://schemas.microsoft.com/office/drawing/2014/main" id="{019F48B9-23E2-DA45-B7FC-8F11E3B079C4}"/>
                    </a:ext>
                  </a:extLst>
                </p:cNvPr>
                <p:cNvCxnSpPr>
                  <a:cxnSpLocks/>
                  <a:stCxn id="75" idx="3"/>
                </p:cNvCxnSpPr>
                <p:nvPr userDrawn="1"/>
              </p:nvCxnSpPr>
              <p:spPr>
                <a:xfrm flipH="1" flipV="1">
                  <a:off x="-130673" y="1304928"/>
                  <a:ext cx="2" cy="1647853"/>
                </a:xfrm>
                <a:prstGeom prst="straightConnector1">
                  <a:avLst/>
                </a:prstGeom>
                <a:ln>
                  <a:solidFill>
                    <a:schemeClr val="accent2"/>
                  </a:solidFill>
                  <a:tailEnd type="arrow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5" name="Group 94">
                <a:extLst>
                  <a:ext uri="{FF2B5EF4-FFF2-40B4-BE49-F238E27FC236}">
                    <a16:creationId xmlns:a16="http://schemas.microsoft.com/office/drawing/2014/main" id="{D55D1E59-56A3-A24A-8DE5-328F3950FCC9}"/>
                  </a:ext>
                </a:extLst>
              </p:cNvPr>
              <p:cNvGrpSpPr/>
              <p:nvPr userDrawn="1"/>
            </p:nvGrpSpPr>
            <p:grpSpPr>
              <a:xfrm rot="16200000">
                <a:off x="6812666" y="3576847"/>
                <a:ext cx="4929186" cy="251461"/>
                <a:chOff x="431801" y="-235792"/>
                <a:chExt cx="4462347" cy="235792"/>
              </a:xfrm>
            </p:grpSpPr>
            <p:cxnSp>
              <p:nvCxnSpPr>
                <p:cNvPr id="96" name="Straight Connector 95">
                  <a:extLst>
                    <a:ext uri="{FF2B5EF4-FFF2-40B4-BE49-F238E27FC236}">
                      <a16:creationId xmlns:a16="http://schemas.microsoft.com/office/drawing/2014/main" id="{E20DEBD3-0096-5648-87C1-52DA194811CD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94148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7" name="Straight Connector 96">
                  <a:extLst>
                    <a:ext uri="{FF2B5EF4-FFF2-40B4-BE49-F238E27FC236}">
                      <a16:creationId xmlns:a16="http://schemas.microsoft.com/office/drawing/2014/main" id="{FBF68087-6890-E04C-840F-0B5D5B30DC9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5BB4E0DB-92A2-CE4B-A4D4-C21071C96CD3}"/>
                </a:ext>
              </a:extLst>
            </p:cNvPr>
            <p:cNvGrpSpPr/>
            <p:nvPr userDrawn="1"/>
          </p:nvGrpSpPr>
          <p:grpSpPr>
            <a:xfrm>
              <a:off x="3123421" y="6868673"/>
              <a:ext cx="2929914" cy="235790"/>
              <a:chOff x="3121388" y="6869197"/>
              <a:chExt cx="2929914" cy="235790"/>
            </a:xfrm>
          </p:grpSpPr>
          <p:grpSp>
            <p:nvGrpSpPr>
              <p:cNvPr id="99" name="Group 98">
                <a:extLst>
                  <a:ext uri="{FF2B5EF4-FFF2-40B4-BE49-F238E27FC236}">
                    <a16:creationId xmlns:a16="http://schemas.microsoft.com/office/drawing/2014/main" id="{57650860-F98A-2D48-91EC-A5A2807BDC6C}"/>
                  </a:ext>
                </a:extLst>
              </p:cNvPr>
              <p:cNvGrpSpPr/>
              <p:nvPr userDrawn="1"/>
            </p:nvGrpSpPr>
            <p:grpSpPr>
              <a:xfrm>
                <a:off x="3184525" y="6869197"/>
                <a:ext cx="2774950" cy="60992"/>
                <a:chOff x="3184525" y="6869196"/>
                <a:chExt cx="2774950" cy="235791"/>
              </a:xfrm>
            </p:grpSpPr>
            <p:cxnSp>
              <p:nvCxnSpPr>
                <p:cNvPr id="110" name="Straight Connector 109">
                  <a:extLst>
                    <a:ext uri="{FF2B5EF4-FFF2-40B4-BE49-F238E27FC236}">
                      <a16:creationId xmlns:a16="http://schemas.microsoft.com/office/drawing/2014/main" id="{C0D7E8B1-DE64-BA4B-916D-7BA67CF2D79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3184525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1" name="Straight Connector 110">
                  <a:extLst>
                    <a:ext uri="{FF2B5EF4-FFF2-40B4-BE49-F238E27FC236}">
                      <a16:creationId xmlns:a16="http://schemas.microsoft.com/office/drawing/2014/main" id="{347BA98E-93B4-5545-9E4E-912B913A534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569513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" name="Straight Connector 111">
                  <a:extLst>
                    <a:ext uri="{FF2B5EF4-FFF2-40B4-BE49-F238E27FC236}">
                      <a16:creationId xmlns:a16="http://schemas.microsoft.com/office/drawing/2014/main" id="{E53E46C5-BA51-D94B-A108-538A6E5925D0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5959475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00" name="TextBox 99">
                <a:extLst>
                  <a:ext uri="{FF2B5EF4-FFF2-40B4-BE49-F238E27FC236}">
                    <a16:creationId xmlns:a16="http://schemas.microsoft.com/office/drawing/2014/main" id="{18481EF9-B9B8-5944-A70D-4FBD6F01668A}"/>
                  </a:ext>
                </a:extLst>
              </p:cNvPr>
              <p:cNvSpPr txBox="1"/>
              <p:nvPr userDrawn="1"/>
            </p:nvSpPr>
            <p:spPr>
              <a:xfrm>
                <a:off x="3121388" y="6954537"/>
                <a:ext cx="153888" cy="861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sz="5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1/3</a:t>
                </a:r>
                <a:r>
                  <a:rPr lang="en-US" sz="488" kern="1200" baseline="300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RD</a:t>
                </a:r>
              </a:p>
            </p:txBody>
          </p:sp>
          <p:sp>
            <p:nvSpPr>
              <p:cNvPr id="101" name="TextBox 100">
                <a:extLst>
                  <a:ext uri="{FF2B5EF4-FFF2-40B4-BE49-F238E27FC236}">
                    <a16:creationId xmlns:a16="http://schemas.microsoft.com/office/drawing/2014/main" id="{9B8FEDA2-CA5E-DB41-B9C8-5477A54FB095}"/>
                  </a:ext>
                </a:extLst>
              </p:cNvPr>
              <p:cNvSpPr txBox="1"/>
              <p:nvPr userDrawn="1"/>
            </p:nvSpPr>
            <p:spPr>
              <a:xfrm>
                <a:off x="4487590" y="6954537"/>
                <a:ext cx="171522" cy="861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sz="5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HALF</a:t>
                </a:r>
              </a:p>
            </p:txBody>
          </p:sp>
          <p:sp>
            <p:nvSpPr>
              <p:cNvPr id="104" name="TextBox 103">
                <a:extLst>
                  <a:ext uri="{FF2B5EF4-FFF2-40B4-BE49-F238E27FC236}">
                    <a16:creationId xmlns:a16="http://schemas.microsoft.com/office/drawing/2014/main" id="{95AD9D7F-B960-1248-B6F7-12B9FEDAAF39}"/>
                  </a:ext>
                </a:extLst>
              </p:cNvPr>
              <p:cNvSpPr txBox="1"/>
              <p:nvPr userDrawn="1"/>
            </p:nvSpPr>
            <p:spPr>
              <a:xfrm>
                <a:off x="5870162" y="6954537"/>
                <a:ext cx="181140" cy="861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sz="5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2/3</a:t>
                </a:r>
                <a:r>
                  <a:rPr lang="en-US" sz="488" baseline="300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RDS</a:t>
                </a:r>
              </a:p>
            </p:txBody>
          </p:sp>
          <p:grpSp>
            <p:nvGrpSpPr>
              <p:cNvPr id="106" name="Group 105">
                <a:extLst>
                  <a:ext uri="{FF2B5EF4-FFF2-40B4-BE49-F238E27FC236}">
                    <a16:creationId xmlns:a16="http://schemas.microsoft.com/office/drawing/2014/main" id="{F018DC65-22A5-C346-8BF0-7E16A1FC62E9}"/>
                  </a:ext>
                </a:extLst>
              </p:cNvPr>
              <p:cNvGrpSpPr/>
              <p:nvPr userDrawn="1"/>
            </p:nvGrpSpPr>
            <p:grpSpPr>
              <a:xfrm>
                <a:off x="3184525" y="7040714"/>
                <a:ext cx="2774950" cy="64273"/>
                <a:chOff x="3184525" y="6869196"/>
                <a:chExt cx="2774950" cy="235791"/>
              </a:xfrm>
            </p:grpSpPr>
            <p:cxnSp>
              <p:nvCxnSpPr>
                <p:cNvPr id="107" name="Straight Connector 106">
                  <a:extLst>
                    <a:ext uri="{FF2B5EF4-FFF2-40B4-BE49-F238E27FC236}">
                      <a16:creationId xmlns:a16="http://schemas.microsoft.com/office/drawing/2014/main" id="{E67C92E6-78A9-F947-92B0-F6468A7334E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3184525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8" name="Straight Connector 107">
                  <a:extLst>
                    <a:ext uri="{FF2B5EF4-FFF2-40B4-BE49-F238E27FC236}">
                      <a16:creationId xmlns:a16="http://schemas.microsoft.com/office/drawing/2014/main" id="{D27020A8-1DFE-AD41-98F4-8C87CFF0EEDB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569513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" name="Straight Connector 108">
                  <a:extLst>
                    <a:ext uri="{FF2B5EF4-FFF2-40B4-BE49-F238E27FC236}">
                      <a16:creationId xmlns:a16="http://schemas.microsoft.com/office/drawing/2014/main" id="{FADC7F65-2D38-BF45-951F-C8F488F9763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5959475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47" name="Picture Placeholder 10">
            <a:extLst>
              <a:ext uri="{FF2B5EF4-FFF2-40B4-BE49-F238E27FC236}">
                <a16:creationId xmlns:a16="http://schemas.microsoft.com/office/drawing/2014/main" id="{D9C96E41-86C9-6047-85B6-214B5F3F109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  <a:custGeom>
            <a:avLst/>
            <a:gdLst>
              <a:gd name="connsiteX0" fmla="*/ 8545321 w 9144000"/>
              <a:gd name="connsiteY0" fmla="*/ 6577275 h 6858000"/>
              <a:gd name="connsiteX1" fmla="*/ 8554631 w 9144000"/>
              <a:gd name="connsiteY1" fmla="*/ 6577275 h 6858000"/>
              <a:gd name="connsiteX2" fmla="*/ 8572756 w 9144000"/>
              <a:gd name="connsiteY2" fmla="*/ 6592564 h 6858000"/>
              <a:gd name="connsiteX3" fmla="*/ 8552841 w 9144000"/>
              <a:gd name="connsiteY3" fmla="*/ 6608587 h 6858000"/>
              <a:gd name="connsiteX4" fmla="*/ 8552841 w 9144000"/>
              <a:gd name="connsiteY4" fmla="*/ 6608474 h 6858000"/>
              <a:gd name="connsiteX5" fmla="*/ 8545321 w 9144000"/>
              <a:gd name="connsiteY5" fmla="*/ 6608474 h 6858000"/>
              <a:gd name="connsiteX6" fmla="*/ 8440532 w 9144000"/>
              <a:gd name="connsiteY6" fmla="*/ 6576165 h 6858000"/>
              <a:gd name="connsiteX7" fmla="*/ 8450870 w 9144000"/>
              <a:gd name="connsiteY7" fmla="*/ 6576165 h 6858000"/>
              <a:gd name="connsiteX8" fmla="*/ 8486566 w 9144000"/>
              <a:gd name="connsiteY8" fmla="*/ 6607214 h 6858000"/>
              <a:gd name="connsiteX9" fmla="*/ 8452487 w 9144000"/>
              <a:gd name="connsiteY9" fmla="*/ 6640295 h 6858000"/>
              <a:gd name="connsiteX10" fmla="*/ 8440532 w 9144000"/>
              <a:gd name="connsiteY10" fmla="*/ 6640295 h 6858000"/>
              <a:gd name="connsiteX11" fmla="*/ 8359313 w 9144000"/>
              <a:gd name="connsiteY11" fmla="*/ 6554745 h 6858000"/>
              <a:gd name="connsiteX12" fmla="*/ 8357847 w 9144000"/>
              <a:gd name="connsiteY12" fmla="*/ 6557848 h 6858000"/>
              <a:gd name="connsiteX13" fmla="*/ 8338066 w 9144000"/>
              <a:gd name="connsiteY13" fmla="*/ 6599654 h 6858000"/>
              <a:gd name="connsiteX14" fmla="*/ 8338066 w 9144000"/>
              <a:gd name="connsiteY14" fmla="*/ 6661565 h 6858000"/>
              <a:gd name="connsiteX15" fmla="*/ 8406529 w 9144000"/>
              <a:gd name="connsiteY15" fmla="*/ 6661565 h 6858000"/>
              <a:gd name="connsiteX16" fmla="*/ 8406529 w 9144000"/>
              <a:gd name="connsiteY16" fmla="*/ 6638978 h 6858000"/>
              <a:gd name="connsiteX17" fmla="*/ 8363159 w 9144000"/>
              <a:gd name="connsiteY17" fmla="*/ 6638978 h 6858000"/>
              <a:gd name="connsiteX18" fmla="*/ 8363159 w 9144000"/>
              <a:gd name="connsiteY18" fmla="*/ 6618141 h 6858000"/>
              <a:gd name="connsiteX19" fmla="*/ 8402683 w 9144000"/>
              <a:gd name="connsiteY19" fmla="*/ 6618141 h 6858000"/>
              <a:gd name="connsiteX20" fmla="*/ 8402683 w 9144000"/>
              <a:gd name="connsiteY20" fmla="*/ 6596570 h 6858000"/>
              <a:gd name="connsiteX21" fmla="*/ 8363159 w 9144000"/>
              <a:gd name="connsiteY21" fmla="*/ 6596570 h 6858000"/>
              <a:gd name="connsiteX22" fmla="*/ 8363159 w 9144000"/>
              <a:gd name="connsiteY22" fmla="*/ 6577482 h 6858000"/>
              <a:gd name="connsiteX23" fmla="*/ 8406529 w 9144000"/>
              <a:gd name="connsiteY23" fmla="*/ 6577482 h 6858000"/>
              <a:gd name="connsiteX24" fmla="*/ 8406529 w 9144000"/>
              <a:gd name="connsiteY24" fmla="*/ 6554745 h 6858000"/>
              <a:gd name="connsiteX25" fmla="*/ 8245576 w 9144000"/>
              <a:gd name="connsiteY25" fmla="*/ 6554726 h 6858000"/>
              <a:gd name="connsiteX26" fmla="*/ 8262083 w 9144000"/>
              <a:gd name="connsiteY26" fmla="*/ 6589123 h 6858000"/>
              <a:gd name="connsiteX27" fmla="*/ 8288527 w 9144000"/>
              <a:gd name="connsiteY27" fmla="*/ 6589123 h 6858000"/>
              <a:gd name="connsiteX28" fmla="*/ 8273963 w 9144000"/>
              <a:gd name="connsiteY28" fmla="*/ 6554726 h 6858000"/>
              <a:gd name="connsiteX29" fmla="*/ 8520246 w 9144000"/>
              <a:gd name="connsiteY29" fmla="*/ 6554707 h 6858000"/>
              <a:gd name="connsiteX30" fmla="*/ 8520246 w 9144000"/>
              <a:gd name="connsiteY30" fmla="*/ 6661564 h 6858000"/>
              <a:gd name="connsiteX31" fmla="*/ 8545321 w 9144000"/>
              <a:gd name="connsiteY31" fmla="*/ 6661564 h 6858000"/>
              <a:gd name="connsiteX32" fmla="*/ 8545321 w 9144000"/>
              <a:gd name="connsiteY32" fmla="*/ 6629932 h 6858000"/>
              <a:gd name="connsiteX33" fmla="*/ 8554631 w 9144000"/>
              <a:gd name="connsiteY33" fmla="*/ 6629932 h 6858000"/>
              <a:gd name="connsiteX34" fmla="*/ 8598420 w 9144000"/>
              <a:gd name="connsiteY34" fmla="*/ 6592019 h 6858000"/>
              <a:gd name="connsiteX35" fmla="*/ 8550347 w 9144000"/>
              <a:gd name="connsiteY35" fmla="*/ 6554707 h 6858000"/>
              <a:gd name="connsiteX36" fmla="*/ 8415496 w 9144000"/>
              <a:gd name="connsiteY36" fmla="*/ 6554707 h 6858000"/>
              <a:gd name="connsiteX37" fmla="*/ 8415496 w 9144000"/>
              <a:gd name="connsiteY37" fmla="*/ 6661470 h 6858000"/>
              <a:gd name="connsiteX38" fmla="*/ 8448547 w 9144000"/>
              <a:gd name="connsiteY38" fmla="*/ 6661583 h 6858000"/>
              <a:gd name="connsiteX39" fmla="*/ 8513278 w 9144000"/>
              <a:gd name="connsiteY39" fmla="*/ 6607214 h 6858000"/>
              <a:gd name="connsiteX40" fmla="*/ 8447462 w 9144000"/>
              <a:gd name="connsiteY40" fmla="*/ 6554745 h 6858000"/>
              <a:gd name="connsiteX41" fmla="*/ 8447500 w 9144000"/>
              <a:gd name="connsiteY41" fmla="*/ 6554707 h 6858000"/>
              <a:gd name="connsiteX42" fmla="*/ 8415496 w 9144000"/>
              <a:gd name="connsiteY42" fmla="*/ 6554707 h 6858000"/>
              <a:gd name="connsiteX43" fmla="*/ 8323901 w 9144000"/>
              <a:gd name="connsiteY43" fmla="*/ 6554707 h 6858000"/>
              <a:gd name="connsiteX44" fmla="*/ 8298694 w 9144000"/>
              <a:gd name="connsiteY44" fmla="*/ 6612649 h 6858000"/>
              <a:gd name="connsiteX45" fmla="*/ 8291859 w 9144000"/>
              <a:gd name="connsiteY45" fmla="*/ 6596645 h 6858000"/>
              <a:gd name="connsiteX46" fmla="*/ 8265624 w 9144000"/>
              <a:gd name="connsiteY46" fmla="*/ 6596645 h 6858000"/>
              <a:gd name="connsiteX47" fmla="*/ 8296943 w 9144000"/>
              <a:gd name="connsiteY47" fmla="*/ 6661978 h 6858000"/>
              <a:gd name="connsiteX48" fmla="*/ 8299856 w 9144000"/>
              <a:gd name="connsiteY48" fmla="*/ 6661978 h 6858000"/>
              <a:gd name="connsiteX49" fmla="*/ 8350594 w 9144000"/>
              <a:gd name="connsiteY49" fmla="*/ 6554707 h 6858000"/>
              <a:gd name="connsiteX50" fmla="*/ 8704282 w 9144000"/>
              <a:gd name="connsiteY50" fmla="*/ 6516148 h 6858000"/>
              <a:gd name="connsiteX51" fmla="*/ 8704282 w 9144000"/>
              <a:gd name="connsiteY51" fmla="*/ 6690773 h 6858000"/>
              <a:gd name="connsiteX52" fmla="*/ 8723671 w 9144000"/>
              <a:gd name="connsiteY52" fmla="*/ 6690773 h 6858000"/>
              <a:gd name="connsiteX53" fmla="*/ 8723671 w 9144000"/>
              <a:gd name="connsiteY53" fmla="*/ 6516148 h 6858000"/>
              <a:gd name="connsiteX54" fmla="*/ 0 w 9144000"/>
              <a:gd name="connsiteY54" fmla="*/ 0 h 6858000"/>
              <a:gd name="connsiteX55" fmla="*/ 9144000 w 9144000"/>
              <a:gd name="connsiteY55" fmla="*/ 0 h 6858000"/>
              <a:gd name="connsiteX56" fmla="*/ 9144000 w 9144000"/>
              <a:gd name="connsiteY56" fmla="*/ 6858000 h 6858000"/>
              <a:gd name="connsiteX57" fmla="*/ 0 w 9144000"/>
              <a:gd name="connsiteY5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9144000" h="6858000">
                <a:moveTo>
                  <a:pt x="8545321" y="6577275"/>
                </a:moveTo>
                <a:lnTo>
                  <a:pt x="8554631" y="6577275"/>
                </a:lnTo>
                <a:cubicBezTo>
                  <a:pt x="8567006" y="6577275"/>
                  <a:pt x="8572756" y="6583970"/>
                  <a:pt x="8572756" y="6592564"/>
                </a:cubicBezTo>
                <a:cubicBezTo>
                  <a:pt x="8572756" y="6602908"/>
                  <a:pt x="8566130" y="6608587"/>
                  <a:pt x="8552841" y="6608587"/>
                </a:cubicBezTo>
                <a:lnTo>
                  <a:pt x="8552841" y="6608474"/>
                </a:lnTo>
                <a:lnTo>
                  <a:pt x="8545321" y="6608474"/>
                </a:lnTo>
                <a:close/>
                <a:moveTo>
                  <a:pt x="8440532" y="6576165"/>
                </a:moveTo>
                <a:lnTo>
                  <a:pt x="8450870" y="6576165"/>
                </a:lnTo>
                <a:cubicBezTo>
                  <a:pt x="8474172" y="6576165"/>
                  <a:pt x="8486566" y="6587825"/>
                  <a:pt x="8486566" y="6607214"/>
                </a:cubicBezTo>
                <a:cubicBezTo>
                  <a:pt x="8486566" y="6627187"/>
                  <a:pt x="8476095" y="6640295"/>
                  <a:pt x="8452487" y="6640295"/>
                </a:cubicBezTo>
                <a:lnTo>
                  <a:pt x="8440532" y="6640295"/>
                </a:lnTo>
                <a:close/>
                <a:moveTo>
                  <a:pt x="8359313" y="6554745"/>
                </a:moveTo>
                <a:lnTo>
                  <a:pt x="8357847" y="6557848"/>
                </a:lnTo>
                <a:lnTo>
                  <a:pt x="8338066" y="6599654"/>
                </a:lnTo>
                <a:lnTo>
                  <a:pt x="8338066" y="6661565"/>
                </a:lnTo>
                <a:lnTo>
                  <a:pt x="8406529" y="6661565"/>
                </a:lnTo>
                <a:lnTo>
                  <a:pt x="8406529" y="6638978"/>
                </a:lnTo>
                <a:lnTo>
                  <a:pt x="8363159" y="6638978"/>
                </a:lnTo>
                <a:lnTo>
                  <a:pt x="8363159" y="6618141"/>
                </a:lnTo>
                <a:lnTo>
                  <a:pt x="8402683" y="6618141"/>
                </a:lnTo>
                <a:lnTo>
                  <a:pt x="8402683" y="6596570"/>
                </a:lnTo>
                <a:lnTo>
                  <a:pt x="8363159" y="6596570"/>
                </a:lnTo>
                <a:lnTo>
                  <a:pt x="8363159" y="6577482"/>
                </a:lnTo>
                <a:lnTo>
                  <a:pt x="8406529" y="6577482"/>
                </a:lnTo>
                <a:lnTo>
                  <a:pt x="8406529" y="6554745"/>
                </a:lnTo>
                <a:close/>
                <a:moveTo>
                  <a:pt x="8245576" y="6554726"/>
                </a:moveTo>
                <a:lnTo>
                  <a:pt x="8262083" y="6589123"/>
                </a:lnTo>
                <a:lnTo>
                  <a:pt x="8288527" y="6589123"/>
                </a:lnTo>
                <a:lnTo>
                  <a:pt x="8273963" y="6554726"/>
                </a:lnTo>
                <a:close/>
                <a:moveTo>
                  <a:pt x="8520246" y="6554707"/>
                </a:moveTo>
                <a:lnTo>
                  <a:pt x="8520246" y="6661564"/>
                </a:lnTo>
                <a:lnTo>
                  <a:pt x="8545321" y="6661564"/>
                </a:lnTo>
                <a:lnTo>
                  <a:pt x="8545321" y="6629932"/>
                </a:lnTo>
                <a:lnTo>
                  <a:pt x="8554631" y="6629932"/>
                </a:lnTo>
                <a:cubicBezTo>
                  <a:pt x="8583189" y="6629932"/>
                  <a:pt x="8598420" y="6614041"/>
                  <a:pt x="8598420" y="6592019"/>
                </a:cubicBezTo>
                <a:cubicBezTo>
                  <a:pt x="8598439" y="6570486"/>
                  <a:pt x="8581628" y="6554707"/>
                  <a:pt x="8550347" y="6554707"/>
                </a:cubicBezTo>
                <a:close/>
                <a:moveTo>
                  <a:pt x="8415496" y="6554707"/>
                </a:moveTo>
                <a:lnTo>
                  <a:pt x="8415496" y="6661470"/>
                </a:lnTo>
                <a:cubicBezTo>
                  <a:pt x="8415496" y="6661470"/>
                  <a:pt x="8435867" y="6661583"/>
                  <a:pt x="8448547" y="6661583"/>
                </a:cubicBezTo>
                <a:cubicBezTo>
                  <a:pt x="8493382" y="6661583"/>
                  <a:pt x="8513278" y="6638696"/>
                  <a:pt x="8513278" y="6607214"/>
                </a:cubicBezTo>
                <a:cubicBezTo>
                  <a:pt x="8513278" y="6577124"/>
                  <a:pt x="8492335" y="6554745"/>
                  <a:pt x="8447462" y="6554745"/>
                </a:cubicBezTo>
                <a:lnTo>
                  <a:pt x="8447500" y="6554707"/>
                </a:lnTo>
                <a:cubicBezTo>
                  <a:pt x="8436743" y="6554707"/>
                  <a:pt x="8415496" y="6554707"/>
                  <a:pt x="8415496" y="6554707"/>
                </a:cubicBezTo>
                <a:close/>
                <a:moveTo>
                  <a:pt x="8323901" y="6554707"/>
                </a:moveTo>
                <a:lnTo>
                  <a:pt x="8298694" y="6612649"/>
                </a:lnTo>
                <a:lnTo>
                  <a:pt x="8291859" y="6596645"/>
                </a:lnTo>
                <a:lnTo>
                  <a:pt x="8265624" y="6596645"/>
                </a:lnTo>
                <a:lnTo>
                  <a:pt x="8296943" y="6661978"/>
                </a:lnTo>
                <a:lnTo>
                  <a:pt x="8299856" y="6661978"/>
                </a:lnTo>
                <a:lnTo>
                  <a:pt x="8350594" y="6554707"/>
                </a:lnTo>
                <a:close/>
                <a:moveTo>
                  <a:pt x="8704282" y="6516148"/>
                </a:moveTo>
                <a:lnTo>
                  <a:pt x="8704282" y="6690773"/>
                </a:lnTo>
                <a:lnTo>
                  <a:pt x="8723671" y="6690773"/>
                </a:lnTo>
                <a:lnTo>
                  <a:pt x="8723671" y="6516148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8F3FD"/>
          </a:solidFill>
        </p:spPr>
        <p:txBody>
          <a:bodyPr wrap="square" rIns="432000" anchor="ctr">
            <a:noAutofit/>
          </a:bodyPr>
          <a:lstStyle>
            <a:lvl1pPr algn="r"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Drag image onto slide to add photo</a:t>
            </a:r>
          </a:p>
        </p:txBody>
      </p:sp>
      <p:sp>
        <p:nvSpPr>
          <p:cNvPr id="200" name="First Content Placeholder">
            <a:extLst>
              <a:ext uri="{FF2B5EF4-FFF2-40B4-BE49-F238E27FC236}">
                <a16:creationId xmlns:a16="http://schemas.microsoft.com/office/drawing/2014/main" id="{DC9253A4-356A-9740-9187-428DE58AB885}"/>
              </a:ext>
            </a:extLst>
          </p:cNvPr>
          <p:cNvSpPr>
            <a:spLocks noGrp="1"/>
          </p:cNvSpPr>
          <p:nvPr>
            <p:ph type="body" sz="quarter" idx="200"/>
          </p:nvPr>
        </p:nvSpPr>
        <p:spPr>
          <a:xfrm>
            <a:off x="0" y="0"/>
            <a:ext cx="4572000" cy="5143500"/>
          </a:xfrm>
          <a:gradFill>
            <a:gsLst>
              <a:gs pos="13000">
                <a:schemeClr val="accent1"/>
              </a:gs>
              <a:gs pos="97000">
                <a:schemeClr val="accent1">
                  <a:alpha val="90000"/>
                </a:schemeClr>
              </a:gs>
            </a:gsLst>
            <a:lin ang="5400000" scaled="0"/>
          </a:gradFill>
        </p:spPr>
        <p:txBody>
          <a:bodyPr lIns="432000" rIns="360000" bIns="360000" anchor="ctr"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1350"/>
              </a:spcBef>
              <a:spcAft>
                <a:spcPts val="225"/>
              </a:spcAft>
              <a:buClrTx/>
              <a:buSzTx/>
              <a:buFont typeface="Wingdings" pitchFamily="2" charset="2"/>
              <a:buNone/>
              <a:tabLst/>
              <a:defRPr sz="21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</a:defRPr>
            </a:lvl6pPr>
            <a:lvl7pPr marL="0" indent="0">
              <a:buFontTx/>
              <a:buNone/>
              <a:defRPr>
                <a:solidFill>
                  <a:schemeClr val="bg1"/>
                </a:solidFill>
              </a:defRPr>
            </a:lvl7pPr>
            <a:lvl8pPr marL="0" indent="0">
              <a:buFontTx/>
              <a:buNone/>
              <a:defRPr>
                <a:solidFill>
                  <a:schemeClr val="bg1"/>
                </a:solidFill>
              </a:defRPr>
            </a:lvl8pPr>
            <a:lvl9pPr marL="0" indent="0">
              <a:buFontTx/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1518A119-6232-A242-B4A2-83D06D216BA9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800" y="4650581"/>
            <a:ext cx="3700586" cy="379131"/>
          </a:xfrm>
        </p:spPr>
        <p:txBody>
          <a:bodyPr bIns="0" anchor="b"/>
          <a:lstStyle>
            <a:lvl1pPr marL="4763" indent="-1191">
              <a:spcBef>
                <a:spcPts val="56"/>
              </a:spcBef>
              <a:spcAft>
                <a:spcPts val="56"/>
              </a:spcAft>
              <a:buSzPct val="100000"/>
              <a:buFontTx/>
              <a:buNone/>
              <a:tabLst/>
              <a:defRPr sz="825" b="0">
                <a:solidFill>
                  <a:schemeClr val="bg1"/>
                </a:solidFill>
              </a:defRPr>
            </a:lvl1pPr>
            <a:lvl2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¹"/>
              <a:tabLst/>
              <a:defRPr sz="825" b="0" i="0">
                <a:solidFill>
                  <a:schemeClr val="bg1"/>
                </a:solidFill>
              </a:defRPr>
            </a:lvl2pPr>
            <a:lvl3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²"/>
              <a:tabLst/>
              <a:defRPr sz="825">
                <a:solidFill>
                  <a:schemeClr val="bg1"/>
                </a:solidFill>
              </a:defRPr>
            </a:lvl3pPr>
            <a:lvl4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³"/>
              <a:tabLst/>
              <a:defRPr sz="825">
                <a:solidFill>
                  <a:schemeClr val="bg1"/>
                </a:solidFill>
              </a:defRPr>
            </a:lvl4pPr>
            <a:lvl5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⁴"/>
              <a:tabLst/>
              <a:defRPr sz="825">
                <a:solidFill>
                  <a:schemeClr val="bg1"/>
                </a:solidFill>
              </a:defRPr>
            </a:lvl5pPr>
            <a:lvl6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⁵"/>
              <a:tabLst/>
              <a:defRPr sz="825">
                <a:solidFill>
                  <a:schemeClr val="bg1"/>
                </a:solidFill>
              </a:defRPr>
            </a:lvl6pPr>
            <a:lvl7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⁶"/>
              <a:tabLst/>
              <a:defRPr sz="825">
                <a:solidFill>
                  <a:schemeClr val="bg1"/>
                </a:solidFill>
              </a:defRPr>
            </a:lvl7pPr>
            <a:lvl8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⁷"/>
              <a:tabLst/>
              <a:defRPr sz="825">
                <a:solidFill>
                  <a:schemeClr val="bg1"/>
                </a:solidFill>
              </a:defRPr>
            </a:lvl8pPr>
            <a:lvl9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⁸"/>
              <a:tabLst/>
              <a:defRPr sz="825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/>
              <a:t>Footnotes – Levels 2-9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FE84BD5-7F9D-AE47-BCAB-D3922B3DA1BC}"/>
              </a:ext>
            </a:extLst>
          </p:cNvPr>
          <p:cNvSpPr>
            <a:spLocks noGrp="1"/>
          </p:cNvSpPr>
          <p:nvPr>
            <p:ph type="dt" sz="half" idx="1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3FF406A-59D4-BB4E-A45D-EEB4EEBCE329}"/>
              </a:ext>
            </a:extLst>
          </p:cNvPr>
          <p:cNvSpPr>
            <a:spLocks noGrp="1"/>
          </p:cNvSpPr>
          <p:nvPr>
            <p:ph type="ftr" sz="quarter" idx="1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9E870A-0204-114F-9189-EE4D27C77AFE}"/>
              </a:ext>
            </a:extLst>
          </p:cNvPr>
          <p:cNvSpPr>
            <a:spLocks noGrp="1"/>
          </p:cNvSpPr>
          <p:nvPr>
            <p:ph type="sldNum" sz="quarter" idx="112"/>
          </p:nvPr>
        </p:nvSpPr>
        <p:spPr>
          <a:noFill/>
        </p:spPr>
        <p:txBody>
          <a:bodyPr/>
          <a:lstStyle>
            <a:lvl1pPr>
              <a:defRPr lang="en-US" smtClean="0"/>
            </a:lvl1pPr>
          </a:lstStyle>
          <a:p>
            <a:pPr marL="9525"/>
            <a:fld id="{078C017C-E1B9-8443-B047-B08AAA027B45}" type="slidenum">
              <a:rPr lang="en-CA" smtClean="0"/>
              <a:pPr marL="9525"/>
              <a:t>‹#›</a:t>
            </a:fld>
            <a:endParaRPr lang="en-CA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84FC32F-D780-2C41-B31E-1F1C7720CD48}"/>
              </a:ext>
            </a:extLst>
          </p:cNvPr>
          <p:cNvGrpSpPr/>
          <p:nvPr userDrawn="1"/>
        </p:nvGrpSpPr>
        <p:grpSpPr>
          <a:xfrm>
            <a:off x="9399183" y="-1"/>
            <a:ext cx="2961715" cy="7243942"/>
            <a:chOff x="9399182" y="-1"/>
            <a:chExt cx="2961715" cy="9658589"/>
          </a:xfrm>
        </p:grpSpPr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1F6701BF-092D-2F4F-9D3D-CB526578FD23}"/>
                </a:ext>
              </a:extLst>
            </p:cNvPr>
            <p:cNvSpPr/>
            <p:nvPr userDrawn="1"/>
          </p:nvSpPr>
          <p:spPr>
            <a:xfrm>
              <a:off x="9399182" y="-1"/>
              <a:ext cx="2798651" cy="948690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050"/>
            </a:p>
          </p:txBody>
        </p:sp>
        <p:pic>
          <p:nvPicPr>
            <p:cNvPr id="163" name="Picture 162">
              <a:extLst>
                <a:ext uri="{FF2B5EF4-FFF2-40B4-BE49-F238E27FC236}">
                  <a16:creationId xmlns:a16="http://schemas.microsoft.com/office/drawing/2014/main" id="{2D12CE45-289D-6B47-8827-232211E4A4E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t="11482" r="50733" b="17784"/>
            <a:stretch/>
          </p:blipFill>
          <p:spPr>
            <a:xfrm>
              <a:off x="9558506" y="1332920"/>
              <a:ext cx="2639326" cy="746975"/>
            </a:xfrm>
            <a:prstGeom prst="rect">
              <a:avLst/>
            </a:prstGeom>
          </p:spPr>
        </p:pic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06DB9A1-FD76-8C4E-AA60-A3215A54B22B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154" name="Rectangle 153">
                <a:extLst>
                  <a:ext uri="{FF2B5EF4-FFF2-40B4-BE49-F238E27FC236}">
                    <a16:creationId xmlns:a16="http://schemas.microsoft.com/office/drawing/2014/main" id="{9B6A22A1-5D5B-4A45-9873-94CDE4AF5389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155" name="TextBox 154">
                <a:extLst>
                  <a:ext uri="{FF2B5EF4-FFF2-40B4-BE49-F238E27FC236}">
                    <a16:creationId xmlns:a16="http://schemas.microsoft.com/office/drawing/2014/main" id="{7ABB8F1D-E85A-ED44-9693-9F13743BAED4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156" name="Picture 155">
                <a:extLst>
                  <a:ext uri="{FF2B5EF4-FFF2-40B4-BE49-F238E27FC236}">
                    <a16:creationId xmlns:a16="http://schemas.microsoft.com/office/drawing/2014/main" id="{20DBD003-BD74-534F-B6C9-503C1716230E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00987C7D-6B58-624B-A8C2-E1C8B5B41655}"/>
                </a:ext>
              </a:extLst>
            </p:cNvPr>
            <p:cNvSpPr txBox="1"/>
            <p:nvPr userDrawn="1"/>
          </p:nvSpPr>
          <p:spPr>
            <a:xfrm>
              <a:off x="9558507" y="3644763"/>
              <a:ext cx="1231106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sz="825">
                  <a:solidFill>
                    <a:schemeClr val="bg1"/>
                  </a:solidFill>
                </a:rPr>
                <a:t>HOW TO ADD AN IMAGE</a:t>
              </a:r>
            </a:p>
          </p:txBody>
        </p: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76A5E172-F2DB-AB47-BF8B-E04905D4DF3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3847380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73686235-423F-604C-911D-620F011D49F8}"/>
                </a:ext>
              </a:extLst>
            </p:cNvPr>
            <p:cNvSpPr txBox="1"/>
            <p:nvPr userDrawn="1"/>
          </p:nvSpPr>
          <p:spPr>
            <a:xfrm>
              <a:off x="9686426" y="4705690"/>
              <a:ext cx="2297338" cy="28913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900"/>
                </a:spcBef>
                <a:spcAft>
                  <a:spcPts val="300"/>
                </a:spcAft>
                <a:defRPr sz="800" b="1" cap="all" spc="2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0" lvl="1" indent="0">
                <a:lnSpc>
                  <a:spcPct val="90000"/>
                </a:lnSpc>
                <a:spcAft>
                  <a:spcPts val="300"/>
                </a:spcAft>
                <a:tabLst/>
                <a:defRPr sz="12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marL="0" lvl="0" indent="0">
                <a:buFont typeface="Arial" panose="020B0604020202020204" pitchFamily="34" charset="0"/>
                <a:buNone/>
              </a:pPr>
              <a:r>
                <a:rPr lang="en-US" sz="450" b="1"/>
                <a:t>Method 1: </a:t>
              </a:r>
              <a:r>
                <a:rPr lang="en-US" sz="450" b="0"/>
                <a:t>from file browser</a:t>
              </a:r>
            </a:p>
            <a:p>
              <a:pPr lvl="1">
                <a:buNone/>
              </a:pPr>
              <a:r>
                <a:rPr lang="en-US" sz="788"/>
                <a:t>Drag the image onto the slide.</a:t>
              </a:r>
            </a:p>
          </p:txBody>
        </p:sp>
        <p:grpSp>
          <p:nvGrpSpPr>
            <p:cNvPr id="119" name="Group 118">
              <a:extLst>
                <a:ext uri="{FF2B5EF4-FFF2-40B4-BE49-F238E27FC236}">
                  <a16:creationId xmlns:a16="http://schemas.microsoft.com/office/drawing/2014/main" id="{74431D0C-E5D7-5C4B-B34D-ED622DCEC90B}"/>
                </a:ext>
              </a:extLst>
            </p:cNvPr>
            <p:cNvGrpSpPr/>
            <p:nvPr userDrawn="1"/>
          </p:nvGrpSpPr>
          <p:grpSpPr>
            <a:xfrm>
              <a:off x="9541497" y="8247273"/>
              <a:ext cx="2735151" cy="1411315"/>
              <a:chOff x="9296567" y="4910411"/>
              <a:chExt cx="2735151" cy="1411315"/>
            </a:xfrm>
          </p:grpSpPr>
          <p:sp>
            <p:nvSpPr>
              <p:cNvPr id="148" name="Rectangle 147">
                <a:extLst>
                  <a:ext uri="{FF2B5EF4-FFF2-40B4-BE49-F238E27FC236}">
                    <a16:creationId xmlns:a16="http://schemas.microsoft.com/office/drawing/2014/main" id="{3EE33C6F-C414-704B-930C-49B6415FB0D1}"/>
                  </a:ext>
                </a:extLst>
              </p:cNvPr>
              <p:cNvSpPr/>
              <p:nvPr userDrawn="1"/>
            </p:nvSpPr>
            <p:spPr>
              <a:xfrm>
                <a:off x="9296567" y="4910411"/>
                <a:ext cx="2735151" cy="1411315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149" name="TextBox 148">
                <a:extLst>
                  <a:ext uri="{FF2B5EF4-FFF2-40B4-BE49-F238E27FC236}">
                    <a16:creationId xmlns:a16="http://schemas.microsoft.com/office/drawing/2014/main" id="{C7770F39-017B-9A4E-B2C7-C48397F86E0F}"/>
                  </a:ext>
                </a:extLst>
              </p:cNvPr>
              <p:cNvSpPr txBox="1"/>
              <p:nvPr userDrawn="1"/>
            </p:nvSpPr>
            <p:spPr>
              <a:xfrm>
                <a:off x="9662758" y="5039211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Change Image</a:t>
                </a:r>
              </a:p>
            </p:txBody>
          </p:sp>
          <p:pic>
            <p:nvPicPr>
              <p:cNvPr id="150" name="Graphic 149">
                <a:extLst>
                  <a:ext uri="{FF2B5EF4-FFF2-40B4-BE49-F238E27FC236}">
                    <a16:creationId xmlns:a16="http://schemas.microsoft.com/office/drawing/2014/main" id="{2B06D124-E28F-144C-A1A8-A9F9DCEDD39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9456790" y="5049494"/>
                <a:ext cx="155227" cy="155227"/>
              </a:xfrm>
              <a:prstGeom prst="rect">
                <a:avLst/>
              </a:prstGeom>
            </p:spPr>
          </p:pic>
          <p:sp>
            <p:nvSpPr>
              <p:cNvPr id="151" name="TextBox 150">
                <a:extLst>
                  <a:ext uri="{FF2B5EF4-FFF2-40B4-BE49-F238E27FC236}">
                    <a16:creationId xmlns:a16="http://schemas.microsoft.com/office/drawing/2014/main" id="{217354F4-3327-F641-8A6E-7CF3A11F0418}"/>
                  </a:ext>
                </a:extLst>
              </p:cNvPr>
              <p:cNvSpPr txBox="1"/>
              <p:nvPr userDrawn="1"/>
            </p:nvSpPr>
            <p:spPr>
              <a:xfrm>
                <a:off x="9471805" y="5619194"/>
                <a:ext cx="2413353" cy="373948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101204" lvl="1" indent="-98822" algn="l" defTabSz="685800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225"/>
                  </a:spcAft>
                  <a:buFont typeface="Wingdings" pitchFamily="2" charset="2"/>
                  <a:buChar char="§"/>
                  <a:tabLst/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Deleting the image may bring the image placeholder to the top layer. Right-click on the placeholder and choose “Send to Back”.</a:t>
                </a:r>
              </a:p>
            </p:txBody>
          </p:sp>
          <p:sp>
            <p:nvSpPr>
              <p:cNvPr id="152" name="TextBox 151">
                <a:extLst>
                  <a:ext uri="{FF2B5EF4-FFF2-40B4-BE49-F238E27FC236}">
                    <a16:creationId xmlns:a16="http://schemas.microsoft.com/office/drawing/2014/main" id="{C21E8267-10D6-A74C-9247-CF15A2756B51}"/>
                  </a:ext>
                </a:extLst>
              </p:cNvPr>
              <p:cNvSpPr txBox="1"/>
              <p:nvPr userDrawn="1"/>
            </p:nvSpPr>
            <p:spPr>
              <a:xfrm>
                <a:off x="9471805" y="5300350"/>
                <a:ext cx="2422981" cy="2769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685800" rtl="0" eaLnBrk="1" latinLnBrk="0" hangingPunct="1">
                  <a:spcBef>
                    <a:spcPts val="150"/>
                  </a:spcBef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First, delete the existing image to reset the photo placeholder functionality.</a:t>
                </a:r>
              </a:p>
            </p:txBody>
          </p:sp>
          <p:sp>
            <p:nvSpPr>
              <p:cNvPr id="153" name="TextBox 152">
                <a:extLst>
                  <a:ext uri="{FF2B5EF4-FFF2-40B4-BE49-F238E27FC236}">
                    <a16:creationId xmlns:a16="http://schemas.microsoft.com/office/drawing/2014/main" id="{33236540-7695-CC4F-8B5C-2A70FAD9ED38}"/>
                  </a:ext>
                </a:extLst>
              </p:cNvPr>
              <p:cNvSpPr txBox="1"/>
              <p:nvPr userDrawn="1"/>
            </p:nvSpPr>
            <p:spPr>
              <a:xfrm>
                <a:off x="9471805" y="6068871"/>
                <a:ext cx="2422981" cy="13850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685800" rtl="0" eaLnBrk="1" latinLnBrk="0" hangingPunct="1">
                  <a:spcBef>
                    <a:spcPts val="150"/>
                  </a:spcBef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You can now add a new image as normal.</a:t>
                </a:r>
              </a:p>
            </p:txBody>
          </p:sp>
        </p:grpSp>
        <p:grpSp>
          <p:nvGrpSpPr>
            <p:cNvPr id="120" name="Group 119">
              <a:extLst>
                <a:ext uri="{FF2B5EF4-FFF2-40B4-BE49-F238E27FC236}">
                  <a16:creationId xmlns:a16="http://schemas.microsoft.com/office/drawing/2014/main" id="{1CC75D71-084C-2841-A6C3-E4B52088D324}"/>
                </a:ext>
              </a:extLst>
            </p:cNvPr>
            <p:cNvGrpSpPr/>
            <p:nvPr userDrawn="1"/>
          </p:nvGrpSpPr>
          <p:grpSpPr>
            <a:xfrm>
              <a:off x="9541497" y="6890617"/>
              <a:ext cx="2735151" cy="1280928"/>
              <a:chOff x="9286315" y="6976989"/>
              <a:chExt cx="2735151" cy="1280928"/>
            </a:xfrm>
          </p:grpSpPr>
          <p:sp>
            <p:nvSpPr>
              <p:cNvPr id="138" name="Rectangle 137">
                <a:extLst>
                  <a:ext uri="{FF2B5EF4-FFF2-40B4-BE49-F238E27FC236}">
                    <a16:creationId xmlns:a16="http://schemas.microsoft.com/office/drawing/2014/main" id="{80A4814C-F3C9-8E4D-A7A3-91D0BBB9B2DE}"/>
                  </a:ext>
                </a:extLst>
              </p:cNvPr>
              <p:cNvSpPr/>
              <p:nvPr userDrawn="1"/>
            </p:nvSpPr>
            <p:spPr>
              <a:xfrm>
                <a:off x="9286315" y="6976989"/>
                <a:ext cx="2735151" cy="1280928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144" name="TextBox 143">
                <a:extLst>
                  <a:ext uri="{FF2B5EF4-FFF2-40B4-BE49-F238E27FC236}">
                    <a16:creationId xmlns:a16="http://schemas.microsoft.com/office/drawing/2014/main" id="{9E22E78A-6530-6E49-B5B6-FE675F4954F7}"/>
                  </a:ext>
                </a:extLst>
              </p:cNvPr>
              <p:cNvSpPr txBox="1"/>
              <p:nvPr userDrawn="1"/>
            </p:nvSpPr>
            <p:spPr>
              <a:xfrm>
                <a:off x="9652506" y="7105788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Crop Image</a:t>
                </a:r>
              </a:p>
            </p:txBody>
          </p:sp>
          <p:pic>
            <p:nvPicPr>
              <p:cNvPr id="145" name="Graphic 144">
                <a:extLst>
                  <a:ext uri="{FF2B5EF4-FFF2-40B4-BE49-F238E27FC236}">
                    <a16:creationId xmlns:a16="http://schemas.microsoft.com/office/drawing/2014/main" id="{DABEDA03-6252-DA49-BF04-D4C0068F703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9446538" y="7116071"/>
                <a:ext cx="155227" cy="155227"/>
              </a:xfrm>
              <a:prstGeom prst="rect">
                <a:avLst/>
              </a:prstGeom>
            </p:spPr>
          </p:pic>
          <p:sp>
            <p:nvSpPr>
              <p:cNvPr id="146" name="TextBox 145">
                <a:extLst>
                  <a:ext uri="{FF2B5EF4-FFF2-40B4-BE49-F238E27FC236}">
                    <a16:creationId xmlns:a16="http://schemas.microsoft.com/office/drawing/2014/main" id="{8636DC60-0BA4-B64F-91F4-B8555CA43CB7}"/>
                  </a:ext>
                </a:extLst>
              </p:cNvPr>
              <p:cNvSpPr txBox="1"/>
              <p:nvPr userDrawn="1"/>
            </p:nvSpPr>
            <p:spPr>
              <a:xfrm>
                <a:off x="9446538" y="7369972"/>
                <a:ext cx="2384904" cy="777136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Right-click on the image.</a:t>
                </a:r>
              </a:p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Choose “Crop” from the menu. (       )</a:t>
                </a:r>
              </a:p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Adjust the size and position of the image.</a:t>
                </a:r>
              </a:p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Press Esc or click outside the image area to exit the cropping mode.</a:t>
                </a:r>
              </a:p>
            </p:txBody>
          </p:sp>
          <p:pic>
            <p:nvPicPr>
              <p:cNvPr id="147" name="Picture 146">
                <a:extLst>
                  <a:ext uri="{FF2B5EF4-FFF2-40B4-BE49-F238E27FC236}">
                    <a16:creationId xmlns:a16="http://schemas.microsoft.com/office/drawing/2014/main" id="{9C06CF34-F5E9-FF43-92FC-A8A12A5E7514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5"/>
              <a:srcRect l="33684" t="12097" r="43371" b="20368"/>
              <a:stretch/>
            </p:blipFill>
            <p:spPr>
              <a:xfrm>
                <a:off x="11243541" y="7454405"/>
                <a:ext cx="136897" cy="213643"/>
              </a:xfrm>
              <a:prstGeom prst="rect">
                <a:avLst/>
              </a:prstGeom>
              <a:ln w="19050"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</p:pic>
        </p:grpSp>
        <p:grpSp>
          <p:nvGrpSpPr>
            <p:cNvPr id="121" name="Group 120">
              <a:extLst>
                <a:ext uri="{FF2B5EF4-FFF2-40B4-BE49-F238E27FC236}">
                  <a16:creationId xmlns:a16="http://schemas.microsoft.com/office/drawing/2014/main" id="{38052344-BDD9-5C4C-BCF9-CDD928F9ABEF}"/>
                </a:ext>
              </a:extLst>
            </p:cNvPr>
            <p:cNvGrpSpPr/>
            <p:nvPr userDrawn="1"/>
          </p:nvGrpSpPr>
          <p:grpSpPr>
            <a:xfrm>
              <a:off x="9521833" y="3969883"/>
              <a:ext cx="2617883" cy="707288"/>
              <a:chOff x="12352022" y="513115"/>
              <a:chExt cx="2617883" cy="707288"/>
            </a:xfrm>
          </p:grpSpPr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EA326582-6206-9448-AC3D-D39568717478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12352022" y="538142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375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1</a:t>
                </a:r>
              </a:p>
            </p:txBody>
          </p:sp>
          <p:sp>
            <p:nvSpPr>
              <p:cNvPr id="136" name="TextBox 135">
                <a:extLst>
                  <a:ext uri="{FF2B5EF4-FFF2-40B4-BE49-F238E27FC236}">
                    <a16:creationId xmlns:a16="http://schemas.microsoft.com/office/drawing/2014/main" id="{4064E1A2-6908-7D4E-AED8-AABD4AFAA4D9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12352022" y="1033696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375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2</a:t>
                </a:r>
              </a:p>
            </p:txBody>
          </p:sp>
          <p:sp>
            <p:nvSpPr>
              <p:cNvPr id="137" name="TextBox 136">
                <a:extLst>
                  <a:ext uri="{FF2B5EF4-FFF2-40B4-BE49-F238E27FC236}">
                    <a16:creationId xmlns:a16="http://schemas.microsoft.com/office/drawing/2014/main" id="{26F5F72F-54E6-6444-AD2C-1C7049E062D7}"/>
                  </a:ext>
                </a:extLst>
              </p:cNvPr>
              <p:cNvSpPr txBox="1"/>
              <p:nvPr userDrawn="1"/>
            </p:nvSpPr>
            <p:spPr>
              <a:xfrm>
                <a:off x="12516615" y="513115"/>
                <a:ext cx="2453290" cy="707288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0"/>
                <a:r>
                  <a:rPr lang="en-US" sz="788"/>
                  <a:t>Select and download images from the Marketing Resource Database.</a:t>
                </a:r>
              </a:p>
              <a:p>
                <a:pPr lvl="0"/>
                <a:r>
                  <a:rPr lang="en-US" sz="788"/>
                  <a:t>Add the image to the placeholder.</a:t>
                </a:r>
              </a:p>
            </p:txBody>
          </p:sp>
        </p:grp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6ADF7B1D-21B9-4A43-9883-156AF8A7FE24}"/>
                </a:ext>
              </a:extLst>
            </p:cNvPr>
            <p:cNvSpPr txBox="1"/>
            <p:nvPr userDrawn="1"/>
          </p:nvSpPr>
          <p:spPr>
            <a:xfrm>
              <a:off x="9674267" y="4988995"/>
              <a:ext cx="2374733" cy="32316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525"/>
                <a:t>Note: If there are multiple image placeholders on the slide, select the intended placeholder before dragging in the image to let PowerPoint know where you want it.</a:t>
              </a: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FD008BFE-F284-7448-B84A-6DC42232D3A9}"/>
                </a:ext>
              </a:extLst>
            </p:cNvPr>
            <p:cNvSpPr txBox="1"/>
            <p:nvPr userDrawn="1"/>
          </p:nvSpPr>
          <p:spPr>
            <a:xfrm>
              <a:off x="9686426" y="5404252"/>
              <a:ext cx="2297338" cy="63145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900"/>
                </a:spcBef>
                <a:spcAft>
                  <a:spcPts val="300"/>
                </a:spcAft>
                <a:defRPr sz="800" b="1" cap="all" spc="2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0" lvl="1" indent="0">
                <a:lnSpc>
                  <a:spcPct val="90000"/>
                </a:lnSpc>
                <a:spcAft>
                  <a:spcPts val="300"/>
                </a:spcAft>
                <a:tabLst/>
                <a:defRPr sz="12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marL="0" lvl="0" indent="0">
                <a:buFont typeface="Arial" panose="020B0604020202020204" pitchFamily="34" charset="0"/>
                <a:buNone/>
              </a:pPr>
              <a:r>
                <a:rPr lang="en-US" sz="450"/>
                <a:t>Method 2: </a:t>
              </a:r>
              <a:r>
                <a:rPr lang="en-US" sz="450" b="0"/>
                <a:t>Paste from clipboard</a:t>
              </a:r>
            </a:p>
            <a:p>
              <a:pPr lvl="1">
                <a:buNone/>
              </a:pPr>
              <a:r>
                <a:rPr lang="en-US" sz="788"/>
                <a:t>Select the image placeholder.</a:t>
              </a:r>
            </a:p>
            <a:p>
              <a:pPr lvl="1">
                <a:buNone/>
              </a:pPr>
              <a:r>
                <a:rPr lang="en-US" sz="788"/>
                <a:t>Right-click or use keyboard shortcuts to paste the image.</a:t>
              </a:r>
            </a:p>
          </p:txBody>
        </p: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3BA44DCB-A3AF-9546-85AA-0C8080A538B5}"/>
                </a:ext>
              </a:extLst>
            </p:cNvPr>
            <p:cNvSpPr txBox="1"/>
            <p:nvPr userDrawn="1"/>
          </p:nvSpPr>
          <p:spPr>
            <a:xfrm>
              <a:off x="9686426" y="6124341"/>
              <a:ext cx="2297338" cy="43464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900"/>
                </a:spcBef>
                <a:spcAft>
                  <a:spcPts val="300"/>
                </a:spcAft>
                <a:defRPr sz="800" b="1" cap="all" spc="2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0" lvl="1" indent="0">
                <a:lnSpc>
                  <a:spcPct val="90000"/>
                </a:lnSpc>
                <a:spcAft>
                  <a:spcPts val="300"/>
                </a:spcAft>
                <a:tabLst/>
                <a:defRPr sz="12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marL="0" lvl="0" indent="0">
                <a:buFont typeface="Arial" panose="020B0604020202020204" pitchFamily="34" charset="0"/>
                <a:buNone/>
              </a:pPr>
              <a:r>
                <a:rPr lang="en-US" sz="450"/>
                <a:t>Method 3: </a:t>
              </a:r>
              <a:r>
                <a:rPr lang="en-US" sz="450" b="0"/>
                <a:t>Placeholder icon</a:t>
              </a:r>
            </a:p>
            <a:p>
              <a:pPr lvl="1">
                <a:buNone/>
              </a:pPr>
              <a:r>
                <a:rPr lang="en-US" sz="788"/>
                <a:t>Click the image icon inside the placeholder to browse for an image.</a:t>
              </a:r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495F74B5-1BAA-CF4B-B826-677D9A1B2C48}"/>
                </a:ext>
              </a:extLst>
            </p:cNvPr>
            <p:cNvSpPr txBox="1"/>
            <p:nvPr userDrawn="1"/>
          </p:nvSpPr>
          <p:spPr>
            <a:xfrm>
              <a:off x="9674267" y="6554905"/>
              <a:ext cx="2374733" cy="215444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525"/>
                <a:t>Note: This icon may be covered by another element.</a:t>
              </a:r>
              <a:br>
                <a:rPr lang="en-US" sz="525"/>
              </a:br>
              <a:r>
                <a:rPr lang="en-US" sz="525"/>
                <a:t>In this case use one of the other methods.</a:t>
              </a:r>
            </a:p>
          </p:txBody>
        </p: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3F7CB717-E705-2840-9197-C78C7B64E71A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1670329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sz="825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C57B530B-447D-4A4B-9F77-9EBFE328878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62FAFE70-D4B2-8F4F-9523-F66BEB76844C}"/>
                </a:ext>
              </a:extLst>
            </p:cNvPr>
            <p:cNvGrpSpPr/>
            <p:nvPr userDrawn="1"/>
          </p:nvGrpSpPr>
          <p:grpSpPr>
            <a:xfrm>
              <a:off x="9541497" y="2222532"/>
              <a:ext cx="2735151" cy="1326215"/>
              <a:chOff x="9286315" y="6976988"/>
              <a:chExt cx="2735151" cy="1326215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E47B8ADC-2456-1243-95C8-E860AAB723D4}"/>
                  </a:ext>
                </a:extLst>
              </p:cNvPr>
              <p:cNvSpPr/>
              <p:nvPr userDrawn="1"/>
            </p:nvSpPr>
            <p:spPr>
              <a:xfrm>
                <a:off x="9286315" y="6976988"/>
                <a:ext cx="2735151" cy="1326215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EDAA5B06-10D3-584A-BD73-861E5B9ACB56}"/>
                  </a:ext>
                </a:extLst>
              </p:cNvPr>
              <p:cNvSpPr txBox="1"/>
              <p:nvPr userDrawn="1"/>
            </p:nvSpPr>
            <p:spPr>
              <a:xfrm>
                <a:off x="9652506" y="7105788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Adjust overlay text box size</a:t>
                </a:r>
              </a:p>
            </p:txBody>
          </p:sp>
          <p:pic>
            <p:nvPicPr>
              <p:cNvPr id="131" name="Graphic 130">
                <a:extLst>
                  <a:ext uri="{FF2B5EF4-FFF2-40B4-BE49-F238E27FC236}">
                    <a16:creationId xmlns:a16="http://schemas.microsoft.com/office/drawing/2014/main" id="{161E4833-BB86-994F-833D-93E67F55990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9446538" y="7116071"/>
                <a:ext cx="155227" cy="155227"/>
              </a:xfrm>
              <a:prstGeom prst="rect">
                <a:avLst/>
              </a:prstGeom>
            </p:spPr>
          </p:pic>
          <p:sp>
            <p:nvSpPr>
              <p:cNvPr id="132" name="TextBox 131">
                <a:extLst>
                  <a:ext uri="{FF2B5EF4-FFF2-40B4-BE49-F238E27FC236}">
                    <a16:creationId xmlns:a16="http://schemas.microsoft.com/office/drawing/2014/main" id="{8DAA1AE3-7284-B649-9EEF-97FFE151F8C8}"/>
                  </a:ext>
                </a:extLst>
              </p:cNvPr>
              <p:cNvSpPr txBox="1"/>
              <p:nvPr userDrawn="1"/>
            </p:nvSpPr>
            <p:spPr>
              <a:xfrm>
                <a:off x="9446538" y="7369972"/>
                <a:ext cx="2214055" cy="54989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If extra space is required for content, use the size handle on this shape to extend the right edge of the shape to the “2/3rds” slide ruler mark.</a:t>
                </a:r>
              </a:p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Turn on guides (View &gt; Guides) to enable snapping.</a:t>
                </a:r>
              </a:p>
            </p:txBody>
          </p:sp>
        </p:grpSp>
      </p:grpSp>
      <p:sp>
        <p:nvSpPr>
          <p:cNvPr id="500" name="Caption">
            <a:extLst>
              <a:ext uri="{FF2B5EF4-FFF2-40B4-BE49-F238E27FC236}">
                <a16:creationId xmlns:a16="http://schemas.microsoft.com/office/drawing/2014/main" id="{659A1A30-0D40-E04A-93E5-5EBF0216ED61}"/>
              </a:ext>
            </a:extLst>
          </p:cNvPr>
          <p:cNvSpPr>
            <a:spLocks noGrp="1"/>
          </p:cNvSpPr>
          <p:nvPr>
            <p:ph type="body" sz="quarter" idx="500" hasCustomPrompt="1"/>
          </p:nvPr>
        </p:nvSpPr>
        <p:spPr>
          <a:xfrm>
            <a:off x="5960285" y="4650582"/>
            <a:ext cx="2742875" cy="114262"/>
          </a:xfrm>
          <a:effectLst/>
        </p:spPr>
        <p:txBody>
          <a:bodyPr wrap="square" anchor="b">
            <a:sp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 b="0">
                <a:solidFill>
                  <a:schemeClr val="tx1"/>
                </a:solidFill>
                <a:effectLst/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tx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tx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tx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tx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tx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tx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tx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add photo caption</a:t>
            </a:r>
          </a:p>
        </p:txBody>
      </p:sp>
    </p:spTree>
    <p:extLst>
      <p:ext uri="{BB962C8B-B14F-4D97-AF65-F5344CB8AC3E}">
        <p14:creationId xmlns:p14="http://schemas.microsoft.com/office/powerpoint/2010/main" val="1894590831"/>
      </p:ext>
    </p:extLst>
  </p:cSld>
  <p:clrMapOvr>
    <a:overrideClrMapping bg1="lt1" tx1="dk1" bg2="lt2" tx2="dk2" accent1="accent1" accent2="accent2" accent3="accent3" accent4="accent4" accent5="accent5" accent6="accent6" hlink="lt1" folHlink="lt1"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anking (Left) and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AE403CC8-0AF4-0B41-9F00-0561FB8057D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959475" y="0"/>
            <a:ext cx="3184526" cy="5143501"/>
          </a:xfrm>
          <a:custGeom>
            <a:avLst/>
            <a:gdLst>
              <a:gd name="connsiteX0" fmla="*/ 2585845 w 3184526"/>
              <a:gd name="connsiteY0" fmla="*/ 6577275 h 6858001"/>
              <a:gd name="connsiteX1" fmla="*/ 2595155 w 3184526"/>
              <a:gd name="connsiteY1" fmla="*/ 6577275 h 6858001"/>
              <a:gd name="connsiteX2" fmla="*/ 2613281 w 3184526"/>
              <a:gd name="connsiteY2" fmla="*/ 6592564 h 6858001"/>
              <a:gd name="connsiteX3" fmla="*/ 2593365 w 3184526"/>
              <a:gd name="connsiteY3" fmla="*/ 6608587 h 6858001"/>
              <a:gd name="connsiteX4" fmla="*/ 2593365 w 3184526"/>
              <a:gd name="connsiteY4" fmla="*/ 6608474 h 6858001"/>
              <a:gd name="connsiteX5" fmla="*/ 2585845 w 3184526"/>
              <a:gd name="connsiteY5" fmla="*/ 6608474 h 6858001"/>
              <a:gd name="connsiteX6" fmla="*/ 2481056 w 3184526"/>
              <a:gd name="connsiteY6" fmla="*/ 6576165 h 6858001"/>
              <a:gd name="connsiteX7" fmla="*/ 2491394 w 3184526"/>
              <a:gd name="connsiteY7" fmla="*/ 6576165 h 6858001"/>
              <a:gd name="connsiteX8" fmla="*/ 2527091 w 3184526"/>
              <a:gd name="connsiteY8" fmla="*/ 6607214 h 6858001"/>
              <a:gd name="connsiteX9" fmla="*/ 2493012 w 3184526"/>
              <a:gd name="connsiteY9" fmla="*/ 6640295 h 6858001"/>
              <a:gd name="connsiteX10" fmla="*/ 2481056 w 3184526"/>
              <a:gd name="connsiteY10" fmla="*/ 6640295 h 6858001"/>
              <a:gd name="connsiteX11" fmla="*/ 2399837 w 3184526"/>
              <a:gd name="connsiteY11" fmla="*/ 6554745 h 6858001"/>
              <a:gd name="connsiteX12" fmla="*/ 2398371 w 3184526"/>
              <a:gd name="connsiteY12" fmla="*/ 6557848 h 6858001"/>
              <a:gd name="connsiteX13" fmla="*/ 2378590 w 3184526"/>
              <a:gd name="connsiteY13" fmla="*/ 6599654 h 6858001"/>
              <a:gd name="connsiteX14" fmla="*/ 2378590 w 3184526"/>
              <a:gd name="connsiteY14" fmla="*/ 6661565 h 6858001"/>
              <a:gd name="connsiteX15" fmla="*/ 2447053 w 3184526"/>
              <a:gd name="connsiteY15" fmla="*/ 6661565 h 6858001"/>
              <a:gd name="connsiteX16" fmla="*/ 2447053 w 3184526"/>
              <a:gd name="connsiteY16" fmla="*/ 6638978 h 6858001"/>
              <a:gd name="connsiteX17" fmla="*/ 2403683 w 3184526"/>
              <a:gd name="connsiteY17" fmla="*/ 6638978 h 6858001"/>
              <a:gd name="connsiteX18" fmla="*/ 2403683 w 3184526"/>
              <a:gd name="connsiteY18" fmla="*/ 6618141 h 6858001"/>
              <a:gd name="connsiteX19" fmla="*/ 2443207 w 3184526"/>
              <a:gd name="connsiteY19" fmla="*/ 6618141 h 6858001"/>
              <a:gd name="connsiteX20" fmla="*/ 2443207 w 3184526"/>
              <a:gd name="connsiteY20" fmla="*/ 6596570 h 6858001"/>
              <a:gd name="connsiteX21" fmla="*/ 2403683 w 3184526"/>
              <a:gd name="connsiteY21" fmla="*/ 6596570 h 6858001"/>
              <a:gd name="connsiteX22" fmla="*/ 2403683 w 3184526"/>
              <a:gd name="connsiteY22" fmla="*/ 6577482 h 6858001"/>
              <a:gd name="connsiteX23" fmla="*/ 2447053 w 3184526"/>
              <a:gd name="connsiteY23" fmla="*/ 6577482 h 6858001"/>
              <a:gd name="connsiteX24" fmla="*/ 2447053 w 3184526"/>
              <a:gd name="connsiteY24" fmla="*/ 6554745 h 6858001"/>
              <a:gd name="connsiteX25" fmla="*/ 2286100 w 3184526"/>
              <a:gd name="connsiteY25" fmla="*/ 6554726 h 6858001"/>
              <a:gd name="connsiteX26" fmla="*/ 2302607 w 3184526"/>
              <a:gd name="connsiteY26" fmla="*/ 6589123 h 6858001"/>
              <a:gd name="connsiteX27" fmla="*/ 2329051 w 3184526"/>
              <a:gd name="connsiteY27" fmla="*/ 6589123 h 6858001"/>
              <a:gd name="connsiteX28" fmla="*/ 2314487 w 3184526"/>
              <a:gd name="connsiteY28" fmla="*/ 6554726 h 6858001"/>
              <a:gd name="connsiteX29" fmla="*/ 2560771 w 3184526"/>
              <a:gd name="connsiteY29" fmla="*/ 6554707 h 6858001"/>
              <a:gd name="connsiteX30" fmla="*/ 2560771 w 3184526"/>
              <a:gd name="connsiteY30" fmla="*/ 6661564 h 6858001"/>
              <a:gd name="connsiteX31" fmla="*/ 2585845 w 3184526"/>
              <a:gd name="connsiteY31" fmla="*/ 6661564 h 6858001"/>
              <a:gd name="connsiteX32" fmla="*/ 2585845 w 3184526"/>
              <a:gd name="connsiteY32" fmla="*/ 6629932 h 6858001"/>
              <a:gd name="connsiteX33" fmla="*/ 2595155 w 3184526"/>
              <a:gd name="connsiteY33" fmla="*/ 6629932 h 6858001"/>
              <a:gd name="connsiteX34" fmla="*/ 2638945 w 3184526"/>
              <a:gd name="connsiteY34" fmla="*/ 6592019 h 6858001"/>
              <a:gd name="connsiteX35" fmla="*/ 2590871 w 3184526"/>
              <a:gd name="connsiteY35" fmla="*/ 6554707 h 6858001"/>
              <a:gd name="connsiteX36" fmla="*/ 2456020 w 3184526"/>
              <a:gd name="connsiteY36" fmla="*/ 6554707 h 6858001"/>
              <a:gd name="connsiteX37" fmla="*/ 2456020 w 3184526"/>
              <a:gd name="connsiteY37" fmla="*/ 6661470 h 6858001"/>
              <a:gd name="connsiteX38" fmla="*/ 2489071 w 3184526"/>
              <a:gd name="connsiteY38" fmla="*/ 6661583 h 6858001"/>
              <a:gd name="connsiteX39" fmla="*/ 2553803 w 3184526"/>
              <a:gd name="connsiteY39" fmla="*/ 6607214 h 6858001"/>
              <a:gd name="connsiteX40" fmla="*/ 2487986 w 3184526"/>
              <a:gd name="connsiteY40" fmla="*/ 6554745 h 6858001"/>
              <a:gd name="connsiteX41" fmla="*/ 2488024 w 3184526"/>
              <a:gd name="connsiteY41" fmla="*/ 6554707 h 6858001"/>
              <a:gd name="connsiteX42" fmla="*/ 2456020 w 3184526"/>
              <a:gd name="connsiteY42" fmla="*/ 6554707 h 6858001"/>
              <a:gd name="connsiteX43" fmla="*/ 2364425 w 3184526"/>
              <a:gd name="connsiteY43" fmla="*/ 6554707 h 6858001"/>
              <a:gd name="connsiteX44" fmla="*/ 2339218 w 3184526"/>
              <a:gd name="connsiteY44" fmla="*/ 6612649 h 6858001"/>
              <a:gd name="connsiteX45" fmla="*/ 2332383 w 3184526"/>
              <a:gd name="connsiteY45" fmla="*/ 6596645 h 6858001"/>
              <a:gd name="connsiteX46" fmla="*/ 2306148 w 3184526"/>
              <a:gd name="connsiteY46" fmla="*/ 6596645 h 6858001"/>
              <a:gd name="connsiteX47" fmla="*/ 2337467 w 3184526"/>
              <a:gd name="connsiteY47" fmla="*/ 6661978 h 6858001"/>
              <a:gd name="connsiteX48" fmla="*/ 2340380 w 3184526"/>
              <a:gd name="connsiteY48" fmla="*/ 6661978 h 6858001"/>
              <a:gd name="connsiteX49" fmla="*/ 2391118 w 3184526"/>
              <a:gd name="connsiteY49" fmla="*/ 6554707 h 6858001"/>
              <a:gd name="connsiteX50" fmla="*/ 2744807 w 3184526"/>
              <a:gd name="connsiteY50" fmla="*/ 6516148 h 6858001"/>
              <a:gd name="connsiteX51" fmla="*/ 2744807 w 3184526"/>
              <a:gd name="connsiteY51" fmla="*/ 6690773 h 6858001"/>
              <a:gd name="connsiteX52" fmla="*/ 2764196 w 3184526"/>
              <a:gd name="connsiteY52" fmla="*/ 6690773 h 6858001"/>
              <a:gd name="connsiteX53" fmla="*/ 2764196 w 3184526"/>
              <a:gd name="connsiteY53" fmla="*/ 6516148 h 6858001"/>
              <a:gd name="connsiteX54" fmla="*/ 0 w 3184526"/>
              <a:gd name="connsiteY54" fmla="*/ 0 h 6858001"/>
              <a:gd name="connsiteX55" fmla="*/ 3184526 w 3184526"/>
              <a:gd name="connsiteY55" fmla="*/ 0 h 6858001"/>
              <a:gd name="connsiteX56" fmla="*/ 3184526 w 3184526"/>
              <a:gd name="connsiteY56" fmla="*/ 6858001 h 6858001"/>
              <a:gd name="connsiteX57" fmla="*/ 0 w 3184526"/>
              <a:gd name="connsiteY57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3184526" h="6858001">
                <a:moveTo>
                  <a:pt x="2585845" y="6577275"/>
                </a:moveTo>
                <a:lnTo>
                  <a:pt x="2595155" y="6577275"/>
                </a:lnTo>
                <a:cubicBezTo>
                  <a:pt x="2607531" y="6577275"/>
                  <a:pt x="2613281" y="6583970"/>
                  <a:pt x="2613281" y="6592564"/>
                </a:cubicBezTo>
                <a:cubicBezTo>
                  <a:pt x="2613281" y="6602908"/>
                  <a:pt x="2606655" y="6608587"/>
                  <a:pt x="2593365" y="6608587"/>
                </a:cubicBezTo>
                <a:lnTo>
                  <a:pt x="2593365" y="6608474"/>
                </a:lnTo>
                <a:lnTo>
                  <a:pt x="2585845" y="6608474"/>
                </a:lnTo>
                <a:close/>
                <a:moveTo>
                  <a:pt x="2481056" y="6576165"/>
                </a:moveTo>
                <a:lnTo>
                  <a:pt x="2491394" y="6576165"/>
                </a:lnTo>
                <a:cubicBezTo>
                  <a:pt x="2514697" y="6576165"/>
                  <a:pt x="2527091" y="6587825"/>
                  <a:pt x="2527091" y="6607214"/>
                </a:cubicBezTo>
                <a:cubicBezTo>
                  <a:pt x="2527091" y="6627187"/>
                  <a:pt x="2516620" y="6640295"/>
                  <a:pt x="2493012" y="6640295"/>
                </a:cubicBezTo>
                <a:lnTo>
                  <a:pt x="2481056" y="6640295"/>
                </a:lnTo>
                <a:close/>
                <a:moveTo>
                  <a:pt x="2399837" y="6554745"/>
                </a:moveTo>
                <a:lnTo>
                  <a:pt x="2398371" y="6557848"/>
                </a:lnTo>
                <a:lnTo>
                  <a:pt x="2378590" y="6599654"/>
                </a:lnTo>
                <a:lnTo>
                  <a:pt x="2378590" y="6661565"/>
                </a:lnTo>
                <a:lnTo>
                  <a:pt x="2447053" y="6661565"/>
                </a:lnTo>
                <a:lnTo>
                  <a:pt x="2447053" y="6638978"/>
                </a:lnTo>
                <a:lnTo>
                  <a:pt x="2403683" y="6638978"/>
                </a:lnTo>
                <a:lnTo>
                  <a:pt x="2403683" y="6618141"/>
                </a:lnTo>
                <a:lnTo>
                  <a:pt x="2443207" y="6618141"/>
                </a:lnTo>
                <a:lnTo>
                  <a:pt x="2443207" y="6596570"/>
                </a:lnTo>
                <a:lnTo>
                  <a:pt x="2403683" y="6596570"/>
                </a:lnTo>
                <a:lnTo>
                  <a:pt x="2403683" y="6577482"/>
                </a:lnTo>
                <a:lnTo>
                  <a:pt x="2447053" y="6577482"/>
                </a:lnTo>
                <a:lnTo>
                  <a:pt x="2447053" y="6554745"/>
                </a:lnTo>
                <a:close/>
                <a:moveTo>
                  <a:pt x="2286100" y="6554726"/>
                </a:moveTo>
                <a:lnTo>
                  <a:pt x="2302607" y="6589123"/>
                </a:lnTo>
                <a:lnTo>
                  <a:pt x="2329051" y="6589123"/>
                </a:lnTo>
                <a:lnTo>
                  <a:pt x="2314487" y="6554726"/>
                </a:lnTo>
                <a:close/>
                <a:moveTo>
                  <a:pt x="2560771" y="6554707"/>
                </a:moveTo>
                <a:lnTo>
                  <a:pt x="2560771" y="6661564"/>
                </a:lnTo>
                <a:lnTo>
                  <a:pt x="2585845" y="6661564"/>
                </a:lnTo>
                <a:lnTo>
                  <a:pt x="2585845" y="6629932"/>
                </a:lnTo>
                <a:lnTo>
                  <a:pt x="2595155" y="6629932"/>
                </a:lnTo>
                <a:cubicBezTo>
                  <a:pt x="2623714" y="6629932"/>
                  <a:pt x="2638945" y="6614041"/>
                  <a:pt x="2638945" y="6592019"/>
                </a:cubicBezTo>
                <a:cubicBezTo>
                  <a:pt x="2638964" y="6570486"/>
                  <a:pt x="2622153" y="6554707"/>
                  <a:pt x="2590871" y="6554707"/>
                </a:cubicBezTo>
                <a:close/>
                <a:moveTo>
                  <a:pt x="2456020" y="6554707"/>
                </a:moveTo>
                <a:lnTo>
                  <a:pt x="2456020" y="6661470"/>
                </a:lnTo>
                <a:cubicBezTo>
                  <a:pt x="2456020" y="6661470"/>
                  <a:pt x="2476391" y="6661583"/>
                  <a:pt x="2489071" y="6661583"/>
                </a:cubicBezTo>
                <a:cubicBezTo>
                  <a:pt x="2533907" y="6661583"/>
                  <a:pt x="2553803" y="6638696"/>
                  <a:pt x="2553803" y="6607214"/>
                </a:cubicBezTo>
                <a:cubicBezTo>
                  <a:pt x="2553803" y="6577124"/>
                  <a:pt x="2532860" y="6554745"/>
                  <a:pt x="2487986" y="6554745"/>
                </a:cubicBezTo>
                <a:lnTo>
                  <a:pt x="2488024" y="6554707"/>
                </a:lnTo>
                <a:cubicBezTo>
                  <a:pt x="2477267" y="6554707"/>
                  <a:pt x="2456020" y="6554707"/>
                  <a:pt x="2456020" y="6554707"/>
                </a:cubicBezTo>
                <a:close/>
                <a:moveTo>
                  <a:pt x="2364425" y="6554707"/>
                </a:moveTo>
                <a:lnTo>
                  <a:pt x="2339218" y="6612649"/>
                </a:lnTo>
                <a:lnTo>
                  <a:pt x="2332383" y="6596645"/>
                </a:lnTo>
                <a:lnTo>
                  <a:pt x="2306148" y="6596645"/>
                </a:lnTo>
                <a:lnTo>
                  <a:pt x="2337467" y="6661978"/>
                </a:lnTo>
                <a:lnTo>
                  <a:pt x="2340380" y="6661978"/>
                </a:lnTo>
                <a:lnTo>
                  <a:pt x="2391118" y="6554707"/>
                </a:lnTo>
                <a:close/>
                <a:moveTo>
                  <a:pt x="2744807" y="6516148"/>
                </a:moveTo>
                <a:lnTo>
                  <a:pt x="2744807" y="6690773"/>
                </a:lnTo>
                <a:lnTo>
                  <a:pt x="2764196" y="6690773"/>
                </a:lnTo>
                <a:lnTo>
                  <a:pt x="2764196" y="6516148"/>
                </a:lnTo>
                <a:close/>
                <a:moveTo>
                  <a:pt x="0" y="0"/>
                </a:moveTo>
                <a:lnTo>
                  <a:pt x="3184526" y="0"/>
                </a:lnTo>
                <a:lnTo>
                  <a:pt x="3184526" y="6858001"/>
                </a:lnTo>
                <a:lnTo>
                  <a:pt x="0" y="685800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432000" rIns="432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hoto.</a:t>
            </a:r>
            <a:br>
              <a:rPr lang="en-US"/>
            </a:br>
            <a:r>
              <a:rPr lang="en-US"/>
              <a:t>Strict rule: do not resize this image. (Crop if necessary.)</a:t>
            </a:r>
          </a:p>
        </p:txBody>
      </p:sp>
      <p:sp>
        <p:nvSpPr>
          <p:cNvPr id="116" name="Text Placeholder 21">
            <a:extLst>
              <a:ext uri="{FF2B5EF4-FFF2-40B4-BE49-F238E27FC236}">
                <a16:creationId xmlns:a16="http://schemas.microsoft.com/office/drawing/2014/main" id="{6D77A529-4F58-5E4F-95C8-1B870B6EF275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6356195" y="4650582"/>
            <a:ext cx="2346964" cy="114262"/>
          </a:xfrm>
          <a:effectLst/>
        </p:spPr>
        <p:txBody>
          <a:bodyPr wrap="square" anchor="b">
            <a:sp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 b="0">
                <a:solidFill>
                  <a:schemeClr val="bg1"/>
                </a:solidFill>
                <a:effectLst/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photo caption</a:t>
            </a:r>
          </a:p>
        </p:txBody>
      </p:sp>
      <p:sp>
        <p:nvSpPr>
          <p:cNvPr id="118" name="Picture Placeholder 7">
            <a:extLst>
              <a:ext uri="{FF2B5EF4-FFF2-40B4-BE49-F238E27FC236}">
                <a16:creationId xmlns:a16="http://schemas.microsoft.com/office/drawing/2014/main" id="{50501BB8-75BC-4F41-A788-05E4DEAEAA35}"/>
              </a:ext>
            </a:extLst>
          </p:cNvPr>
          <p:cNvSpPr>
            <a:spLocks noGrp="1"/>
          </p:cNvSpPr>
          <p:nvPr userDrawn="1">
            <p:ph type="pic" sz="quarter" idx="108" hasCustomPrompt="1"/>
          </p:nvPr>
        </p:nvSpPr>
        <p:spPr>
          <a:xfrm>
            <a:off x="49870" y="845152"/>
            <a:ext cx="5861832" cy="3296361"/>
          </a:xfrm>
          <a:solidFill>
            <a:srgbClr val="E8F3FD"/>
          </a:solidFill>
        </p:spPr>
        <p:txBody>
          <a:bodyPr anchor="ctr"/>
          <a:lstStyle>
            <a:lvl1pPr algn="ctr"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icon to add a pre-designed</a:t>
            </a:r>
            <a:br>
              <a:rPr lang="en-US"/>
            </a:br>
            <a:r>
              <a:rPr lang="en-US"/>
              <a:t>ranking or quote graphic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84E28E5-6A67-0244-A79A-3AEB27D6D5DE}"/>
              </a:ext>
            </a:extLst>
          </p:cNvPr>
          <p:cNvSpPr>
            <a:spLocks noGrp="1"/>
          </p:cNvSpPr>
          <p:nvPr userDrawn="1">
            <p:ph type="dt" sz="half" idx="10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17C96B8-5877-064A-8DD0-AB1D7ECB4030}"/>
              </a:ext>
            </a:extLst>
          </p:cNvPr>
          <p:cNvSpPr>
            <a:spLocks noGrp="1"/>
          </p:cNvSpPr>
          <p:nvPr userDrawn="1">
            <p:ph type="ftr" sz="quarter" idx="1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FEEDA1-ADD4-BD45-A1DD-CC2C4ADEB555}"/>
              </a:ext>
            </a:extLst>
          </p:cNvPr>
          <p:cNvSpPr>
            <a:spLocks noGrp="1"/>
          </p:cNvSpPr>
          <p:nvPr userDrawn="1">
            <p:ph type="sldNum" sz="quarter" idx="1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9525"/>
            <a:fld id="{078C017C-E1B9-8443-B047-B08AAA027B45}" type="slidenum">
              <a:rPr lang="en-US" smtClean="0"/>
              <a:pPr marL="9525"/>
              <a:t>‹#›</a:t>
            </a:fld>
            <a:endParaRPr lang="en-US"/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1763432E-81DC-9141-B4E0-A88D726ADFFC}"/>
              </a:ext>
            </a:extLst>
          </p:cNvPr>
          <p:cNvGrpSpPr/>
          <p:nvPr userDrawn="1"/>
        </p:nvGrpSpPr>
        <p:grpSpPr>
          <a:xfrm>
            <a:off x="9399182" y="-1"/>
            <a:ext cx="2874210" cy="5143501"/>
            <a:chOff x="9399182" y="-1"/>
            <a:chExt cx="2874210" cy="6858001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C939D41-EDD4-E145-AC70-1FEA78861983}"/>
                </a:ext>
              </a:extLst>
            </p:cNvPr>
            <p:cNvSpPr/>
            <p:nvPr userDrawn="1"/>
          </p:nvSpPr>
          <p:spPr>
            <a:xfrm>
              <a:off x="9399182" y="-1"/>
              <a:ext cx="2798651" cy="6858001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050"/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D28E0661-751E-CE4C-8BC5-F16780187439}"/>
                </a:ext>
              </a:extLst>
            </p:cNvPr>
            <p:cNvSpPr txBox="1"/>
            <p:nvPr userDrawn="1"/>
          </p:nvSpPr>
          <p:spPr>
            <a:xfrm>
              <a:off x="9555251" y="150290"/>
              <a:ext cx="1231106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sz="825">
                  <a:solidFill>
                    <a:schemeClr val="bg1"/>
                  </a:solidFill>
                </a:rPr>
                <a:t>HOW TO ADD AN IMAGE</a:t>
              </a:r>
            </a:p>
          </p:txBody>
        </p: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3408AD67-9977-5847-8456-1BA4A449DD9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5251" y="352906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8AC807C0-4C95-754F-9B48-24C2884EC3A8}"/>
                </a:ext>
              </a:extLst>
            </p:cNvPr>
            <p:cNvSpPr txBox="1"/>
            <p:nvPr userDrawn="1"/>
          </p:nvSpPr>
          <p:spPr>
            <a:xfrm>
              <a:off x="9683170" y="1211216"/>
              <a:ext cx="2297338" cy="28913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900"/>
                </a:spcBef>
                <a:spcAft>
                  <a:spcPts val="300"/>
                </a:spcAft>
                <a:defRPr sz="800" b="1" cap="all" spc="2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0" lvl="1" indent="0">
                <a:lnSpc>
                  <a:spcPct val="90000"/>
                </a:lnSpc>
                <a:spcAft>
                  <a:spcPts val="300"/>
                </a:spcAft>
                <a:tabLst/>
                <a:defRPr sz="12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marL="0" lvl="0" indent="0">
                <a:buFont typeface="Arial" panose="020B0604020202020204" pitchFamily="34" charset="0"/>
                <a:buNone/>
              </a:pPr>
              <a:r>
                <a:rPr lang="en-US" sz="450" b="1"/>
                <a:t>Method 1: </a:t>
              </a:r>
              <a:r>
                <a:rPr lang="en-US" sz="450" b="0"/>
                <a:t>from file browser</a:t>
              </a:r>
            </a:p>
            <a:p>
              <a:pPr lvl="1">
                <a:buNone/>
              </a:pPr>
              <a:r>
                <a:rPr lang="en-US" sz="788"/>
                <a:t>Drag the image onto the slide.</a:t>
              </a:r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E5633BC6-629B-B243-98D5-93A61D37DCA2}"/>
                </a:ext>
              </a:extLst>
            </p:cNvPr>
            <p:cNvGrpSpPr/>
            <p:nvPr userDrawn="1"/>
          </p:nvGrpSpPr>
          <p:grpSpPr>
            <a:xfrm>
              <a:off x="9538241" y="5191130"/>
              <a:ext cx="2735151" cy="1411315"/>
              <a:chOff x="9296567" y="4910411"/>
              <a:chExt cx="2735151" cy="1411315"/>
            </a:xfrm>
          </p:grpSpPr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9F863234-89FF-8F40-BE73-4316B3ABFA65}"/>
                  </a:ext>
                </a:extLst>
              </p:cNvPr>
              <p:cNvSpPr/>
              <p:nvPr userDrawn="1"/>
            </p:nvSpPr>
            <p:spPr>
              <a:xfrm>
                <a:off x="9296567" y="4910411"/>
                <a:ext cx="2735151" cy="1411315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2C5A738D-CF1E-4B44-AC3D-BA4815CF1858}"/>
                  </a:ext>
                </a:extLst>
              </p:cNvPr>
              <p:cNvSpPr txBox="1"/>
              <p:nvPr userDrawn="1"/>
            </p:nvSpPr>
            <p:spPr>
              <a:xfrm>
                <a:off x="9662758" y="5039211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Change Image</a:t>
                </a:r>
              </a:p>
            </p:txBody>
          </p:sp>
          <p:pic>
            <p:nvPicPr>
              <p:cNvPr id="61" name="Graphic 60">
                <a:extLst>
                  <a:ext uri="{FF2B5EF4-FFF2-40B4-BE49-F238E27FC236}">
                    <a16:creationId xmlns:a16="http://schemas.microsoft.com/office/drawing/2014/main" id="{EB95FA99-3430-0149-B21D-F142420715F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2"/>
                  </a:ext>
                </a:extLst>
              </a:blip>
              <a:stretch>
                <a:fillRect/>
              </a:stretch>
            </p:blipFill>
            <p:spPr>
              <a:xfrm>
                <a:off x="9456790" y="5049494"/>
                <a:ext cx="155227" cy="155227"/>
              </a:xfrm>
              <a:prstGeom prst="rect">
                <a:avLst/>
              </a:prstGeom>
            </p:spPr>
          </p:pic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2A101CD2-81BC-5247-9E37-65506544734B}"/>
                  </a:ext>
                </a:extLst>
              </p:cNvPr>
              <p:cNvSpPr txBox="1"/>
              <p:nvPr userDrawn="1"/>
            </p:nvSpPr>
            <p:spPr>
              <a:xfrm>
                <a:off x="9471805" y="5619194"/>
                <a:ext cx="2422981" cy="373948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101204" lvl="1" indent="-98822" algn="l" defTabSz="685800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225"/>
                  </a:spcAft>
                  <a:buFont typeface="Wingdings" pitchFamily="2" charset="2"/>
                  <a:buChar char="§"/>
                  <a:tabLst/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Deleting the image may bring the image placeholder to the top layer. Right-click on the placeholder and choose “Send to Back”.</a:t>
                </a:r>
              </a:p>
            </p:txBody>
          </p:sp>
          <p:sp>
            <p:nvSpPr>
              <p:cNvPr id="63" name="TextBox 62">
                <a:extLst>
                  <a:ext uri="{FF2B5EF4-FFF2-40B4-BE49-F238E27FC236}">
                    <a16:creationId xmlns:a16="http://schemas.microsoft.com/office/drawing/2014/main" id="{DA111A3F-62A5-A341-B311-884D94AECDDC}"/>
                  </a:ext>
                </a:extLst>
              </p:cNvPr>
              <p:cNvSpPr txBox="1"/>
              <p:nvPr userDrawn="1"/>
            </p:nvSpPr>
            <p:spPr>
              <a:xfrm>
                <a:off x="9471805" y="5300350"/>
                <a:ext cx="2422981" cy="2769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685800" rtl="0" eaLnBrk="1" latinLnBrk="0" hangingPunct="1">
                  <a:spcBef>
                    <a:spcPts val="150"/>
                  </a:spcBef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First, delete the existing image to reset the photo placeholder functionality.</a:t>
                </a:r>
              </a:p>
            </p:txBody>
          </p: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A91A7249-E4DE-9045-B263-B2E6552B974A}"/>
                  </a:ext>
                </a:extLst>
              </p:cNvPr>
              <p:cNvSpPr txBox="1"/>
              <p:nvPr userDrawn="1"/>
            </p:nvSpPr>
            <p:spPr>
              <a:xfrm>
                <a:off x="9471805" y="6068871"/>
                <a:ext cx="2422981" cy="13850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685800" rtl="0" eaLnBrk="1" latinLnBrk="0" hangingPunct="1">
                  <a:spcBef>
                    <a:spcPts val="150"/>
                  </a:spcBef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You can now add a new image as normal.</a:t>
                </a:r>
              </a:p>
            </p:txBody>
          </p:sp>
        </p:grp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E81DE022-4C71-2544-8505-1761305A250F}"/>
                </a:ext>
              </a:extLst>
            </p:cNvPr>
            <p:cNvGrpSpPr/>
            <p:nvPr userDrawn="1"/>
          </p:nvGrpSpPr>
          <p:grpSpPr>
            <a:xfrm>
              <a:off x="9538241" y="3396143"/>
              <a:ext cx="2735151" cy="1666188"/>
              <a:chOff x="9286315" y="6976989"/>
              <a:chExt cx="2735151" cy="1666188"/>
            </a:xfrm>
          </p:grpSpPr>
          <p:sp>
            <p:nvSpPr>
              <p:cNvPr id="53" name="Rectangle 52">
                <a:extLst>
                  <a:ext uri="{FF2B5EF4-FFF2-40B4-BE49-F238E27FC236}">
                    <a16:creationId xmlns:a16="http://schemas.microsoft.com/office/drawing/2014/main" id="{FC6F4C93-688F-8D4E-ABCD-9BC9F8F9CBAA}"/>
                  </a:ext>
                </a:extLst>
              </p:cNvPr>
              <p:cNvSpPr/>
              <p:nvPr userDrawn="1"/>
            </p:nvSpPr>
            <p:spPr>
              <a:xfrm>
                <a:off x="9286315" y="6976989"/>
                <a:ext cx="2735151" cy="1666188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35D49C1A-C836-5A44-8A49-80E5A075C93A}"/>
                  </a:ext>
                </a:extLst>
              </p:cNvPr>
              <p:cNvSpPr txBox="1"/>
              <p:nvPr userDrawn="1"/>
            </p:nvSpPr>
            <p:spPr>
              <a:xfrm>
                <a:off x="9652506" y="7105788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Crop Image</a:t>
                </a:r>
              </a:p>
            </p:txBody>
          </p:sp>
          <p:pic>
            <p:nvPicPr>
              <p:cNvPr id="55" name="Graphic 54">
                <a:extLst>
                  <a:ext uri="{FF2B5EF4-FFF2-40B4-BE49-F238E27FC236}">
                    <a16:creationId xmlns:a16="http://schemas.microsoft.com/office/drawing/2014/main" id="{EB93AE78-B9CD-AB40-95D3-B134C74973B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2"/>
                  </a:ext>
                </a:extLst>
              </a:blip>
              <a:stretch>
                <a:fillRect/>
              </a:stretch>
            </p:blipFill>
            <p:spPr>
              <a:xfrm>
                <a:off x="9446538" y="7116071"/>
                <a:ext cx="155227" cy="155227"/>
              </a:xfrm>
              <a:prstGeom prst="rect">
                <a:avLst/>
              </a:prstGeom>
            </p:spPr>
          </p:pic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5784DD63-BA1D-1542-806C-9B2E2FA95A95}"/>
                  </a:ext>
                </a:extLst>
              </p:cNvPr>
              <p:cNvSpPr txBox="1"/>
              <p:nvPr userDrawn="1"/>
            </p:nvSpPr>
            <p:spPr>
              <a:xfrm>
                <a:off x="9446538" y="7369972"/>
                <a:ext cx="2384904" cy="777136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Right-click on the image.</a:t>
                </a:r>
              </a:p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Choose “Crop” from the menu. (       )</a:t>
                </a:r>
              </a:p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Adjust the size and position of the image.</a:t>
                </a:r>
              </a:p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Press Esc or click outside the image area to exit the cropping mode.</a:t>
                </a:r>
              </a:p>
            </p:txBody>
          </p:sp>
          <p:pic>
            <p:nvPicPr>
              <p:cNvPr id="57" name="Picture 56">
                <a:extLst>
                  <a:ext uri="{FF2B5EF4-FFF2-40B4-BE49-F238E27FC236}">
                    <a16:creationId xmlns:a16="http://schemas.microsoft.com/office/drawing/2014/main" id="{E0E8A988-05AB-3248-93C8-C5006E414A56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l="33684" t="12097" r="43371" b="20368"/>
              <a:stretch/>
            </p:blipFill>
            <p:spPr>
              <a:xfrm>
                <a:off x="11243541" y="7454405"/>
                <a:ext cx="136897" cy="213643"/>
              </a:xfrm>
              <a:prstGeom prst="rect">
                <a:avLst/>
              </a:prstGeom>
              <a:ln w="19050"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</p:pic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88DD2CB9-AED7-714F-B970-5632385CD159}"/>
                  </a:ext>
                </a:extLst>
              </p:cNvPr>
              <p:cNvSpPr txBox="1"/>
              <p:nvPr userDrawn="1"/>
            </p:nvSpPr>
            <p:spPr>
              <a:xfrm>
                <a:off x="9446538" y="8244616"/>
                <a:ext cx="2467032" cy="2492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2381" lvl="1" indent="0">
                  <a:buNone/>
                  <a:defRPr/>
                </a:pPr>
                <a:r>
                  <a:rPr lang="en-US" sz="675" i="1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Strict rule: do not resize the image placeholder. It should always be 1/3rd of the slide width.</a:t>
                </a:r>
              </a:p>
            </p:txBody>
          </p:sp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522C1CD7-2090-FC48-80A3-6DC2AF4F2810}"/>
                </a:ext>
              </a:extLst>
            </p:cNvPr>
            <p:cNvGrpSpPr/>
            <p:nvPr userDrawn="1"/>
          </p:nvGrpSpPr>
          <p:grpSpPr>
            <a:xfrm>
              <a:off x="9518577" y="475409"/>
              <a:ext cx="2617883" cy="707288"/>
              <a:chOff x="12352022" y="513115"/>
              <a:chExt cx="2617883" cy="707288"/>
            </a:xfrm>
          </p:grpSpPr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697B859F-3589-2A4F-A834-9541E03CDE87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12352022" y="538142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375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1</a:t>
                </a:r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2EA4EEBF-44D6-B64D-A9A9-305B00FCA67C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12352022" y="1033696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375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2</a:t>
                </a:r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4F609CAA-7DFC-C34E-9B3E-600CFAED5850}"/>
                  </a:ext>
                </a:extLst>
              </p:cNvPr>
              <p:cNvSpPr txBox="1"/>
              <p:nvPr userDrawn="1"/>
            </p:nvSpPr>
            <p:spPr>
              <a:xfrm>
                <a:off x="12516615" y="513115"/>
                <a:ext cx="2453290" cy="707288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0"/>
                <a:r>
                  <a:rPr lang="en-US" sz="788"/>
                  <a:t>Select and download images from the Marketing Resource Database.</a:t>
                </a:r>
              </a:p>
              <a:p>
                <a:pPr lvl="0"/>
                <a:r>
                  <a:rPr lang="en-US" sz="788"/>
                  <a:t>Add the image to the placeholder.</a:t>
                </a:r>
              </a:p>
            </p:txBody>
          </p:sp>
        </p:grp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825247B6-FFD6-8D42-800F-51E92618BD11}"/>
                </a:ext>
              </a:extLst>
            </p:cNvPr>
            <p:cNvSpPr txBox="1"/>
            <p:nvPr userDrawn="1"/>
          </p:nvSpPr>
          <p:spPr>
            <a:xfrm>
              <a:off x="9671011" y="1494522"/>
              <a:ext cx="2374733" cy="32316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525"/>
                <a:t>Note: If there are multiple image placeholders on the slide, select the intended placeholder before dragging in the image to let PowerPoint know where you want it.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970D307F-E4DB-E049-9932-D63E2B92B691}"/>
                </a:ext>
              </a:extLst>
            </p:cNvPr>
            <p:cNvSpPr txBox="1"/>
            <p:nvPr userDrawn="1"/>
          </p:nvSpPr>
          <p:spPr>
            <a:xfrm>
              <a:off x="9683170" y="1909778"/>
              <a:ext cx="2297338" cy="63145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900"/>
                </a:spcBef>
                <a:spcAft>
                  <a:spcPts val="300"/>
                </a:spcAft>
                <a:defRPr sz="800" b="1" cap="all" spc="2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0" lvl="1" indent="0">
                <a:lnSpc>
                  <a:spcPct val="90000"/>
                </a:lnSpc>
                <a:spcAft>
                  <a:spcPts val="300"/>
                </a:spcAft>
                <a:tabLst/>
                <a:defRPr sz="12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marL="0" lvl="0" indent="0">
                <a:buFont typeface="Arial" panose="020B0604020202020204" pitchFamily="34" charset="0"/>
                <a:buNone/>
              </a:pPr>
              <a:r>
                <a:rPr lang="en-US" sz="450"/>
                <a:t>Method 2: </a:t>
              </a:r>
              <a:r>
                <a:rPr lang="en-US" sz="450" b="0"/>
                <a:t>Paste from clipboard</a:t>
              </a:r>
            </a:p>
            <a:p>
              <a:pPr lvl="1">
                <a:buNone/>
              </a:pPr>
              <a:r>
                <a:rPr lang="en-US" sz="788"/>
                <a:t>Select the image placeholder. </a:t>
              </a:r>
            </a:p>
            <a:p>
              <a:pPr lvl="1">
                <a:buNone/>
              </a:pPr>
              <a:r>
                <a:rPr lang="en-US" sz="788"/>
                <a:t>Right-click or use keyboard shortcuts to paste the image.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882A7166-211F-0A4C-B965-143A64AF82E4}"/>
                </a:ext>
              </a:extLst>
            </p:cNvPr>
            <p:cNvSpPr txBox="1"/>
            <p:nvPr userDrawn="1"/>
          </p:nvSpPr>
          <p:spPr>
            <a:xfrm>
              <a:off x="9683170" y="2629868"/>
              <a:ext cx="2297338" cy="43464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900"/>
                </a:spcBef>
                <a:spcAft>
                  <a:spcPts val="300"/>
                </a:spcAft>
                <a:defRPr sz="800" b="1" cap="all" spc="2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0" lvl="1" indent="0">
                <a:lnSpc>
                  <a:spcPct val="90000"/>
                </a:lnSpc>
                <a:spcAft>
                  <a:spcPts val="300"/>
                </a:spcAft>
                <a:tabLst/>
                <a:defRPr sz="12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marL="0" lvl="0" indent="0">
                <a:buFont typeface="Arial" panose="020B0604020202020204" pitchFamily="34" charset="0"/>
                <a:buNone/>
              </a:pPr>
              <a:r>
                <a:rPr lang="en-US" sz="450"/>
                <a:t>Method 3: </a:t>
              </a:r>
              <a:r>
                <a:rPr lang="en-US" sz="450" b="0"/>
                <a:t>Placeholder icon</a:t>
              </a:r>
            </a:p>
            <a:p>
              <a:pPr lvl="1">
                <a:buNone/>
              </a:pPr>
              <a:r>
                <a:rPr lang="en-US" sz="788"/>
                <a:t>Click the image icon inside the placeholder to browse for an image.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D07C2016-E2F3-A14A-B1C2-86F63D44D337}"/>
                </a:ext>
              </a:extLst>
            </p:cNvPr>
            <p:cNvSpPr txBox="1"/>
            <p:nvPr userDrawn="1"/>
          </p:nvSpPr>
          <p:spPr>
            <a:xfrm>
              <a:off x="9671011" y="3060431"/>
              <a:ext cx="2374733" cy="215444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525"/>
                <a:t>Note: This icon may be covered by another element. </a:t>
              </a:r>
              <a:br>
                <a:rPr lang="en-US" sz="525"/>
              </a:br>
              <a:r>
                <a:rPr lang="en-US" sz="525"/>
                <a:t>In this case use one of the other methods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76018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anking (Right)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AE403CC8-0AF4-0B41-9F00-0561FB8057D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3184526" cy="51435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lIns="432000" rIns="288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hoto.</a:t>
            </a:r>
            <a:br>
              <a:rPr lang="en-US"/>
            </a:br>
            <a:r>
              <a:rPr lang="en-US"/>
              <a:t>Strict rule: do not resize this image. (Crop if necessary.)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D976F2F4-DE2A-DC4C-A765-97FABA1D68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1652" y="4650582"/>
            <a:ext cx="2268598" cy="114262"/>
          </a:xfrm>
          <a:effectLst/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 b="0">
                <a:solidFill>
                  <a:schemeClr val="bg1"/>
                </a:solidFill>
                <a:effectLst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photo caption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54C76DA-F528-244F-B82D-2FD6602BA875}"/>
              </a:ext>
            </a:extLst>
          </p:cNvPr>
          <p:cNvSpPr>
            <a:spLocks noGrp="1"/>
          </p:cNvSpPr>
          <p:nvPr>
            <p:ph type="dt" sz="half" idx="10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1625B55-E0DA-464D-BFB5-020839E75BEF}"/>
              </a:ext>
            </a:extLst>
          </p:cNvPr>
          <p:cNvSpPr>
            <a:spLocks noGrp="1"/>
          </p:cNvSpPr>
          <p:nvPr>
            <p:ph type="ftr" sz="quarter" idx="1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3D59DA1-A77E-7144-9771-F69145665B98}"/>
              </a:ext>
            </a:extLst>
          </p:cNvPr>
          <p:cNvSpPr>
            <a:spLocks noGrp="1"/>
          </p:cNvSpPr>
          <p:nvPr>
            <p:ph type="sldNum" sz="quarter" idx="111"/>
          </p:nvPr>
        </p:nvSpPr>
        <p:spPr/>
        <p:txBody>
          <a:bodyPr/>
          <a:lstStyle/>
          <a:p>
            <a:pPr marL="9525"/>
            <a:fld id="{078C017C-E1B9-8443-B047-B08AAA027B45}" type="slidenum">
              <a:rPr lang="en-US" smtClean="0"/>
              <a:pPr marL="9525"/>
              <a:t>‹#›</a:t>
            </a:fld>
            <a:endParaRPr lang="en-US"/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1F08C253-A48A-3143-84F4-862490E091D5}"/>
              </a:ext>
            </a:extLst>
          </p:cNvPr>
          <p:cNvSpPr>
            <a:spLocks noGrp="1"/>
          </p:cNvSpPr>
          <p:nvPr>
            <p:ph type="pic" sz="quarter" idx="108" hasCustomPrompt="1"/>
          </p:nvPr>
        </p:nvSpPr>
        <p:spPr>
          <a:xfrm>
            <a:off x="3234413" y="845152"/>
            <a:ext cx="5861832" cy="3296361"/>
          </a:xfrm>
          <a:solidFill>
            <a:srgbClr val="E8F3FD"/>
          </a:solidFill>
        </p:spPr>
        <p:txBody>
          <a:bodyPr anchor="ctr"/>
          <a:lstStyle>
            <a:lvl1pPr algn="ctr"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icon to add a pre-designed </a:t>
            </a:r>
            <a:br>
              <a:rPr lang="en-US"/>
            </a:br>
            <a:r>
              <a:rPr lang="en-US"/>
              <a:t>ranking or quote graphic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1764BD5-D145-264C-B0A8-208A483730D7}"/>
              </a:ext>
            </a:extLst>
          </p:cNvPr>
          <p:cNvGrpSpPr/>
          <p:nvPr userDrawn="1"/>
        </p:nvGrpSpPr>
        <p:grpSpPr>
          <a:xfrm>
            <a:off x="9399182" y="-1"/>
            <a:ext cx="2874210" cy="5143501"/>
            <a:chOff x="9399182" y="-1"/>
            <a:chExt cx="2874210" cy="6858001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0E350FE8-9140-BD44-8746-BA901039FCE8}"/>
                </a:ext>
              </a:extLst>
            </p:cNvPr>
            <p:cNvSpPr/>
            <p:nvPr userDrawn="1"/>
          </p:nvSpPr>
          <p:spPr>
            <a:xfrm>
              <a:off x="9399182" y="-1"/>
              <a:ext cx="2798651" cy="6858001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050"/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8D1B288D-9366-E241-BD9C-0C163D006B50}"/>
                </a:ext>
              </a:extLst>
            </p:cNvPr>
            <p:cNvSpPr txBox="1"/>
            <p:nvPr userDrawn="1"/>
          </p:nvSpPr>
          <p:spPr>
            <a:xfrm>
              <a:off x="9555251" y="150290"/>
              <a:ext cx="1231106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sz="825">
                  <a:solidFill>
                    <a:schemeClr val="bg1"/>
                  </a:solidFill>
                </a:rPr>
                <a:t>HOW TO ADD AN IMAGE</a:t>
              </a:r>
            </a:p>
          </p:txBody>
        </p: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6B3ABA96-5F83-394D-9840-D7F0CBD05CB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5251" y="352906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6EF9EA9D-2ECC-8B45-B42B-25173A4A4C25}"/>
                </a:ext>
              </a:extLst>
            </p:cNvPr>
            <p:cNvSpPr txBox="1"/>
            <p:nvPr userDrawn="1"/>
          </p:nvSpPr>
          <p:spPr>
            <a:xfrm>
              <a:off x="9683170" y="1211216"/>
              <a:ext cx="2297338" cy="28913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900"/>
                </a:spcBef>
                <a:spcAft>
                  <a:spcPts val="300"/>
                </a:spcAft>
                <a:defRPr sz="800" b="1" cap="all" spc="2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0" lvl="1" indent="0">
                <a:lnSpc>
                  <a:spcPct val="90000"/>
                </a:lnSpc>
                <a:spcAft>
                  <a:spcPts val="300"/>
                </a:spcAft>
                <a:tabLst/>
                <a:defRPr sz="12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marL="0" lvl="0" indent="0">
                <a:buFont typeface="Arial" panose="020B0604020202020204" pitchFamily="34" charset="0"/>
                <a:buNone/>
              </a:pPr>
              <a:r>
                <a:rPr lang="en-US" sz="450" b="1"/>
                <a:t>Method 1: </a:t>
              </a:r>
              <a:r>
                <a:rPr lang="en-US" sz="450" b="0"/>
                <a:t>from file browser</a:t>
              </a:r>
            </a:p>
            <a:p>
              <a:pPr lvl="1">
                <a:buNone/>
              </a:pPr>
              <a:r>
                <a:rPr lang="en-US" sz="788"/>
                <a:t>Drag the image onto the slide.</a:t>
              </a:r>
            </a:p>
          </p:txBody>
        </p: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C8972E43-5336-2241-891B-35A2BC5D2DEE}"/>
                </a:ext>
              </a:extLst>
            </p:cNvPr>
            <p:cNvGrpSpPr/>
            <p:nvPr userDrawn="1"/>
          </p:nvGrpSpPr>
          <p:grpSpPr>
            <a:xfrm>
              <a:off x="9538241" y="5191130"/>
              <a:ext cx="2735151" cy="1411315"/>
              <a:chOff x="9296567" y="4910411"/>
              <a:chExt cx="2735151" cy="1411315"/>
            </a:xfrm>
          </p:grpSpPr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E2C26990-7FF8-054E-A281-B53F537BEE27}"/>
                  </a:ext>
                </a:extLst>
              </p:cNvPr>
              <p:cNvSpPr/>
              <p:nvPr userDrawn="1"/>
            </p:nvSpPr>
            <p:spPr>
              <a:xfrm>
                <a:off x="9296567" y="4910411"/>
                <a:ext cx="2735151" cy="1411315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3B995B5E-F502-524D-8B58-27186D7A107B}"/>
                  </a:ext>
                </a:extLst>
              </p:cNvPr>
              <p:cNvSpPr txBox="1"/>
              <p:nvPr userDrawn="1"/>
            </p:nvSpPr>
            <p:spPr>
              <a:xfrm>
                <a:off x="9662758" y="5039211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Change Image</a:t>
                </a:r>
              </a:p>
            </p:txBody>
          </p:sp>
          <p:pic>
            <p:nvPicPr>
              <p:cNvPr id="50" name="Graphic 49">
                <a:extLst>
                  <a:ext uri="{FF2B5EF4-FFF2-40B4-BE49-F238E27FC236}">
                    <a16:creationId xmlns:a16="http://schemas.microsoft.com/office/drawing/2014/main" id="{A061601C-8C68-F242-B113-EE7F7709496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2"/>
                  </a:ext>
                </a:extLst>
              </a:blip>
              <a:stretch>
                <a:fillRect/>
              </a:stretch>
            </p:blipFill>
            <p:spPr>
              <a:xfrm>
                <a:off x="9456790" y="5049494"/>
                <a:ext cx="155227" cy="155227"/>
              </a:xfrm>
              <a:prstGeom prst="rect">
                <a:avLst/>
              </a:prstGeom>
            </p:spPr>
          </p:pic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2176A971-B2F1-5E43-B3E1-7B135F870F05}"/>
                  </a:ext>
                </a:extLst>
              </p:cNvPr>
              <p:cNvSpPr txBox="1"/>
              <p:nvPr userDrawn="1"/>
            </p:nvSpPr>
            <p:spPr>
              <a:xfrm>
                <a:off x="9471805" y="5619194"/>
                <a:ext cx="2422981" cy="373948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101204" lvl="1" indent="-98822" algn="l" defTabSz="685800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225"/>
                  </a:spcAft>
                  <a:buFont typeface="Wingdings" pitchFamily="2" charset="2"/>
                  <a:buChar char="§"/>
                  <a:tabLst/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Deleting the image may bring the image placeholder to the top layer. Right-click on the placeholder and choose “Send to Back”.</a:t>
                </a:r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90EC215C-94D0-E34B-A0ED-1A1FAA96773F}"/>
                  </a:ext>
                </a:extLst>
              </p:cNvPr>
              <p:cNvSpPr txBox="1"/>
              <p:nvPr userDrawn="1"/>
            </p:nvSpPr>
            <p:spPr>
              <a:xfrm>
                <a:off x="9471805" y="5300350"/>
                <a:ext cx="2422981" cy="2769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685800" rtl="0" eaLnBrk="1" latinLnBrk="0" hangingPunct="1">
                  <a:spcBef>
                    <a:spcPts val="150"/>
                  </a:spcBef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First, delete the existing image to reset the photo placeholder functionality.</a:t>
                </a:r>
              </a:p>
            </p:txBody>
          </p:sp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76B9D522-8908-7049-B7A4-B57C5618ADD3}"/>
                  </a:ext>
                </a:extLst>
              </p:cNvPr>
              <p:cNvSpPr txBox="1"/>
              <p:nvPr userDrawn="1"/>
            </p:nvSpPr>
            <p:spPr>
              <a:xfrm>
                <a:off x="9471805" y="6068871"/>
                <a:ext cx="2422981" cy="13850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685800" rtl="0" eaLnBrk="1" latinLnBrk="0" hangingPunct="1">
                  <a:spcBef>
                    <a:spcPts val="150"/>
                  </a:spcBef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You can now add a new image as normal.</a:t>
                </a: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AA4B5C55-C3B7-894B-A35E-D5CA95E6E7F1}"/>
                </a:ext>
              </a:extLst>
            </p:cNvPr>
            <p:cNvGrpSpPr/>
            <p:nvPr userDrawn="1"/>
          </p:nvGrpSpPr>
          <p:grpSpPr>
            <a:xfrm>
              <a:off x="9538241" y="3396143"/>
              <a:ext cx="2735151" cy="1666188"/>
              <a:chOff x="9286315" y="6976989"/>
              <a:chExt cx="2735151" cy="1666188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0F3B6FDA-7E11-594D-AA59-432E8381D202}"/>
                  </a:ext>
                </a:extLst>
              </p:cNvPr>
              <p:cNvSpPr/>
              <p:nvPr userDrawn="1"/>
            </p:nvSpPr>
            <p:spPr>
              <a:xfrm>
                <a:off x="9286315" y="6976989"/>
                <a:ext cx="2735151" cy="1666188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B533522C-4577-8A45-84ED-1C28ADF906A5}"/>
                  </a:ext>
                </a:extLst>
              </p:cNvPr>
              <p:cNvSpPr txBox="1"/>
              <p:nvPr userDrawn="1"/>
            </p:nvSpPr>
            <p:spPr>
              <a:xfrm>
                <a:off x="9652506" y="7105788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Crop Image</a:t>
                </a:r>
              </a:p>
            </p:txBody>
          </p:sp>
          <p:pic>
            <p:nvPicPr>
              <p:cNvPr id="57" name="Graphic 56">
                <a:extLst>
                  <a:ext uri="{FF2B5EF4-FFF2-40B4-BE49-F238E27FC236}">
                    <a16:creationId xmlns:a16="http://schemas.microsoft.com/office/drawing/2014/main" id="{CAA725A2-71E0-CC44-BF0B-C7D949C4E17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2"/>
                  </a:ext>
                </a:extLst>
              </a:blip>
              <a:stretch>
                <a:fillRect/>
              </a:stretch>
            </p:blipFill>
            <p:spPr>
              <a:xfrm>
                <a:off x="9446538" y="7116071"/>
                <a:ext cx="155227" cy="155227"/>
              </a:xfrm>
              <a:prstGeom prst="rect">
                <a:avLst/>
              </a:prstGeom>
            </p:spPr>
          </p:pic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877D7503-2CC1-D345-B445-E51D2E0A1D5E}"/>
                  </a:ext>
                </a:extLst>
              </p:cNvPr>
              <p:cNvSpPr txBox="1"/>
              <p:nvPr userDrawn="1"/>
            </p:nvSpPr>
            <p:spPr>
              <a:xfrm>
                <a:off x="9446538" y="7369972"/>
                <a:ext cx="2384904" cy="777136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Right-click on the image.</a:t>
                </a:r>
              </a:p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Choose “Crop” from the menu. (       )</a:t>
                </a:r>
              </a:p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Adjust the size and position of the image.</a:t>
                </a:r>
              </a:p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Press Esc or click outside the image area to exit the cropping mode.</a:t>
                </a:r>
              </a:p>
            </p:txBody>
          </p:sp>
          <p:pic>
            <p:nvPicPr>
              <p:cNvPr id="59" name="Picture 58">
                <a:extLst>
                  <a:ext uri="{FF2B5EF4-FFF2-40B4-BE49-F238E27FC236}">
                    <a16:creationId xmlns:a16="http://schemas.microsoft.com/office/drawing/2014/main" id="{168D46CD-D101-064B-A62A-09B9595E705D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l="33684" t="12097" r="43371" b="20368"/>
              <a:stretch/>
            </p:blipFill>
            <p:spPr>
              <a:xfrm>
                <a:off x="11243541" y="7454405"/>
                <a:ext cx="136897" cy="213643"/>
              </a:xfrm>
              <a:prstGeom prst="rect">
                <a:avLst/>
              </a:prstGeom>
              <a:ln w="19050"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</p:pic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5412DB5D-1726-FE4B-A4FC-19F1AAD0388A}"/>
                  </a:ext>
                </a:extLst>
              </p:cNvPr>
              <p:cNvSpPr txBox="1"/>
              <p:nvPr userDrawn="1"/>
            </p:nvSpPr>
            <p:spPr>
              <a:xfrm>
                <a:off x="9446538" y="8244616"/>
                <a:ext cx="2467032" cy="2492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2381" lvl="1" indent="0">
                  <a:buNone/>
                  <a:defRPr/>
                </a:pPr>
                <a:r>
                  <a:rPr lang="en-US" sz="675" i="1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Strict rule: do not resize the image placeholder. It should always be 1/3rd of the slide width.</a:t>
                </a:r>
              </a:p>
            </p:txBody>
          </p: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9DEDB481-299F-A241-8351-91656708A78B}"/>
                </a:ext>
              </a:extLst>
            </p:cNvPr>
            <p:cNvGrpSpPr/>
            <p:nvPr userDrawn="1"/>
          </p:nvGrpSpPr>
          <p:grpSpPr>
            <a:xfrm>
              <a:off x="9518577" y="475409"/>
              <a:ext cx="2617883" cy="707288"/>
              <a:chOff x="12352022" y="513115"/>
              <a:chExt cx="2617883" cy="707288"/>
            </a:xfrm>
          </p:grpSpPr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AB4D90F5-A24B-2141-B2C9-24D7F2070505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12352022" y="538142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375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1</a:t>
                </a:r>
              </a:p>
            </p:txBody>
          </p:sp>
          <p:sp>
            <p:nvSpPr>
              <p:cNvPr id="63" name="TextBox 62">
                <a:extLst>
                  <a:ext uri="{FF2B5EF4-FFF2-40B4-BE49-F238E27FC236}">
                    <a16:creationId xmlns:a16="http://schemas.microsoft.com/office/drawing/2014/main" id="{81F83443-307B-1E45-9461-3D7B0B74AC67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12352022" y="1033696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375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2</a:t>
                </a:r>
              </a:p>
            </p:txBody>
          </p: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9D96AAF3-257A-024D-8BEB-1EF46B227EF1}"/>
                  </a:ext>
                </a:extLst>
              </p:cNvPr>
              <p:cNvSpPr txBox="1"/>
              <p:nvPr userDrawn="1"/>
            </p:nvSpPr>
            <p:spPr>
              <a:xfrm>
                <a:off x="12516615" y="513115"/>
                <a:ext cx="2453290" cy="707288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0"/>
                <a:r>
                  <a:rPr lang="en-US" sz="788"/>
                  <a:t>Select and download images from the Marketing Resource Database.</a:t>
                </a:r>
              </a:p>
              <a:p>
                <a:pPr lvl="0"/>
                <a:r>
                  <a:rPr lang="en-US" sz="788"/>
                  <a:t>Add the image to the placeholder.</a:t>
                </a:r>
              </a:p>
            </p:txBody>
          </p:sp>
        </p:grp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3EAD2FB7-5D7E-3B4E-9279-C776EEE44836}"/>
                </a:ext>
              </a:extLst>
            </p:cNvPr>
            <p:cNvSpPr txBox="1"/>
            <p:nvPr userDrawn="1"/>
          </p:nvSpPr>
          <p:spPr>
            <a:xfrm>
              <a:off x="9671011" y="1494522"/>
              <a:ext cx="2374733" cy="32316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525"/>
                <a:t>Note: If there are multiple image placeholders on the slide, select the intended placeholder before dragging in the image to let PowerPoint know where you want it.</a:t>
              </a: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EE34DDB8-5373-A745-B56A-FBF923B54BF3}"/>
                </a:ext>
              </a:extLst>
            </p:cNvPr>
            <p:cNvSpPr txBox="1"/>
            <p:nvPr userDrawn="1"/>
          </p:nvSpPr>
          <p:spPr>
            <a:xfrm>
              <a:off x="9683170" y="1909778"/>
              <a:ext cx="2297338" cy="63145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900"/>
                </a:spcBef>
                <a:spcAft>
                  <a:spcPts val="300"/>
                </a:spcAft>
                <a:defRPr sz="800" b="1" cap="all" spc="2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0" lvl="1" indent="0">
                <a:lnSpc>
                  <a:spcPct val="90000"/>
                </a:lnSpc>
                <a:spcAft>
                  <a:spcPts val="300"/>
                </a:spcAft>
                <a:tabLst/>
                <a:defRPr sz="12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marL="0" lvl="0" indent="0">
                <a:buFont typeface="Arial" panose="020B0604020202020204" pitchFamily="34" charset="0"/>
                <a:buNone/>
              </a:pPr>
              <a:r>
                <a:rPr lang="en-US" sz="450"/>
                <a:t>Method 2: </a:t>
              </a:r>
              <a:r>
                <a:rPr lang="en-US" sz="450" b="0"/>
                <a:t>Paste from clipboard</a:t>
              </a:r>
            </a:p>
            <a:p>
              <a:pPr lvl="1">
                <a:buNone/>
              </a:pPr>
              <a:r>
                <a:rPr lang="en-US" sz="788"/>
                <a:t>Select the image placeholder. </a:t>
              </a:r>
            </a:p>
            <a:p>
              <a:pPr lvl="1">
                <a:buNone/>
              </a:pPr>
              <a:r>
                <a:rPr lang="en-US" sz="788"/>
                <a:t>Right-click or use keyboard shortcuts to paste the image.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FB22E602-F5E8-F549-B709-653F5ED78E9A}"/>
                </a:ext>
              </a:extLst>
            </p:cNvPr>
            <p:cNvSpPr txBox="1"/>
            <p:nvPr userDrawn="1"/>
          </p:nvSpPr>
          <p:spPr>
            <a:xfrm>
              <a:off x="9683170" y="2629868"/>
              <a:ext cx="2297338" cy="43464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900"/>
                </a:spcBef>
                <a:spcAft>
                  <a:spcPts val="300"/>
                </a:spcAft>
                <a:defRPr sz="800" b="1" cap="all" spc="2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0" lvl="1" indent="0">
                <a:lnSpc>
                  <a:spcPct val="90000"/>
                </a:lnSpc>
                <a:spcAft>
                  <a:spcPts val="300"/>
                </a:spcAft>
                <a:tabLst/>
                <a:defRPr sz="12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marL="0" lvl="0" indent="0">
                <a:buFont typeface="Arial" panose="020B0604020202020204" pitchFamily="34" charset="0"/>
                <a:buNone/>
              </a:pPr>
              <a:r>
                <a:rPr lang="en-US" sz="450"/>
                <a:t>Method 3: </a:t>
              </a:r>
              <a:r>
                <a:rPr lang="en-US" sz="450" b="0"/>
                <a:t>Placeholder icon</a:t>
              </a:r>
            </a:p>
            <a:p>
              <a:pPr lvl="1">
                <a:buNone/>
              </a:pPr>
              <a:r>
                <a:rPr lang="en-US" sz="788"/>
                <a:t>Click the image icon inside the placeholder to browse for an image.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D1EAB1B9-8082-D946-8E99-B3E0046C15E3}"/>
                </a:ext>
              </a:extLst>
            </p:cNvPr>
            <p:cNvSpPr txBox="1"/>
            <p:nvPr userDrawn="1"/>
          </p:nvSpPr>
          <p:spPr>
            <a:xfrm>
              <a:off x="9671011" y="3060431"/>
              <a:ext cx="2374733" cy="215444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525"/>
                <a:t>Note: This icon may be covered by another element. </a:t>
              </a:r>
              <a:br>
                <a:rPr lang="en-US" sz="525"/>
              </a:br>
              <a:r>
                <a:rPr lang="en-US" sz="525"/>
                <a:t>In this case use one of the other methods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4854179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B61EC68-0522-AF4D-8694-0D0881A7666F}"/>
              </a:ext>
            </a:extLst>
          </p:cNvPr>
          <p:cNvSpPr>
            <a:spLocks noGrp="1"/>
          </p:cNvSpPr>
          <p:nvPr userDrawn="1">
            <p:ph type="pic" sz="quarter" idx="10" hasCustomPrompt="1"/>
          </p:nvPr>
        </p:nvSpPr>
        <p:spPr>
          <a:xfrm>
            <a:off x="0" y="0"/>
            <a:ext cx="9144000" cy="5143500"/>
          </a:xfrm>
          <a:custGeom>
            <a:avLst/>
            <a:gdLst>
              <a:gd name="connsiteX0" fmla="*/ 8545321 w 9144000"/>
              <a:gd name="connsiteY0" fmla="*/ 6577275 h 6858000"/>
              <a:gd name="connsiteX1" fmla="*/ 8554631 w 9144000"/>
              <a:gd name="connsiteY1" fmla="*/ 6577275 h 6858000"/>
              <a:gd name="connsiteX2" fmla="*/ 8572756 w 9144000"/>
              <a:gd name="connsiteY2" fmla="*/ 6592564 h 6858000"/>
              <a:gd name="connsiteX3" fmla="*/ 8552841 w 9144000"/>
              <a:gd name="connsiteY3" fmla="*/ 6608587 h 6858000"/>
              <a:gd name="connsiteX4" fmla="*/ 8552841 w 9144000"/>
              <a:gd name="connsiteY4" fmla="*/ 6608474 h 6858000"/>
              <a:gd name="connsiteX5" fmla="*/ 8545321 w 9144000"/>
              <a:gd name="connsiteY5" fmla="*/ 6608474 h 6858000"/>
              <a:gd name="connsiteX6" fmla="*/ 8440532 w 9144000"/>
              <a:gd name="connsiteY6" fmla="*/ 6576165 h 6858000"/>
              <a:gd name="connsiteX7" fmla="*/ 8450870 w 9144000"/>
              <a:gd name="connsiteY7" fmla="*/ 6576165 h 6858000"/>
              <a:gd name="connsiteX8" fmla="*/ 8486566 w 9144000"/>
              <a:gd name="connsiteY8" fmla="*/ 6607214 h 6858000"/>
              <a:gd name="connsiteX9" fmla="*/ 8452487 w 9144000"/>
              <a:gd name="connsiteY9" fmla="*/ 6640295 h 6858000"/>
              <a:gd name="connsiteX10" fmla="*/ 8440532 w 9144000"/>
              <a:gd name="connsiteY10" fmla="*/ 6640295 h 6858000"/>
              <a:gd name="connsiteX11" fmla="*/ 8359313 w 9144000"/>
              <a:gd name="connsiteY11" fmla="*/ 6554745 h 6858000"/>
              <a:gd name="connsiteX12" fmla="*/ 8357847 w 9144000"/>
              <a:gd name="connsiteY12" fmla="*/ 6557848 h 6858000"/>
              <a:gd name="connsiteX13" fmla="*/ 8338066 w 9144000"/>
              <a:gd name="connsiteY13" fmla="*/ 6599654 h 6858000"/>
              <a:gd name="connsiteX14" fmla="*/ 8338066 w 9144000"/>
              <a:gd name="connsiteY14" fmla="*/ 6661565 h 6858000"/>
              <a:gd name="connsiteX15" fmla="*/ 8406529 w 9144000"/>
              <a:gd name="connsiteY15" fmla="*/ 6661565 h 6858000"/>
              <a:gd name="connsiteX16" fmla="*/ 8406529 w 9144000"/>
              <a:gd name="connsiteY16" fmla="*/ 6638978 h 6858000"/>
              <a:gd name="connsiteX17" fmla="*/ 8363159 w 9144000"/>
              <a:gd name="connsiteY17" fmla="*/ 6638978 h 6858000"/>
              <a:gd name="connsiteX18" fmla="*/ 8363159 w 9144000"/>
              <a:gd name="connsiteY18" fmla="*/ 6618141 h 6858000"/>
              <a:gd name="connsiteX19" fmla="*/ 8402683 w 9144000"/>
              <a:gd name="connsiteY19" fmla="*/ 6618141 h 6858000"/>
              <a:gd name="connsiteX20" fmla="*/ 8402683 w 9144000"/>
              <a:gd name="connsiteY20" fmla="*/ 6596570 h 6858000"/>
              <a:gd name="connsiteX21" fmla="*/ 8363159 w 9144000"/>
              <a:gd name="connsiteY21" fmla="*/ 6596570 h 6858000"/>
              <a:gd name="connsiteX22" fmla="*/ 8363159 w 9144000"/>
              <a:gd name="connsiteY22" fmla="*/ 6577482 h 6858000"/>
              <a:gd name="connsiteX23" fmla="*/ 8406529 w 9144000"/>
              <a:gd name="connsiteY23" fmla="*/ 6577482 h 6858000"/>
              <a:gd name="connsiteX24" fmla="*/ 8406529 w 9144000"/>
              <a:gd name="connsiteY24" fmla="*/ 6554745 h 6858000"/>
              <a:gd name="connsiteX25" fmla="*/ 8245576 w 9144000"/>
              <a:gd name="connsiteY25" fmla="*/ 6554726 h 6858000"/>
              <a:gd name="connsiteX26" fmla="*/ 8262083 w 9144000"/>
              <a:gd name="connsiteY26" fmla="*/ 6589123 h 6858000"/>
              <a:gd name="connsiteX27" fmla="*/ 8288527 w 9144000"/>
              <a:gd name="connsiteY27" fmla="*/ 6589123 h 6858000"/>
              <a:gd name="connsiteX28" fmla="*/ 8273963 w 9144000"/>
              <a:gd name="connsiteY28" fmla="*/ 6554726 h 6858000"/>
              <a:gd name="connsiteX29" fmla="*/ 8520246 w 9144000"/>
              <a:gd name="connsiteY29" fmla="*/ 6554707 h 6858000"/>
              <a:gd name="connsiteX30" fmla="*/ 8520246 w 9144000"/>
              <a:gd name="connsiteY30" fmla="*/ 6661564 h 6858000"/>
              <a:gd name="connsiteX31" fmla="*/ 8545321 w 9144000"/>
              <a:gd name="connsiteY31" fmla="*/ 6661564 h 6858000"/>
              <a:gd name="connsiteX32" fmla="*/ 8545321 w 9144000"/>
              <a:gd name="connsiteY32" fmla="*/ 6629932 h 6858000"/>
              <a:gd name="connsiteX33" fmla="*/ 8554631 w 9144000"/>
              <a:gd name="connsiteY33" fmla="*/ 6629932 h 6858000"/>
              <a:gd name="connsiteX34" fmla="*/ 8598420 w 9144000"/>
              <a:gd name="connsiteY34" fmla="*/ 6592019 h 6858000"/>
              <a:gd name="connsiteX35" fmla="*/ 8550347 w 9144000"/>
              <a:gd name="connsiteY35" fmla="*/ 6554707 h 6858000"/>
              <a:gd name="connsiteX36" fmla="*/ 8415496 w 9144000"/>
              <a:gd name="connsiteY36" fmla="*/ 6554707 h 6858000"/>
              <a:gd name="connsiteX37" fmla="*/ 8415496 w 9144000"/>
              <a:gd name="connsiteY37" fmla="*/ 6661470 h 6858000"/>
              <a:gd name="connsiteX38" fmla="*/ 8448547 w 9144000"/>
              <a:gd name="connsiteY38" fmla="*/ 6661583 h 6858000"/>
              <a:gd name="connsiteX39" fmla="*/ 8513278 w 9144000"/>
              <a:gd name="connsiteY39" fmla="*/ 6607214 h 6858000"/>
              <a:gd name="connsiteX40" fmla="*/ 8447462 w 9144000"/>
              <a:gd name="connsiteY40" fmla="*/ 6554745 h 6858000"/>
              <a:gd name="connsiteX41" fmla="*/ 8447500 w 9144000"/>
              <a:gd name="connsiteY41" fmla="*/ 6554707 h 6858000"/>
              <a:gd name="connsiteX42" fmla="*/ 8415496 w 9144000"/>
              <a:gd name="connsiteY42" fmla="*/ 6554707 h 6858000"/>
              <a:gd name="connsiteX43" fmla="*/ 8323901 w 9144000"/>
              <a:gd name="connsiteY43" fmla="*/ 6554707 h 6858000"/>
              <a:gd name="connsiteX44" fmla="*/ 8298694 w 9144000"/>
              <a:gd name="connsiteY44" fmla="*/ 6612649 h 6858000"/>
              <a:gd name="connsiteX45" fmla="*/ 8291859 w 9144000"/>
              <a:gd name="connsiteY45" fmla="*/ 6596645 h 6858000"/>
              <a:gd name="connsiteX46" fmla="*/ 8265624 w 9144000"/>
              <a:gd name="connsiteY46" fmla="*/ 6596645 h 6858000"/>
              <a:gd name="connsiteX47" fmla="*/ 8296943 w 9144000"/>
              <a:gd name="connsiteY47" fmla="*/ 6661978 h 6858000"/>
              <a:gd name="connsiteX48" fmla="*/ 8299856 w 9144000"/>
              <a:gd name="connsiteY48" fmla="*/ 6661978 h 6858000"/>
              <a:gd name="connsiteX49" fmla="*/ 8350594 w 9144000"/>
              <a:gd name="connsiteY49" fmla="*/ 6554707 h 6858000"/>
              <a:gd name="connsiteX50" fmla="*/ 8704282 w 9144000"/>
              <a:gd name="connsiteY50" fmla="*/ 6516148 h 6858000"/>
              <a:gd name="connsiteX51" fmla="*/ 8704282 w 9144000"/>
              <a:gd name="connsiteY51" fmla="*/ 6690773 h 6858000"/>
              <a:gd name="connsiteX52" fmla="*/ 8723671 w 9144000"/>
              <a:gd name="connsiteY52" fmla="*/ 6690773 h 6858000"/>
              <a:gd name="connsiteX53" fmla="*/ 8723671 w 9144000"/>
              <a:gd name="connsiteY53" fmla="*/ 6516148 h 6858000"/>
              <a:gd name="connsiteX54" fmla="*/ 0 w 9144000"/>
              <a:gd name="connsiteY54" fmla="*/ 0 h 6858000"/>
              <a:gd name="connsiteX55" fmla="*/ 9144000 w 9144000"/>
              <a:gd name="connsiteY55" fmla="*/ 0 h 6858000"/>
              <a:gd name="connsiteX56" fmla="*/ 9144000 w 9144000"/>
              <a:gd name="connsiteY56" fmla="*/ 6858000 h 6858000"/>
              <a:gd name="connsiteX57" fmla="*/ 0 w 9144000"/>
              <a:gd name="connsiteY5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9144000" h="6858000">
                <a:moveTo>
                  <a:pt x="8545321" y="6577275"/>
                </a:moveTo>
                <a:lnTo>
                  <a:pt x="8554631" y="6577275"/>
                </a:lnTo>
                <a:cubicBezTo>
                  <a:pt x="8567006" y="6577275"/>
                  <a:pt x="8572756" y="6583970"/>
                  <a:pt x="8572756" y="6592564"/>
                </a:cubicBezTo>
                <a:cubicBezTo>
                  <a:pt x="8572756" y="6602908"/>
                  <a:pt x="8566130" y="6608587"/>
                  <a:pt x="8552841" y="6608587"/>
                </a:cubicBezTo>
                <a:lnTo>
                  <a:pt x="8552841" y="6608474"/>
                </a:lnTo>
                <a:lnTo>
                  <a:pt x="8545321" y="6608474"/>
                </a:lnTo>
                <a:close/>
                <a:moveTo>
                  <a:pt x="8440532" y="6576165"/>
                </a:moveTo>
                <a:lnTo>
                  <a:pt x="8450870" y="6576165"/>
                </a:lnTo>
                <a:cubicBezTo>
                  <a:pt x="8474172" y="6576165"/>
                  <a:pt x="8486566" y="6587825"/>
                  <a:pt x="8486566" y="6607214"/>
                </a:cubicBezTo>
                <a:cubicBezTo>
                  <a:pt x="8486566" y="6627187"/>
                  <a:pt x="8476095" y="6640295"/>
                  <a:pt x="8452487" y="6640295"/>
                </a:cubicBezTo>
                <a:lnTo>
                  <a:pt x="8440532" y="6640295"/>
                </a:lnTo>
                <a:close/>
                <a:moveTo>
                  <a:pt x="8359313" y="6554745"/>
                </a:moveTo>
                <a:lnTo>
                  <a:pt x="8357847" y="6557848"/>
                </a:lnTo>
                <a:lnTo>
                  <a:pt x="8338066" y="6599654"/>
                </a:lnTo>
                <a:lnTo>
                  <a:pt x="8338066" y="6661565"/>
                </a:lnTo>
                <a:lnTo>
                  <a:pt x="8406529" y="6661565"/>
                </a:lnTo>
                <a:lnTo>
                  <a:pt x="8406529" y="6638978"/>
                </a:lnTo>
                <a:lnTo>
                  <a:pt x="8363159" y="6638978"/>
                </a:lnTo>
                <a:lnTo>
                  <a:pt x="8363159" y="6618141"/>
                </a:lnTo>
                <a:lnTo>
                  <a:pt x="8402683" y="6618141"/>
                </a:lnTo>
                <a:lnTo>
                  <a:pt x="8402683" y="6596570"/>
                </a:lnTo>
                <a:lnTo>
                  <a:pt x="8363159" y="6596570"/>
                </a:lnTo>
                <a:lnTo>
                  <a:pt x="8363159" y="6577482"/>
                </a:lnTo>
                <a:lnTo>
                  <a:pt x="8406529" y="6577482"/>
                </a:lnTo>
                <a:lnTo>
                  <a:pt x="8406529" y="6554745"/>
                </a:lnTo>
                <a:close/>
                <a:moveTo>
                  <a:pt x="8245576" y="6554726"/>
                </a:moveTo>
                <a:lnTo>
                  <a:pt x="8262083" y="6589123"/>
                </a:lnTo>
                <a:lnTo>
                  <a:pt x="8288527" y="6589123"/>
                </a:lnTo>
                <a:lnTo>
                  <a:pt x="8273963" y="6554726"/>
                </a:lnTo>
                <a:close/>
                <a:moveTo>
                  <a:pt x="8520246" y="6554707"/>
                </a:moveTo>
                <a:lnTo>
                  <a:pt x="8520246" y="6661564"/>
                </a:lnTo>
                <a:lnTo>
                  <a:pt x="8545321" y="6661564"/>
                </a:lnTo>
                <a:lnTo>
                  <a:pt x="8545321" y="6629932"/>
                </a:lnTo>
                <a:lnTo>
                  <a:pt x="8554631" y="6629932"/>
                </a:lnTo>
                <a:cubicBezTo>
                  <a:pt x="8583189" y="6629932"/>
                  <a:pt x="8598420" y="6614041"/>
                  <a:pt x="8598420" y="6592019"/>
                </a:cubicBezTo>
                <a:cubicBezTo>
                  <a:pt x="8598439" y="6570486"/>
                  <a:pt x="8581628" y="6554707"/>
                  <a:pt x="8550347" y="6554707"/>
                </a:cubicBezTo>
                <a:close/>
                <a:moveTo>
                  <a:pt x="8415496" y="6554707"/>
                </a:moveTo>
                <a:lnTo>
                  <a:pt x="8415496" y="6661470"/>
                </a:lnTo>
                <a:cubicBezTo>
                  <a:pt x="8415496" y="6661470"/>
                  <a:pt x="8435867" y="6661583"/>
                  <a:pt x="8448547" y="6661583"/>
                </a:cubicBezTo>
                <a:cubicBezTo>
                  <a:pt x="8493382" y="6661583"/>
                  <a:pt x="8513278" y="6638696"/>
                  <a:pt x="8513278" y="6607214"/>
                </a:cubicBezTo>
                <a:cubicBezTo>
                  <a:pt x="8513278" y="6577124"/>
                  <a:pt x="8492335" y="6554745"/>
                  <a:pt x="8447462" y="6554745"/>
                </a:cubicBezTo>
                <a:lnTo>
                  <a:pt x="8447500" y="6554707"/>
                </a:lnTo>
                <a:cubicBezTo>
                  <a:pt x="8436743" y="6554707"/>
                  <a:pt x="8415496" y="6554707"/>
                  <a:pt x="8415496" y="6554707"/>
                </a:cubicBezTo>
                <a:close/>
                <a:moveTo>
                  <a:pt x="8323901" y="6554707"/>
                </a:moveTo>
                <a:lnTo>
                  <a:pt x="8298694" y="6612649"/>
                </a:lnTo>
                <a:lnTo>
                  <a:pt x="8291859" y="6596645"/>
                </a:lnTo>
                <a:lnTo>
                  <a:pt x="8265624" y="6596645"/>
                </a:lnTo>
                <a:lnTo>
                  <a:pt x="8296943" y="6661978"/>
                </a:lnTo>
                <a:lnTo>
                  <a:pt x="8299856" y="6661978"/>
                </a:lnTo>
                <a:lnTo>
                  <a:pt x="8350594" y="6554707"/>
                </a:lnTo>
                <a:close/>
                <a:moveTo>
                  <a:pt x="8704282" y="6516148"/>
                </a:moveTo>
                <a:lnTo>
                  <a:pt x="8704282" y="6690773"/>
                </a:lnTo>
                <a:lnTo>
                  <a:pt x="8723671" y="6690773"/>
                </a:lnTo>
                <a:lnTo>
                  <a:pt x="8723671" y="6516148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8F3FD"/>
          </a:solidFill>
        </p:spPr>
        <p:txBody>
          <a:bodyPr wrap="square" anchor="ctr">
            <a:noAutofit/>
          </a:bodyPr>
          <a:lstStyle>
            <a:lvl1pPr algn="ctr"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icon to add a pre-designed graphic</a:t>
            </a:r>
            <a:br>
              <a:rPr lang="en-US"/>
            </a:br>
            <a:r>
              <a:rPr lang="en-US"/>
              <a:t>(e.g. ranking, quote, or map)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D5405C3-B529-8445-891B-5DC49F4AC2A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Slide TITLE. ALL CAPS. TWO LINES max.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7689135C-1344-F94E-8F1C-BE454F6FBFBE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800" y="4650581"/>
            <a:ext cx="7440613" cy="379131"/>
          </a:xfrm>
        </p:spPr>
        <p:txBody>
          <a:bodyPr bIns="0" anchor="b"/>
          <a:lstStyle>
            <a:lvl1pPr marL="4763" indent="-1191">
              <a:spcBef>
                <a:spcPts val="56"/>
              </a:spcBef>
              <a:spcAft>
                <a:spcPts val="56"/>
              </a:spcAft>
              <a:buSzPct val="100000"/>
              <a:buFontTx/>
              <a:buNone/>
              <a:tabLst/>
              <a:defRPr sz="825" b="0">
                <a:solidFill>
                  <a:schemeClr val="tx1"/>
                </a:solidFill>
              </a:defRPr>
            </a:lvl1pPr>
            <a:lvl2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¹"/>
              <a:tabLst/>
              <a:defRPr sz="825" b="0" i="0">
                <a:solidFill>
                  <a:schemeClr val="tx1"/>
                </a:solidFill>
              </a:defRPr>
            </a:lvl2pPr>
            <a:lvl3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²"/>
              <a:tabLst/>
              <a:defRPr sz="825">
                <a:solidFill>
                  <a:schemeClr val="tx1"/>
                </a:solidFill>
              </a:defRPr>
            </a:lvl3pPr>
            <a:lvl4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³"/>
              <a:tabLst/>
              <a:defRPr sz="825">
                <a:solidFill>
                  <a:schemeClr val="tx1"/>
                </a:solidFill>
              </a:defRPr>
            </a:lvl4pPr>
            <a:lvl5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⁴"/>
              <a:tabLst/>
              <a:defRPr sz="825">
                <a:solidFill>
                  <a:schemeClr val="tx1"/>
                </a:solidFill>
              </a:defRPr>
            </a:lvl5pPr>
            <a:lvl6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⁵"/>
              <a:tabLst/>
              <a:defRPr sz="825">
                <a:solidFill>
                  <a:schemeClr val="tx1"/>
                </a:solidFill>
              </a:defRPr>
            </a:lvl6pPr>
            <a:lvl7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⁶"/>
              <a:tabLst/>
              <a:defRPr sz="825">
                <a:solidFill>
                  <a:schemeClr val="tx1"/>
                </a:solidFill>
              </a:defRPr>
            </a:lvl7pPr>
            <a:lvl8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⁷"/>
              <a:tabLst/>
              <a:defRPr sz="825">
                <a:solidFill>
                  <a:schemeClr val="tx1"/>
                </a:solidFill>
              </a:defRPr>
            </a:lvl8pPr>
            <a:lvl9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⁸"/>
              <a:tabLst/>
              <a:defRPr sz="825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/>
              <a:t>Footnotes – Levels 2-9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0B0DF10-D944-7E44-8C33-475A3A1A8A9D}"/>
              </a:ext>
            </a:extLst>
          </p:cNvPr>
          <p:cNvSpPr>
            <a:spLocks noGrp="1"/>
          </p:cNvSpPr>
          <p:nvPr>
            <p:ph type="dt" sz="half" idx="10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C4CCAAA-DF95-7842-8BC9-3F8AB6B46ED7}"/>
              </a:ext>
            </a:extLst>
          </p:cNvPr>
          <p:cNvSpPr>
            <a:spLocks noGrp="1"/>
          </p:cNvSpPr>
          <p:nvPr>
            <p:ph type="ftr" sz="quarter" idx="10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7E60850-6391-3041-B4D0-C92867F3DEB4}"/>
              </a:ext>
            </a:extLst>
          </p:cNvPr>
          <p:cNvSpPr>
            <a:spLocks noGrp="1"/>
          </p:cNvSpPr>
          <p:nvPr>
            <p:ph type="sldNum" sz="quarter" idx="103"/>
          </p:nvPr>
        </p:nvSpPr>
        <p:spPr>
          <a:noFill/>
        </p:spPr>
        <p:txBody>
          <a:bodyPr/>
          <a:lstStyle/>
          <a:p>
            <a:pPr marL="9525"/>
            <a:fld id="{078C017C-E1B9-8443-B047-B08AAA027B45}" type="slidenum">
              <a:rPr lang="en-US" smtClean="0"/>
              <a:pPr marL="9525"/>
              <a:t>‹#›</a:t>
            </a:fld>
            <a:endParaRPr lang="en-US"/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67D02F64-F08E-0F4E-B529-5BC62DBE3DF1}"/>
              </a:ext>
            </a:extLst>
          </p:cNvPr>
          <p:cNvGrpSpPr/>
          <p:nvPr userDrawn="1"/>
        </p:nvGrpSpPr>
        <p:grpSpPr>
          <a:xfrm>
            <a:off x="9399182" y="-1"/>
            <a:ext cx="2874210" cy="5143501"/>
            <a:chOff x="9144000" y="-1"/>
            <a:chExt cx="2874210" cy="6858001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B502E77A-94C0-9946-8D2F-BE9E8B1B62E9}"/>
                </a:ext>
              </a:extLst>
            </p:cNvPr>
            <p:cNvSpPr/>
            <p:nvPr userDrawn="1"/>
          </p:nvSpPr>
          <p:spPr>
            <a:xfrm>
              <a:off x="9144000" y="-1"/>
              <a:ext cx="2798651" cy="6858001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050"/>
            </a:p>
          </p:txBody>
        </p: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527EA42E-6AC0-B547-9370-A426FC3DA920}"/>
                </a:ext>
              </a:extLst>
            </p:cNvPr>
            <p:cNvGrpSpPr/>
            <p:nvPr userDrawn="1"/>
          </p:nvGrpSpPr>
          <p:grpSpPr>
            <a:xfrm>
              <a:off x="9263395" y="150289"/>
              <a:ext cx="2754815" cy="6013825"/>
              <a:chOff x="9266651" y="185338"/>
              <a:chExt cx="2754815" cy="6013825"/>
            </a:xfrm>
          </p:grpSpPr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318F7B6C-E16E-7A45-B2AD-D99A7D30D7AC}"/>
                  </a:ext>
                </a:extLst>
              </p:cNvPr>
              <p:cNvSpPr txBox="1"/>
              <p:nvPr userDrawn="1"/>
            </p:nvSpPr>
            <p:spPr>
              <a:xfrm>
                <a:off x="9303325" y="185338"/>
                <a:ext cx="1231106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sz="825">
                    <a:solidFill>
                      <a:schemeClr val="bg1"/>
                    </a:solidFill>
                  </a:rPr>
                  <a:t>HOW TO ADD AN IMAGE</a:t>
                </a:r>
              </a:p>
            </p:txBody>
          </p:sp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AA79330A-89D2-B64E-BB5A-38736825036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303325" y="38795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9688A793-3D82-5747-92B2-2E732EDCE5AE}"/>
                  </a:ext>
                </a:extLst>
              </p:cNvPr>
              <p:cNvSpPr txBox="1"/>
              <p:nvPr userDrawn="1"/>
            </p:nvSpPr>
            <p:spPr>
              <a:xfrm>
                <a:off x="9431244" y="1246265"/>
                <a:ext cx="2297338" cy="28913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 b="1"/>
                  <a:t>Method 1: </a:t>
                </a:r>
                <a:r>
                  <a:rPr lang="en-US" sz="450" b="0"/>
                  <a:t>from file browser</a:t>
                </a:r>
              </a:p>
              <a:p>
                <a:pPr lvl="1">
                  <a:buNone/>
                </a:pPr>
                <a:r>
                  <a:rPr lang="en-US" sz="788"/>
                  <a:t>Drag the image onto the slide.</a:t>
                </a:r>
              </a:p>
            </p:txBody>
          </p:sp>
          <p:grpSp>
            <p:nvGrpSpPr>
              <p:cNvPr id="56" name="Group 55">
                <a:extLst>
                  <a:ext uri="{FF2B5EF4-FFF2-40B4-BE49-F238E27FC236}">
                    <a16:creationId xmlns:a16="http://schemas.microsoft.com/office/drawing/2014/main" id="{B6DBEC5E-BD0E-9241-A3E4-2F56C03C1A05}"/>
                  </a:ext>
                </a:extLst>
              </p:cNvPr>
              <p:cNvGrpSpPr/>
              <p:nvPr userDrawn="1"/>
            </p:nvGrpSpPr>
            <p:grpSpPr>
              <a:xfrm>
                <a:off x="9286315" y="4787848"/>
                <a:ext cx="2735151" cy="1411315"/>
                <a:chOff x="9296567" y="4910411"/>
                <a:chExt cx="2735151" cy="1411315"/>
              </a:xfrm>
            </p:grpSpPr>
            <p:sp>
              <p:nvSpPr>
                <p:cNvPr id="71" name="Rectangle 70">
                  <a:extLst>
                    <a:ext uri="{FF2B5EF4-FFF2-40B4-BE49-F238E27FC236}">
                      <a16:creationId xmlns:a16="http://schemas.microsoft.com/office/drawing/2014/main" id="{FFA48DED-F3DA-EC47-97E5-E6739BF46422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141131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  <p:sp>
              <p:nvSpPr>
                <p:cNvPr id="72" name="TextBox 71">
                  <a:extLst>
                    <a:ext uri="{FF2B5EF4-FFF2-40B4-BE49-F238E27FC236}">
                      <a16:creationId xmlns:a16="http://schemas.microsoft.com/office/drawing/2014/main" id="{82CFB4CC-B76D-A94D-AB78-1A7F4E4CE9E0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8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hange Image</a:t>
                  </a:r>
                </a:p>
              </p:txBody>
            </p:sp>
            <p:pic>
              <p:nvPicPr>
                <p:cNvPr id="73" name="Graphic 72">
                  <a:extLst>
                    <a:ext uri="{FF2B5EF4-FFF2-40B4-BE49-F238E27FC236}">
                      <a16:creationId xmlns:a16="http://schemas.microsoft.com/office/drawing/2014/main" id="{786BEA28-9B2D-2C46-85BC-0D2CF1D6365E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74" name="TextBox 73">
                  <a:extLst>
                    <a:ext uri="{FF2B5EF4-FFF2-40B4-BE49-F238E27FC236}">
                      <a16:creationId xmlns:a16="http://schemas.microsoft.com/office/drawing/2014/main" id="{71831B6F-88D4-2D4F-9998-C1B41572775E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619194"/>
                  <a:ext cx="2422981" cy="37394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01204" lvl="1" indent="-98822" algn="l" defTabSz="6858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225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Deleting the image may bring the image placeholder to the top layer. Right-click on the placeholder and choose “Send to Back”.</a:t>
                  </a:r>
                </a:p>
              </p:txBody>
            </p:sp>
            <p:sp>
              <p:nvSpPr>
                <p:cNvPr id="75" name="TextBox 74">
                  <a:extLst>
                    <a:ext uri="{FF2B5EF4-FFF2-40B4-BE49-F238E27FC236}">
                      <a16:creationId xmlns:a16="http://schemas.microsoft.com/office/drawing/2014/main" id="{EFBA3B08-C039-6D48-BC25-182C2C66DF32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300350"/>
                  <a:ext cx="2422981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685800" rtl="0" eaLnBrk="1" latinLnBrk="0" hangingPunct="1">
                    <a:spcBef>
                      <a:spcPts val="150"/>
                    </a:spcBef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First, delete the existing image to reset the photo placeholder functionality.</a:t>
                  </a:r>
                </a:p>
              </p:txBody>
            </p:sp>
            <p:sp>
              <p:nvSpPr>
                <p:cNvPr id="76" name="TextBox 75">
                  <a:extLst>
                    <a:ext uri="{FF2B5EF4-FFF2-40B4-BE49-F238E27FC236}">
                      <a16:creationId xmlns:a16="http://schemas.microsoft.com/office/drawing/2014/main" id="{5FCB126F-01A3-9A47-AD52-F8C4B63FEC23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068871"/>
                  <a:ext cx="2422981" cy="138500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685800" rtl="0" eaLnBrk="1" latinLnBrk="0" hangingPunct="1">
                    <a:spcBef>
                      <a:spcPts val="150"/>
                    </a:spcBef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You can now add a new image as normal.</a:t>
                  </a:r>
                </a:p>
              </p:txBody>
            </p:sp>
          </p:grpSp>
          <p:grpSp>
            <p:nvGrpSpPr>
              <p:cNvPr id="57" name="Group 56">
                <a:extLst>
                  <a:ext uri="{FF2B5EF4-FFF2-40B4-BE49-F238E27FC236}">
                    <a16:creationId xmlns:a16="http://schemas.microsoft.com/office/drawing/2014/main" id="{6136081A-ADDF-5648-821B-4397ABC813A2}"/>
                  </a:ext>
                </a:extLst>
              </p:cNvPr>
              <p:cNvGrpSpPr/>
              <p:nvPr userDrawn="1"/>
            </p:nvGrpSpPr>
            <p:grpSpPr>
              <a:xfrm>
                <a:off x="9286315" y="3431192"/>
                <a:ext cx="2735151" cy="1280928"/>
                <a:chOff x="9286315" y="6976989"/>
                <a:chExt cx="2735151" cy="1280928"/>
              </a:xfrm>
            </p:grpSpPr>
            <p:sp>
              <p:nvSpPr>
                <p:cNvPr id="66" name="Rectangle 65">
                  <a:extLst>
                    <a:ext uri="{FF2B5EF4-FFF2-40B4-BE49-F238E27FC236}">
                      <a16:creationId xmlns:a16="http://schemas.microsoft.com/office/drawing/2014/main" id="{A1A968B8-5BC5-284F-898B-B6637A41DEF5}"/>
                    </a:ext>
                  </a:extLst>
                </p:cNvPr>
                <p:cNvSpPr/>
                <p:nvPr userDrawn="1"/>
              </p:nvSpPr>
              <p:spPr>
                <a:xfrm>
                  <a:off x="9286315" y="6976989"/>
                  <a:ext cx="2735151" cy="1280928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  <p:sp>
              <p:nvSpPr>
                <p:cNvPr id="67" name="TextBox 66">
                  <a:extLst>
                    <a:ext uri="{FF2B5EF4-FFF2-40B4-BE49-F238E27FC236}">
                      <a16:creationId xmlns:a16="http://schemas.microsoft.com/office/drawing/2014/main" id="{51A95283-5490-1742-84A3-68783BE54308}"/>
                    </a:ext>
                  </a:extLst>
                </p:cNvPr>
                <p:cNvSpPr txBox="1"/>
                <p:nvPr userDrawn="1"/>
              </p:nvSpPr>
              <p:spPr>
                <a:xfrm>
                  <a:off x="9652506" y="7105788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8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rop Image</a:t>
                  </a:r>
                </a:p>
              </p:txBody>
            </p:sp>
            <p:pic>
              <p:nvPicPr>
                <p:cNvPr id="68" name="Graphic 67">
                  <a:extLst>
                    <a:ext uri="{FF2B5EF4-FFF2-40B4-BE49-F238E27FC236}">
                      <a16:creationId xmlns:a16="http://schemas.microsoft.com/office/drawing/2014/main" id="{986C6630-8E1B-6642-9DBA-0BE12B3DE85F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46538" y="7116071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69" name="TextBox 68">
                  <a:extLst>
                    <a:ext uri="{FF2B5EF4-FFF2-40B4-BE49-F238E27FC236}">
                      <a16:creationId xmlns:a16="http://schemas.microsoft.com/office/drawing/2014/main" id="{F073B232-F982-1B48-B310-DCE7A95E03B2}"/>
                    </a:ext>
                  </a:extLst>
                </p:cNvPr>
                <p:cNvSpPr txBox="1"/>
                <p:nvPr userDrawn="1"/>
              </p:nvSpPr>
              <p:spPr>
                <a:xfrm>
                  <a:off x="9446538" y="7369972"/>
                  <a:ext cx="2384904" cy="777136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Right-click on the image.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Choose “Crop” from the menu. (       )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Adjust the size and position of the image.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Press Esc or click outside the image area to exit the cropping mode.</a:t>
                  </a:r>
                </a:p>
              </p:txBody>
            </p:sp>
            <p:pic>
              <p:nvPicPr>
                <p:cNvPr id="70" name="Picture 69">
                  <a:extLst>
                    <a:ext uri="{FF2B5EF4-FFF2-40B4-BE49-F238E27FC236}">
                      <a16:creationId xmlns:a16="http://schemas.microsoft.com/office/drawing/2014/main" id="{808FFCB2-7DF3-CA48-B29E-9FEAAB8F2B7D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 rotWithShape="1">
                <a:blip r:embed="rId3"/>
                <a:srcRect l="33684" t="12097" r="43371" b="20368"/>
                <a:stretch/>
              </p:blipFill>
              <p:spPr>
                <a:xfrm>
                  <a:off x="11243541" y="7454405"/>
                  <a:ext cx="136897" cy="213643"/>
                </a:xfrm>
                <a:prstGeom prst="rect">
                  <a:avLst/>
                </a:prstGeom>
                <a:ln w="19050">
                  <a:solidFill>
                    <a:schemeClr val="accent3">
                      <a:lumMod val="60000"/>
                      <a:lumOff val="40000"/>
                    </a:schemeClr>
                  </a:solidFill>
                </a:ln>
              </p:spPr>
            </p:pic>
          </p:grpSp>
          <p:grpSp>
            <p:nvGrpSpPr>
              <p:cNvPr id="58" name="Group 57">
                <a:extLst>
                  <a:ext uri="{FF2B5EF4-FFF2-40B4-BE49-F238E27FC236}">
                    <a16:creationId xmlns:a16="http://schemas.microsoft.com/office/drawing/2014/main" id="{07236D2B-D298-EB49-8ABB-E7D7376416F2}"/>
                  </a:ext>
                </a:extLst>
              </p:cNvPr>
              <p:cNvGrpSpPr/>
              <p:nvPr userDrawn="1"/>
            </p:nvGrpSpPr>
            <p:grpSpPr>
              <a:xfrm>
                <a:off x="9266651" y="510458"/>
                <a:ext cx="2617883" cy="707288"/>
                <a:chOff x="12352022" y="513115"/>
                <a:chExt cx="2617883" cy="707288"/>
              </a:xfrm>
            </p:grpSpPr>
            <p:sp>
              <p:nvSpPr>
                <p:cNvPr id="63" name="TextBox 62">
                  <a:extLst>
                    <a:ext uri="{FF2B5EF4-FFF2-40B4-BE49-F238E27FC236}">
                      <a16:creationId xmlns:a16="http://schemas.microsoft.com/office/drawing/2014/main" id="{A2A47C15-08E4-7049-935A-EDE4F9DCF822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375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64" name="TextBox 63">
                  <a:extLst>
                    <a:ext uri="{FF2B5EF4-FFF2-40B4-BE49-F238E27FC236}">
                      <a16:creationId xmlns:a16="http://schemas.microsoft.com/office/drawing/2014/main" id="{FC6539D2-0500-124D-81F7-76B67EA90792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1033696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375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2</a:t>
                  </a:r>
                </a:p>
              </p:txBody>
            </p:sp>
            <p:sp>
              <p:nvSpPr>
                <p:cNvPr id="65" name="TextBox 64">
                  <a:extLst>
                    <a:ext uri="{FF2B5EF4-FFF2-40B4-BE49-F238E27FC236}">
                      <a16:creationId xmlns:a16="http://schemas.microsoft.com/office/drawing/2014/main" id="{F1F80A10-B10E-A846-8794-521C2A75678D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453290" cy="70728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sz="788"/>
                    <a:t>Select and download images from the Marketing Resource Database.</a:t>
                  </a:r>
                </a:p>
                <a:p>
                  <a:pPr lvl="0"/>
                  <a:r>
                    <a:rPr lang="en-US" sz="788"/>
                    <a:t>Add the image to the placeholder.</a:t>
                  </a:r>
                </a:p>
              </p:txBody>
            </p:sp>
          </p:grpSp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170F57E5-FA5E-C04D-ABAC-987519A35248}"/>
                  </a:ext>
                </a:extLst>
              </p:cNvPr>
              <p:cNvSpPr txBox="1"/>
              <p:nvPr userDrawn="1"/>
            </p:nvSpPr>
            <p:spPr>
              <a:xfrm>
                <a:off x="9419085" y="1529570"/>
                <a:ext cx="2374733" cy="32316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/>
                  <a:t>Note: If there are multiple image placeholders on the slide, select the intended placeholder before dragging in the image to let PowerPoint know where you want it.</a:t>
                </a:r>
              </a:p>
            </p:txBody>
          </p:sp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54C63403-02A3-EB42-BBF7-B19D923AF7CB}"/>
                  </a:ext>
                </a:extLst>
              </p:cNvPr>
              <p:cNvSpPr txBox="1"/>
              <p:nvPr userDrawn="1"/>
            </p:nvSpPr>
            <p:spPr>
              <a:xfrm>
                <a:off x="9431244" y="1944827"/>
                <a:ext cx="2297338" cy="63145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/>
                  <a:t>Method 2: </a:t>
                </a:r>
                <a:r>
                  <a:rPr lang="en-US" sz="450" b="0"/>
                  <a:t>Paste from clipboard</a:t>
                </a:r>
              </a:p>
              <a:p>
                <a:pPr lvl="1">
                  <a:buNone/>
                </a:pPr>
                <a:r>
                  <a:rPr lang="en-US" sz="788"/>
                  <a:t>Select the image placeholder.</a:t>
                </a:r>
              </a:p>
              <a:p>
                <a:pPr lvl="1">
                  <a:buNone/>
                </a:pPr>
                <a:r>
                  <a:rPr lang="en-US" sz="788"/>
                  <a:t>Right-click or use keyboard shortcuts to paste the image.</a:t>
                </a:r>
              </a:p>
            </p:txBody>
          </p: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73B0C4AD-7511-3A44-A092-8D4C4CCE19ED}"/>
                  </a:ext>
                </a:extLst>
              </p:cNvPr>
              <p:cNvSpPr txBox="1"/>
              <p:nvPr userDrawn="1"/>
            </p:nvSpPr>
            <p:spPr>
              <a:xfrm>
                <a:off x="9431244" y="2664917"/>
                <a:ext cx="2297338" cy="4346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/>
                  <a:t>Method 3: </a:t>
                </a:r>
                <a:r>
                  <a:rPr lang="en-US" sz="450" b="0"/>
                  <a:t>Placeholder icon</a:t>
                </a:r>
              </a:p>
              <a:p>
                <a:pPr lvl="1">
                  <a:buNone/>
                </a:pPr>
                <a:r>
                  <a:rPr lang="en-US" sz="788"/>
                  <a:t>Click the image icon inside the placeholder to browse for an image.</a:t>
                </a:r>
              </a:p>
            </p:txBody>
          </p:sp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9689DDA7-3FF5-0447-8D1D-746B7CEB0585}"/>
                  </a:ext>
                </a:extLst>
              </p:cNvPr>
              <p:cNvSpPr txBox="1"/>
              <p:nvPr userDrawn="1"/>
            </p:nvSpPr>
            <p:spPr>
              <a:xfrm>
                <a:off x="9419085" y="3095481"/>
                <a:ext cx="2374733" cy="21544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/>
                  <a:t>Note: This icon may be covered by another element.</a:t>
                </a:r>
                <a:br>
                  <a:rPr lang="en-US" sz="525"/>
                </a:br>
                <a:r>
                  <a:rPr lang="en-US" sz="525"/>
                  <a:t>In this case use one of the other methods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9243448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Graphic (Dark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B61EC68-0522-AF4D-8694-0D0881A7666F}"/>
              </a:ext>
            </a:extLst>
          </p:cNvPr>
          <p:cNvSpPr>
            <a:spLocks noGrp="1"/>
          </p:cNvSpPr>
          <p:nvPr userDrawn="1">
            <p:ph type="pic" sz="quarter" idx="10" hasCustomPrompt="1"/>
          </p:nvPr>
        </p:nvSpPr>
        <p:spPr>
          <a:xfrm>
            <a:off x="0" y="0"/>
            <a:ext cx="9144000" cy="5143500"/>
          </a:xfrm>
          <a:custGeom>
            <a:avLst/>
            <a:gdLst>
              <a:gd name="connsiteX0" fmla="*/ 8545321 w 9144000"/>
              <a:gd name="connsiteY0" fmla="*/ 6577275 h 6858000"/>
              <a:gd name="connsiteX1" fmla="*/ 8554631 w 9144000"/>
              <a:gd name="connsiteY1" fmla="*/ 6577275 h 6858000"/>
              <a:gd name="connsiteX2" fmla="*/ 8572756 w 9144000"/>
              <a:gd name="connsiteY2" fmla="*/ 6592564 h 6858000"/>
              <a:gd name="connsiteX3" fmla="*/ 8552841 w 9144000"/>
              <a:gd name="connsiteY3" fmla="*/ 6608587 h 6858000"/>
              <a:gd name="connsiteX4" fmla="*/ 8552841 w 9144000"/>
              <a:gd name="connsiteY4" fmla="*/ 6608474 h 6858000"/>
              <a:gd name="connsiteX5" fmla="*/ 8545321 w 9144000"/>
              <a:gd name="connsiteY5" fmla="*/ 6608474 h 6858000"/>
              <a:gd name="connsiteX6" fmla="*/ 8440532 w 9144000"/>
              <a:gd name="connsiteY6" fmla="*/ 6576165 h 6858000"/>
              <a:gd name="connsiteX7" fmla="*/ 8450870 w 9144000"/>
              <a:gd name="connsiteY7" fmla="*/ 6576165 h 6858000"/>
              <a:gd name="connsiteX8" fmla="*/ 8486566 w 9144000"/>
              <a:gd name="connsiteY8" fmla="*/ 6607214 h 6858000"/>
              <a:gd name="connsiteX9" fmla="*/ 8452487 w 9144000"/>
              <a:gd name="connsiteY9" fmla="*/ 6640295 h 6858000"/>
              <a:gd name="connsiteX10" fmla="*/ 8440532 w 9144000"/>
              <a:gd name="connsiteY10" fmla="*/ 6640295 h 6858000"/>
              <a:gd name="connsiteX11" fmla="*/ 8359313 w 9144000"/>
              <a:gd name="connsiteY11" fmla="*/ 6554745 h 6858000"/>
              <a:gd name="connsiteX12" fmla="*/ 8357847 w 9144000"/>
              <a:gd name="connsiteY12" fmla="*/ 6557848 h 6858000"/>
              <a:gd name="connsiteX13" fmla="*/ 8338066 w 9144000"/>
              <a:gd name="connsiteY13" fmla="*/ 6599654 h 6858000"/>
              <a:gd name="connsiteX14" fmla="*/ 8338066 w 9144000"/>
              <a:gd name="connsiteY14" fmla="*/ 6661565 h 6858000"/>
              <a:gd name="connsiteX15" fmla="*/ 8406529 w 9144000"/>
              <a:gd name="connsiteY15" fmla="*/ 6661565 h 6858000"/>
              <a:gd name="connsiteX16" fmla="*/ 8406529 w 9144000"/>
              <a:gd name="connsiteY16" fmla="*/ 6638978 h 6858000"/>
              <a:gd name="connsiteX17" fmla="*/ 8363159 w 9144000"/>
              <a:gd name="connsiteY17" fmla="*/ 6638978 h 6858000"/>
              <a:gd name="connsiteX18" fmla="*/ 8363159 w 9144000"/>
              <a:gd name="connsiteY18" fmla="*/ 6618141 h 6858000"/>
              <a:gd name="connsiteX19" fmla="*/ 8402683 w 9144000"/>
              <a:gd name="connsiteY19" fmla="*/ 6618141 h 6858000"/>
              <a:gd name="connsiteX20" fmla="*/ 8402683 w 9144000"/>
              <a:gd name="connsiteY20" fmla="*/ 6596570 h 6858000"/>
              <a:gd name="connsiteX21" fmla="*/ 8363159 w 9144000"/>
              <a:gd name="connsiteY21" fmla="*/ 6596570 h 6858000"/>
              <a:gd name="connsiteX22" fmla="*/ 8363159 w 9144000"/>
              <a:gd name="connsiteY22" fmla="*/ 6577482 h 6858000"/>
              <a:gd name="connsiteX23" fmla="*/ 8406529 w 9144000"/>
              <a:gd name="connsiteY23" fmla="*/ 6577482 h 6858000"/>
              <a:gd name="connsiteX24" fmla="*/ 8406529 w 9144000"/>
              <a:gd name="connsiteY24" fmla="*/ 6554745 h 6858000"/>
              <a:gd name="connsiteX25" fmla="*/ 8245576 w 9144000"/>
              <a:gd name="connsiteY25" fmla="*/ 6554726 h 6858000"/>
              <a:gd name="connsiteX26" fmla="*/ 8262083 w 9144000"/>
              <a:gd name="connsiteY26" fmla="*/ 6589123 h 6858000"/>
              <a:gd name="connsiteX27" fmla="*/ 8288527 w 9144000"/>
              <a:gd name="connsiteY27" fmla="*/ 6589123 h 6858000"/>
              <a:gd name="connsiteX28" fmla="*/ 8273963 w 9144000"/>
              <a:gd name="connsiteY28" fmla="*/ 6554726 h 6858000"/>
              <a:gd name="connsiteX29" fmla="*/ 8520246 w 9144000"/>
              <a:gd name="connsiteY29" fmla="*/ 6554707 h 6858000"/>
              <a:gd name="connsiteX30" fmla="*/ 8520246 w 9144000"/>
              <a:gd name="connsiteY30" fmla="*/ 6661564 h 6858000"/>
              <a:gd name="connsiteX31" fmla="*/ 8545321 w 9144000"/>
              <a:gd name="connsiteY31" fmla="*/ 6661564 h 6858000"/>
              <a:gd name="connsiteX32" fmla="*/ 8545321 w 9144000"/>
              <a:gd name="connsiteY32" fmla="*/ 6629932 h 6858000"/>
              <a:gd name="connsiteX33" fmla="*/ 8554631 w 9144000"/>
              <a:gd name="connsiteY33" fmla="*/ 6629932 h 6858000"/>
              <a:gd name="connsiteX34" fmla="*/ 8598420 w 9144000"/>
              <a:gd name="connsiteY34" fmla="*/ 6592019 h 6858000"/>
              <a:gd name="connsiteX35" fmla="*/ 8550347 w 9144000"/>
              <a:gd name="connsiteY35" fmla="*/ 6554707 h 6858000"/>
              <a:gd name="connsiteX36" fmla="*/ 8415496 w 9144000"/>
              <a:gd name="connsiteY36" fmla="*/ 6554707 h 6858000"/>
              <a:gd name="connsiteX37" fmla="*/ 8415496 w 9144000"/>
              <a:gd name="connsiteY37" fmla="*/ 6661470 h 6858000"/>
              <a:gd name="connsiteX38" fmla="*/ 8448547 w 9144000"/>
              <a:gd name="connsiteY38" fmla="*/ 6661583 h 6858000"/>
              <a:gd name="connsiteX39" fmla="*/ 8513278 w 9144000"/>
              <a:gd name="connsiteY39" fmla="*/ 6607214 h 6858000"/>
              <a:gd name="connsiteX40" fmla="*/ 8447462 w 9144000"/>
              <a:gd name="connsiteY40" fmla="*/ 6554745 h 6858000"/>
              <a:gd name="connsiteX41" fmla="*/ 8447500 w 9144000"/>
              <a:gd name="connsiteY41" fmla="*/ 6554707 h 6858000"/>
              <a:gd name="connsiteX42" fmla="*/ 8415496 w 9144000"/>
              <a:gd name="connsiteY42" fmla="*/ 6554707 h 6858000"/>
              <a:gd name="connsiteX43" fmla="*/ 8323901 w 9144000"/>
              <a:gd name="connsiteY43" fmla="*/ 6554707 h 6858000"/>
              <a:gd name="connsiteX44" fmla="*/ 8298694 w 9144000"/>
              <a:gd name="connsiteY44" fmla="*/ 6612649 h 6858000"/>
              <a:gd name="connsiteX45" fmla="*/ 8291859 w 9144000"/>
              <a:gd name="connsiteY45" fmla="*/ 6596645 h 6858000"/>
              <a:gd name="connsiteX46" fmla="*/ 8265624 w 9144000"/>
              <a:gd name="connsiteY46" fmla="*/ 6596645 h 6858000"/>
              <a:gd name="connsiteX47" fmla="*/ 8296943 w 9144000"/>
              <a:gd name="connsiteY47" fmla="*/ 6661978 h 6858000"/>
              <a:gd name="connsiteX48" fmla="*/ 8299856 w 9144000"/>
              <a:gd name="connsiteY48" fmla="*/ 6661978 h 6858000"/>
              <a:gd name="connsiteX49" fmla="*/ 8350594 w 9144000"/>
              <a:gd name="connsiteY49" fmla="*/ 6554707 h 6858000"/>
              <a:gd name="connsiteX50" fmla="*/ 8704282 w 9144000"/>
              <a:gd name="connsiteY50" fmla="*/ 6516148 h 6858000"/>
              <a:gd name="connsiteX51" fmla="*/ 8704282 w 9144000"/>
              <a:gd name="connsiteY51" fmla="*/ 6690773 h 6858000"/>
              <a:gd name="connsiteX52" fmla="*/ 8723671 w 9144000"/>
              <a:gd name="connsiteY52" fmla="*/ 6690773 h 6858000"/>
              <a:gd name="connsiteX53" fmla="*/ 8723671 w 9144000"/>
              <a:gd name="connsiteY53" fmla="*/ 6516148 h 6858000"/>
              <a:gd name="connsiteX54" fmla="*/ 0 w 9144000"/>
              <a:gd name="connsiteY54" fmla="*/ 0 h 6858000"/>
              <a:gd name="connsiteX55" fmla="*/ 9144000 w 9144000"/>
              <a:gd name="connsiteY55" fmla="*/ 0 h 6858000"/>
              <a:gd name="connsiteX56" fmla="*/ 9144000 w 9144000"/>
              <a:gd name="connsiteY56" fmla="*/ 6858000 h 6858000"/>
              <a:gd name="connsiteX57" fmla="*/ 0 w 9144000"/>
              <a:gd name="connsiteY5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9144000" h="6858000">
                <a:moveTo>
                  <a:pt x="8545321" y="6577275"/>
                </a:moveTo>
                <a:lnTo>
                  <a:pt x="8554631" y="6577275"/>
                </a:lnTo>
                <a:cubicBezTo>
                  <a:pt x="8567006" y="6577275"/>
                  <a:pt x="8572756" y="6583970"/>
                  <a:pt x="8572756" y="6592564"/>
                </a:cubicBezTo>
                <a:cubicBezTo>
                  <a:pt x="8572756" y="6602908"/>
                  <a:pt x="8566130" y="6608587"/>
                  <a:pt x="8552841" y="6608587"/>
                </a:cubicBezTo>
                <a:lnTo>
                  <a:pt x="8552841" y="6608474"/>
                </a:lnTo>
                <a:lnTo>
                  <a:pt x="8545321" y="6608474"/>
                </a:lnTo>
                <a:close/>
                <a:moveTo>
                  <a:pt x="8440532" y="6576165"/>
                </a:moveTo>
                <a:lnTo>
                  <a:pt x="8450870" y="6576165"/>
                </a:lnTo>
                <a:cubicBezTo>
                  <a:pt x="8474172" y="6576165"/>
                  <a:pt x="8486566" y="6587825"/>
                  <a:pt x="8486566" y="6607214"/>
                </a:cubicBezTo>
                <a:cubicBezTo>
                  <a:pt x="8486566" y="6627187"/>
                  <a:pt x="8476095" y="6640295"/>
                  <a:pt x="8452487" y="6640295"/>
                </a:cubicBezTo>
                <a:lnTo>
                  <a:pt x="8440532" y="6640295"/>
                </a:lnTo>
                <a:close/>
                <a:moveTo>
                  <a:pt x="8359313" y="6554745"/>
                </a:moveTo>
                <a:lnTo>
                  <a:pt x="8357847" y="6557848"/>
                </a:lnTo>
                <a:lnTo>
                  <a:pt x="8338066" y="6599654"/>
                </a:lnTo>
                <a:lnTo>
                  <a:pt x="8338066" y="6661565"/>
                </a:lnTo>
                <a:lnTo>
                  <a:pt x="8406529" y="6661565"/>
                </a:lnTo>
                <a:lnTo>
                  <a:pt x="8406529" y="6638978"/>
                </a:lnTo>
                <a:lnTo>
                  <a:pt x="8363159" y="6638978"/>
                </a:lnTo>
                <a:lnTo>
                  <a:pt x="8363159" y="6618141"/>
                </a:lnTo>
                <a:lnTo>
                  <a:pt x="8402683" y="6618141"/>
                </a:lnTo>
                <a:lnTo>
                  <a:pt x="8402683" y="6596570"/>
                </a:lnTo>
                <a:lnTo>
                  <a:pt x="8363159" y="6596570"/>
                </a:lnTo>
                <a:lnTo>
                  <a:pt x="8363159" y="6577482"/>
                </a:lnTo>
                <a:lnTo>
                  <a:pt x="8406529" y="6577482"/>
                </a:lnTo>
                <a:lnTo>
                  <a:pt x="8406529" y="6554745"/>
                </a:lnTo>
                <a:close/>
                <a:moveTo>
                  <a:pt x="8245576" y="6554726"/>
                </a:moveTo>
                <a:lnTo>
                  <a:pt x="8262083" y="6589123"/>
                </a:lnTo>
                <a:lnTo>
                  <a:pt x="8288527" y="6589123"/>
                </a:lnTo>
                <a:lnTo>
                  <a:pt x="8273963" y="6554726"/>
                </a:lnTo>
                <a:close/>
                <a:moveTo>
                  <a:pt x="8520246" y="6554707"/>
                </a:moveTo>
                <a:lnTo>
                  <a:pt x="8520246" y="6661564"/>
                </a:lnTo>
                <a:lnTo>
                  <a:pt x="8545321" y="6661564"/>
                </a:lnTo>
                <a:lnTo>
                  <a:pt x="8545321" y="6629932"/>
                </a:lnTo>
                <a:lnTo>
                  <a:pt x="8554631" y="6629932"/>
                </a:lnTo>
                <a:cubicBezTo>
                  <a:pt x="8583189" y="6629932"/>
                  <a:pt x="8598420" y="6614041"/>
                  <a:pt x="8598420" y="6592019"/>
                </a:cubicBezTo>
                <a:cubicBezTo>
                  <a:pt x="8598439" y="6570486"/>
                  <a:pt x="8581628" y="6554707"/>
                  <a:pt x="8550347" y="6554707"/>
                </a:cubicBezTo>
                <a:close/>
                <a:moveTo>
                  <a:pt x="8415496" y="6554707"/>
                </a:moveTo>
                <a:lnTo>
                  <a:pt x="8415496" y="6661470"/>
                </a:lnTo>
                <a:cubicBezTo>
                  <a:pt x="8415496" y="6661470"/>
                  <a:pt x="8435867" y="6661583"/>
                  <a:pt x="8448547" y="6661583"/>
                </a:cubicBezTo>
                <a:cubicBezTo>
                  <a:pt x="8493382" y="6661583"/>
                  <a:pt x="8513278" y="6638696"/>
                  <a:pt x="8513278" y="6607214"/>
                </a:cubicBezTo>
                <a:cubicBezTo>
                  <a:pt x="8513278" y="6577124"/>
                  <a:pt x="8492335" y="6554745"/>
                  <a:pt x="8447462" y="6554745"/>
                </a:cubicBezTo>
                <a:lnTo>
                  <a:pt x="8447500" y="6554707"/>
                </a:lnTo>
                <a:cubicBezTo>
                  <a:pt x="8436743" y="6554707"/>
                  <a:pt x="8415496" y="6554707"/>
                  <a:pt x="8415496" y="6554707"/>
                </a:cubicBezTo>
                <a:close/>
                <a:moveTo>
                  <a:pt x="8323901" y="6554707"/>
                </a:moveTo>
                <a:lnTo>
                  <a:pt x="8298694" y="6612649"/>
                </a:lnTo>
                <a:lnTo>
                  <a:pt x="8291859" y="6596645"/>
                </a:lnTo>
                <a:lnTo>
                  <a:pt x="8265624" y="6596645"/>
                </a:lnTo>
                <a:lnTo>
                  <a:pt x="8296943" y="6661978"/>
                </a:lnTo>
                <a:lnTo>
                  <a:pt x="8299856" y="6661978"/>
                </a:lnTo>
                <a:lnTo>
                  <a:pt x="8350594" y="6554707"/>
                </a:lnTo>
                <a:close/>
                <a:moveTo>
                  <a:pt x="8704282" y="6516148"/>
                </a:moveTo>
                <a:lnTo>
                  <a:pt x="8704282" y="6690773"/>
                </a:lnTo>
                <a:lnTo>
                  <a:pt x="8723671" y="6690773"/>
                </a:lnTo>
                <a:lnTo>
                  <a:pt x="8723671" y="6516148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anchor="ctr">
            <a:noAutofit/>
          </a:bodyPr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a pre-designed graphic</a:t>
            </a:r>
            <a:br>
              <a:rPr lang="en-US"/>
            </a:br>
            <a:r>
              <a:rPr lang="en-US"/>
              <a:t>(e.g. ranking, quote, or map)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D5405C3-B529-8445-891B-5DC49F4AC2A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lide TITLE. ALL CAPS. TWO LINES max.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7689135C-1344-F94E-8F1C-BE454F6FBFBE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800" y="4650581"/>
            <a:ext cx="7440613" cy="379131"/>
          </a:xfrm>
        </p:spPr>
        <p:txBody>
          <a:bodyPr bIns="0" anchor="b"/>
          <a:lstStyle>
            <a:lvl1pPr marL="4763" indent="-1191">
              <a:spcBef>
                <a:spcPts val="56"/>
              </a:spcBef>
              <a:spcAft>
                <a:spcPts val="56"/>
              </a:spcAft>
              <a:buSzPct val="100000"/>
              <a:buFontTx/>
              <a:buNone/>
              <a:tabLst/>
              <a:defRPr sz="825" b="0">
                <a:solidFill>
                  <a:schemeClr val="bg1"/>
                </a:solidFill>
              </a:defRPr>
            </a:lvl1pPr>
            <a:lvl2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¹"/>
              <a:tabLst/>
              <a:defRPr sz="825" b="0" i="0">
                <a:solidFill>
                  <a:schemeClr val="bg1"/>
                </a:solidFill>
              </a:defRPr>
            </a:lvl2pPr>
            <a:lvl3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²"/>
              <a:tabLst/>
              <a:defRPr sz="825">
                <a:solidFill>
                  <a:schemeClr val="bg1"/>
                </a:solidFill>
              </a:defRPr>
            </a:lvl3pPr>
            <a:lvl4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³"/>
              <a:tabLst/>
              <a:defRPr sz="825">
                <a:solidFill>
                  <a:schemeClr val="bg1"/>
                </a:solidFill>
              </a:defRPr>
            </a:lvl4pPr>
            <a:lvl5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⁴"/>
              <a:tabLst/>
              <a:defRPr sz="825">
                <a:solidFill>
                  <a:schemeClr val="bg1"/>
                </a:solidFill>
              </a:defRPr>
            </a:lvl5pPr>
            <a:lvl6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⁵"/>
              <a:tabLst/>
              <a:defRPr sz="825">
                <a:solidFill>
                  <a:schemeClr val="bg1"/>
                </a:solidFill>
              </a:defRPr>
            </a:lvl6pPr>
            <a:lvl7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⁶"/>
              <a:tabLst/>
              <a:defRPr sz="825">
                <a:solidFill>
                  <a:schemeClr val="bg1"/>
                </a:solidFill>
              </a:defRPr>
            </a:lvl7pPr>
            <a:lvl8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⁷"/>
              <a:tabLst/>
              <a:defRPr sz="825">
                <a:solidFill>
                  <a:schemeClr val="bg1"/>
                </a:solidFill>
              </a:defRPr>
            </a:lvl8pPr>
            <a:lvl9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⁸"/>
              <a:tabLst/>
              <a:defRPr sz="825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/>
              <a:t>Footnotes – Levels 2-9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0A60567-C6A8-9745-A7BD-650F05617F55}"/>
              </a:ext>
            </a:extLst>
          </p:cNvPr>
          <p:cNvGrpSpPr/>
          <p:nvPr userDrawn="1"/>
        </p:nvGrpSpPr>
        <p:grpSpPr>
          <a:xfrm>
            <a:off x="9399182" y="-1"/>
            <a:ext cx="2874210" cy="5143501"/>
            <a:chOff x="9144000" y="-1"/>
            <a:chExt cx="2874210" cy="6858001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48C1A1C-69E6-2E4B-B77D-A4ECA59B3F9E}"/>
                </a:ext>
              </a:extLst>
            </p:cNvPr>
            <p:cNvSpPr/>
            <p:nvPr userDrawn="1"/>
          </p:nvSpPr>
          <p:spPr>
            <a:xfrm>
              <a:off x="9144000" y="-1"/>
              <a:ext cx="2798651" cy="6858001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050"/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8B4174A-1940-A14D-BE35-2361AF2DB700}"/>
                </a:ext>
              </a:extLst>
            </p:cNvPr>
            <p:cNvGrpSpPr/>
            <p:nvPr userDrawn="1"/>
          </p:nvGrpSpPr>
          <p:grpSpPr>
            <a:xfrm>
              <a:off x="9263395" y="150289"/>
              <a:ext cx="2754815" cy="6013825"/>
              <a:chOff x="9266651" y="185338"/>
              <a:chExt cx="2754815" cy="6013825"/>
            </a:xfrm>
          </p:grpSpPr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8154AD6F-FF5C-AF46-AF46-3A2F76383F84}"/>
                  </a:ext>
                </a:extLst>
              </p:cNvPr>
              <p:cNvSpPr txBox="1"/>
              <p:nvPr userDrawn="1"/>
            </p:nvSpPr>
            <p:spPr>
              <a:xfrm>
                <a:off x="9303325" y="185338"/>
                <a:ext cx="1231106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sz="825">
                    <a:solidFill>
                      <a:schemeClr val="bg1"/>
                    </a:solidFill>
                  </a:rPr>
                  <a:t>HOW TO ADD AN IMAGE</a:t>
                </a:r>
              </a:p>
            </p:txBody>
          </p: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A473109F-0CBB-3543-B531-C9EE5039E8F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303325" y="38795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84255D80-C41E-D843-BA4B-49C358DE9F33}"/>
                  </a:ext>
                </a:extLst>
              </p:cNvPr>
              <p:cNvSpPr txBox="1"/>
              <p:nvPr userDrawn="1"/>
            </p:nvSpPr>
            <p:spPr>
              <a:xfrm>
                <a:off x="9431244" y="1246265"/>
                <a:ext cx="2297338" cy="28913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 b="1"/>
                  <a:t>Method 1: </a:t>
                </a:r>
                <a:r>
                  <a:rPr lang="en-US" sz="450" b="0"/>
                  <a:t>from file browser</a:t>
                </a:r>
              </a:p>
              <a:p>
                <a:pPr lvl="1">
                  <a:buNone/>
                </a:pPr>
                <a:r>
                  <a:rPr lang="en-US" sz="788"/>
                  <a:t>Drag the image onto the slide.</a:t>
                </a: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E66BE7A5-B95E-5647-BB64-B391E7B70B4C}"/>
                  </a:ext>
                </a:extLst>
              </p:cNvPr>
              <p:cNvGrpSpPr/>
              <p:nvPr userDrawn="1"/>
            </p:nvGrpSpPr>
            <p:grpSpPr>
              <a:xfrm>
                <a:off x="9286315" y="4787848"/>
                <a:ext cx="2735151" cy="1411315"/>
                <a:chOff x="9296567" y="4910411"/>
                <a:chExt cx="2735151" cy="1411315"/>
              </a:xfrm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3E456B4A-35E2-1E46-AF5B-69BC4A031DFD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141131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  <p:sp>
              <p:nvSpPr>
                <p:cNvPr id="46" name="TextBox 45">
                  <a:extLst>
                    <a:ext uri="{FF2B5EF4-FFF2-40B4-BE49-F238E27FC236}">
                      <a16:creationId xmlns:a16="http://schemas.microsoft.com/office/drawing/2014/main" id="{5020C91E-8ECD-9446-9FD6-8317FDCC66B1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8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hange Image</a:t>
                  </a:r>
                </a:p>
              </p:txBody>
            </p:sp>
            <p:pic>
              <p:nvPicPr>
                <p:cNvPr id="47" name="Graphic 46">
                  <a:extLst>
                    <a:ext uri="{FF2B5EF4-FFF2-40B4-BE49-F238E27FC236}">
                      <a16:creationId xmlns:a16="http://schemas.microsoft.com/office/drawing/2014/main" id="{F8B2E612-99F0-C842-8E04-621A4A3B40E2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48" name="TextBox 47">
                  <a:extLst>
                    <a:ext uri="{FF2B5EF4-FFF2-40B4-BE49-F238E27FC236}">
                      <a16:creationId xmlns:a16="http://schemas.microsoft.com/office/drawing/2014/main" id="{FFF1E73D-444F-B546-A7C4-57D3717E9A55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619194"/>
                  <a:ext cx="2422981" cy="37394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01204" lvl="1" indent="-98822" algn="l" defTabSz="6858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225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Deleting the image may bring the image placeholder to the top layer. Right-click on the placeholder and choose “Send to Back”.</a:t>
                  </a:r>
                </a:p>
              </p:txBody>
            </p:sp>
            <p:sp>
              <p:nvSpPr>
                <p:cNvPr id="49" name="TextBox 48">
                  <a:extLst>
                    <a:ext uri="{FF2B5EF4-FFF2-40B4-BE49-F238E27FC236}">
                      <a16:creationId xmlns:a16="http://schemas.microsoft.com/office/drawing/2014/main" id="{EA65B9F0-297D-D74A-AED0-C2DF6E16365B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300350"/>
                  <a:ext cx="2422981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685800" rtl="0" eaLnBrk="1" latinLnBrk="0" hangingPunct="1">
                    <a:spcBef>
                      <a:spcPts val="150"/>
                    </a:spcBef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First, delete the existing image to reset the photo placeholder functionality.</a:t>
                  </a:r>
                </a:p>
              </p:txBody>
            </p:sp>
            <p:sp>
              <p:nvSpPr>
                <p:cNvPr id="50" name="TextBox 49">
                  <a:extLst>
                    <a:ext uri="{FF2B5EF4-FFF2-40B4-BE49-F238E27FC236}">
                      <a16:creationId xmlns:a16="http://schemas.microsoft.com/office/drawing/2014/main" id="{FF9CCBAC-EFF1-D64D-BAA2-00D33EB2E99E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068871"/>
                  <a:ext cx="2422981" cy="138500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685800" rtl="0" eaLnBrk="1" latinLnBrk="0" hangingPunct="1">
                    <a:spcBef>
                      <a:spcPts val="150"/>
                    </a:spcBef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You can now add a new image as normal.</a:t>
                  </a:r>
                </a:p>
              </p:txBody>
            </p:sp>
          </p:grpSp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599AA6FE-1950-8F41-9D7B-376A540F81F8}"/>
                  </a:ext>
                </a:extLst>
              </p:cNvPr>
              <p:cNvGrpSpPr/>
              <p:nvPr userDrawn="1"/>
            </p:nvGrpSpPr>
            <p:grpSpPr>
              <a:xfrm>
                <a:off x="9286315" y="3431192"/>
                <a:ext cx="2735151" cy="1280928"/>
                <a:chOff x="9286315" y="6976989"/>
                <a:chExt cx="2735151" cy="1280928"/>
              </a:xfrm>
            </p:grpSpPr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96798E0F-BB64-0746-87AC-50312AED96E1}"/>
                    </a:ext>
                  </a:extLst>
                </p:cNvPr>
                <p:cNvSpPr/>
                <p:nvPr userDrawn="1"/>
              </p:nvSpPr>
              <p:spPr>
                <a:xfrm>
                  <a:off x="9286315" y="6976989"/>
                  <a:ext cx="2735151" cy="1280928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  <p:sp>
              <p:nvSpPr>
                <p:cNvPr id="39" name="TextBox 38">
                  <a:extLst>
                    <a:ext uri="{FF2B5EF4-FFF2-40B4-BE49-F238E27FC236}">
                      <a16:creationId xmlns:a16="http://schemas.microsoft.com/office/drawing/2014/main" id="{F9048FEE-4AC5-F346-8AA9-B96470C93BB9}"/>
                    </a:ext>
                  </a:extLst>
                </p:cNvPr>
                <p:cNvSpPr txBox="1"/>
                <p:nvPr userDrawn="1"/>
              </p:nvSpPr>
              <p:spPr>
                <a:xfrm>
                  <a:off x="9652506" y="7105788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8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rop Image</a:t>
                  </a:r>
                </a:p>
              </p:txBody>
            </p:sp>
            <p:pic>
              <p:nvPicPr>
                <p:cNvPr id="40" name="Graphic 39">
                  <a:extLst>
                    <a:ext uri="{FF2B5EF4-FFF2-40B4-BE49-F238E27FC236}">
                      <a16:creationId xmlns:a16="http://schemas.microsoft.com/office/drawing/2014/main" id="{DDFDEDFA-065B-6446-8C5E-888321D0CE42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46538" y="7116071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41" name="TextBox 40">
                  <a:extLst>
                    <a:ext uri="{FF2B5EF4-FFF2-40B4-BE49-F238E27FC236}">
                      <a16:creationId xmlns:a16="http://schemas.microsoft.com/office/drawing/2014/main" id="{7DC42090-9A4E-1948-920E-D0251217ED83}"/>
                    </a:ext>
                  </a:extLst>
                </p:cNvPr>
                <p:cNvSpPr txBox="1"/>
                <p:nvPr userDrawn="1"/>
              </p:nvSpPr>
              <p:spPr>
                <a:xfrm>
                  <a:off x="9446538" y="7369972"/>
                  <a:ext cx="2384904" cy="777136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Right-click on the image.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Choose “Crop” from the menu. (       )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Adjust the size and position of the image.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Press Esc or click outside the image area to exit the cropping mode.</a:t>
                  </a:r>
                </a:p>
              </p:txBody>
            </p:sp>
            <p:pic>
              <p:nvPicPr>
                <p:cNvPr id="42" name="Picture 41">
                  <a:extLst>
                    <a:ext uri="{FF2B5EF4-FFF2-40B4-BE49-F238E27FC236}">
                      <a16:creationId xmlns:a16="http://schemas.microsoft.com/office/drawing/2014/main" id="{49506D48-EE49-E344-BD58-0E7ACE18BEA4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 rotWithShape="1">
                <a:blip r:embed="rId3"/>
                <a:srcRect l="33684" t="12097" r="43371" b="20368"/>
                <a:stretch/>
              </p:blipFill>
              <p:spPr>
                <a:xfrm>
                  <a:off x="11243541" y="7454405"/>
                  <a:ext cx="136897" cy="213643"/>
                </a:xfrm>
                <a:prstGeom prst="rect">
                  <a:avLst/>
                </a:prstGeom>
                <a:ln w="19050">
                  <a:solidFill>
                    <a:schemeClr val="accent3">
                      <a:lumMod val="60000"/>
                      <a:lumOff val="40000"/>
                    </a:schemeClr>
                  </a:solidFill>
                </a:ln>
              </p:spPr>
            </p:pic>
          </p:grpSp>
          <p:grpSp>
            <p:nvGrpSpPr>
              <p:cNvPr id="30" name="Group 29">
                <a:extLst>
                  <a:ext uri="{FF2B5EF4-FFF2-40B4-BE49-F238E27FC236}">
                    <a16:creationId xmlns:a16="http://schemas.microsoft.com/office/drawing/2014/main" id="{8289D14B-260D-364C-8834-60C0FB3F053F}"/>
                  </a:ext>
                </a:extLst>
              </p:cNvPr>
              <p:cNvGrpSpPr/>
              <p:nvPr userDrawn="1"/>
            </p:nvGrpSpPr>
            <p:grpSpPr>
              <a:xfrm>
                <a:off x="9266651" y="510458"/>
                <a:ext cx="2617883" cy="707288"/>
                <a:chOff x="12352022" y="513115"/>
                <a:chExt cx="2617883" cy="707288"/>
              </a:xfrm>
            </p:grpSpPr>
            <p:sp>
              <p:nvSpPr>
                <p:cNvPr id="35" name="TextBox 34">
                  <a:extLst>
                    <a:ext uri="{FF2B5EF4-FFF2-40B4-BE49-F238E27FC236}">
                      <a16:creationId xmlns:a16="http://schemas.microsoft.com/office/drawing/2014/main" id="{6530850F-5903-4241-B33B-7472896369B0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375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36" name="TextBox 35">
                  <a:extLst>
                    <a:ext uri="{FF2B5EF4-FFF2-40B4-BE49-F238E27FC236}">
                      <a16:creationId xmlns:a16="http://schemas.microsoft.com/office/drawing/2014/main" id="{B9AE25B5-349B-5C47-9854-CC58C3DFD0E6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1033696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375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2</a:t>
                  </a:r>
                </a:p>
              </p:txBody>
            </p:sp>
            <p:sp>
              <p:nvSpPr>
                <p:cNvPr id="37" name="TextBox 36">
                  <a:extLst>
                    <a:ext uri="{FF2B5EF4-FFF2-40B4-BE49-F238E27FC236}">
                      <a16:creationId xmlns:a16="http://schemas.microsoft.com/office/drawing/2014/main" id="{FBC27616-0537-A643-80CA-4C159C63CC02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453290" cy="70728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sz="788"/>
                    <a:t>Select and download images from the Marketing Resource Database.</a:t>
                  </a:r>
                </a:p>
                <a:p>
                  <a:pPr lvl="0"/>
                  <a:r>
                    <a:rPr lang="en-US" sz="788"/>
                    <a:t>Add the image to the placeholder.</a:t>
                  </a:r>
                </a:p>
              </p:txBody>
            </p:sp>
          </p:grp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02138E1E-A77D-E446-B51D-5B1FD135B9BF}"/>
                  </a:ext>
                </a:extLst>
              </p:cNvPr>
              <p:cNvSpPr txBox="1"/>
              <p:nvPr userDrawn="1"/>
            </p:nvSpPr>
            <p:spPr>
              <a:xfrm>
                <a:off x="9419085" y="1529570"/>
                <a:ext cx="2374733" cy="32316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/>
                  <a:t>Note: If there are multiple image placeholders on the slide, select the intended placeholder before dragging in the image to let PowerPoint know where you want it.</a:t>
                </a: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620C17C2-E7A1-8A48-AD81-3A9EAACA602D}"/>
                  </a:ext>
                </a:extLst>
              </p:cNvPr>
              <p:cNvSpPr txBox="1"/>
              <p:nvPr userDrawn="1"/>
            </p:nvSpPr>
            <p:spPr>
              <a:xfrm>
                <a:off x="9431244" y="1944827"/>
                <a:ext cx="2297338" cy="63145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/>
                  <a:t>Method 2: </a:t>
                </a:r>
                <a:r>
                  <a:rPr lang="en-US" sz="450" b="0"/>
                  <a:t>Paste from clipboard</a:t>
                </a:r>
              </a:p>
              <a:p>
                <a:pPr lvl="1">
                  <a:buNone/>
                </a:pPr>
                <a:r>
                  <a:rPr lang="en-US" sz="788"/>
                  <a:t>Select the image placeholder.</a:t>
                </a:r>
              </a:p>
              <a:p>
                <a:pPr lvl="1">
                  <a:buNone/>
                </a:pPr>
                <a:r>
                  <a:rPr lang="en-US" sz="788"/>
                  <a:t>Right-click or use keyboard shortcuts to paste the image.</a:t>
                </a:r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FCE72D9E-F64A-6C45-B5E4-5509FBC7C3DA}"/>
                  </a:ext>
                </a:extLst>
              </p:cNvPr>
              <p:cNvSpPr txBox="1"/>
              <p:nvPr userDrawn="1"/>
            </p:nvSpPr>
            <p:spPr>
              <a:xfrm>
                <a:off x="9431244" y="2664917"/>
                <a:ext cx="2297338" cy="4346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/>
                  <a:t>Method 3: </a:t>
                </a:r>
                <a:r>
                  <a:rPr lang="en-US" sz="450" b="0"/>
                  <a:t>Placeholder icon</a:t>
                </a:r>
              </a:p>
              <a:p>
                <a:pPr lvl="1">
                  <a:buNone/>
                </a:pPr>
                <a:r>
                  <a:rPr lang="en-US" sz="788"/>
                  <a:t>Click the image icon inside the placeholder to browse for an image.</a:t>
                </a: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F7CB64C4-3F1A-F84B-B69A-13F4593C12B6}"/>
                  </a:ext>
                </a:extLst>
              </p:cNvPr>
              <p:cNvSpPr txBox="1"/>
              <p:nvPr userDrawn="1"/>
            </p:nvSpPr>
            <p:spPr>
              <a:xfrm>
                <a:off x="9419085" y="3095481"/>
                <a:ext cx="2374733" cy="21544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/>
                  <a:t>Note: This icon may be covered by another element.</a:t>
                </a:r>
                <a:br>
                  <a:rPr lang="en-US" sz="525"/>
                </a:br>
                <a:r>
                  <a:rPr lang="en-US" sz="525"/>
                  <a:t>In this case use one of the other methods.</a:t>
                </a:r>
              </a:p>
            </p:txBody>
          </p:sp>
        </p:grp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96897C2-6DB8-D84B-835C-E23BE83E1A08}"/>
              </a:ext>
            </a:extLst>
          </p:cNvPr>
          <p:cNvSpPr>
            <a:spLocks noGrp="1"/>
          </p:cNvSpPr>
          <p:nvPr>
            <p:ph type="dt" sz="half" idx="10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967810F-AD16-6E49-B2A3-1DA6D8B1281F}"/>
              </a:ext>
            </a:extLst>
          </p:cNvPr>
          <p:cNvSpPr>
            <a:spLocks noGrp="1"/>
          </p:cNvSpPr>
          <p:nvPr>
            <p:ph type="ftr" sz="quarter" idx="10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E7FAC5D-4E0E-F541-A5F0-7B548D5C6943}"/>
              </a:ext>
            </a:extLst>
          </p:cNvPr>
          <p:cNvSpPr>
            <a:spLocks noGrp="1"/>
          </p:cNvSpPr>
          <p:nvPr>
            <p:ph type="sldNum" sz="quarter" idx="103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9525"/>
            <a:fld id="{078C017C-E1B9-8443-B047-B08AAA027B45}" type="slidenum">
              <a:rPr lang="en-US" smtClean="0"/>
              <a:pPr marL="9525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045793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Picture Placeholder 10">
            <a:extLst>
              <a:ext uri="{FF2B5EF4-FFF2-40B4-BE49-F238E27FC236}">
                <a16:creationId xmlns:a16="http://schemas.microsoft.com/office/drawing/2014/main" id="{AE10EEE1-52DC-3B49-A4AE-DCC0B52D1E6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  <a:custGeom>
            <a:avLst/>
            <a:gdLst>
              <a:gd name="connsiteX0" fmla="*/ 8545321 w 9144000"/>
              <a:gd name="connsiteY0" fmla="*/ 6577275 h 6858000"/>
              <a:gd name="connsiteX1" fmla="*/ 8554631 w 9144000"/>
              <a:gd name="connsiteY1" fmla="*/ 6577275 h 6858000"/>
              <a:gd name="connsiteX2" fmla="*/ 8572756 w 9144000"/>
              <a:gd name="connsiteY2" fmla="*/ 6592564 h 6858000"/>
              <a:gd name="connsiteX3" fmla="*/ 8552841 w 9144000"/>
              <a:gd name="connsiteY3" fmla="*/ 6608587 h 6858000"/>
              <a:gd name="connsiteX4" fmla="*/ 8552841 w 9144000"/>
              <a:gd name="connsiteY4" fmla="*/ 6608474 h 6858000"/>
              <a:gd name="connsiteX5" fmla="*/ 8545321 w 9144000"/>
              <a:gd name="connsiteY5" fmla="*/ 6608474 h 6858000"/>
              <a:gd name="connsiteX6" fmla="*/ 8440532 w 9144000"/>
              <a:gd name="connsiteY6" fmla="*/ 6576165 h 6858000"/>
              <a:gd name="connsiteX7" fmla="*/ 8450870 w 9144000"/>
              <a:gd name="connsiteY7" fmla="*/ 6576165 h 6858000"/>
              <a:gd name="connsiteX8" fmla="*/ 8486566 w 9144000"/>
              <a:gd name="connsiteY8" fmla="*/ 6607214 h 6858000"/>
              <a:gd name="connsiteX9" fmla="*/ 8452487 w 9144000"/>
              <a:gd name="connsiteY9" fmla="*/ 6640295 h 6858000"/>
              <a:gd name="connsiteX10" fmla="*/ 8440532 w 9144000"/>
              <a:gd name="connsiteY10" fmla="*/ 6640295 h 6858000"/>
              <a:gd name="connsiteX11" fmla="*/ 8359313 w 9144000"/>
              <a:gd name="connsiteY11" fmla="*/ 6554745 h 6858000"/>
              <a:gd name="connsiteX12" fmla="*/ 8357847 w 9144000"/>
              <a:gd name="connsiteY12" fmla="*/ 6557848 h 6858000"/>
              <a:gd name="connsiteX13" fmla="*/ 8338066 w 9144000"/>
              <a:gd name="connsiteY13" fmla="*/ 6599654 h 6858000"/>
              <a:gd name="connsiteX14" fmla="*/ 8338066 w 9144000"/>
              <a:gd name="connsiteY14" fmla="*/ 6661565 h 6858000"/>
              <a:gd name="connsiteX15" fmla="*/ 8406529 w 9144000"/>
              <a:gd name="connsiteY15" fmla="*/ 6661565 h 6858000"/>
              <a:gd name="connsiteX16" fmla="*/ 8406529 w 9144000"/>
              <a:gd name="connsiteY16" fmla="*/ 6638978 h 6858000"/>
              <a:gd name="connsiteX17" fmla="*/ 8363159 w 9144000"/>
              <a:gd name="connsiteY17" fmla="*/ 6638978 h 6858000"/>
              <a:gd name="connsiteX18" fmla="*/ 8363159 w 9144000"/>
              <a:gd name="connsiteY18" fmla="*/ 6618141 h 6858000"/>
              <a:gd name="connsiteX19" fmla="*/ 8402683 w 9144000"/>
              <a:gd name="connsiteY19" fmla="*/ 6618141 h 6858000"/>
              <a:gd name="connsiteX20" fmla="*/ 8402683 w 9144000"/>
              <a:gd name="connsiteY20" fmla="*/ 6596570 h 6858000"/>
              <a:gd name="connsiteX21" fmla="*/ 8363159 w 9144000"/>
              <a:gd name="connsiteY21" fmla="*/ 6596570 h 6858000"/>
              <a:gd name="connsiteX22" fmla="*/ 8363159 w 9144000"/>
              <a:gd name="connsiteY22" fmla="*/ 6577482 h 6858000"/>
              <a:gd name="connsiteX23" fmla="*/ 8406529 w 9144000"/>
              <a:gd name="connsiteY23" fmla="*/ 6577482 h 6858000"/>
              <a:gd name="connsiteX24" fmla="*/ 8406529 w 9144000"/>
              <a:gd name="connsiteY24" fmla="*/ 6554745 h 6858000"/>
              <a:gd name="connsiteX25" fmla="*/ 8245576 w 9144000"/>
              <a:gd name="connsiteY25" fmla="*/ 6554726 h 6858000"/>
              <a:gd name="connsiteX26" fmla="*/ 8262083 w 9144000"/>
              <a:gd name="connsiteY26" fmla="*/ 6589123 h 6858000"/>
              <a:gd name="connsiteX27" fmla="*/ 8288527 w 9144000"/>
              <a:gd name="connsiteY27" fmla="*/ 6589123 h 6858000"/>
              <a:gd name="connsiteX28" fmla="*/ 8273963 w 9144000"/>
              <a:gd name="connsiteY28" fmla="*/ 6554726 h 6858000"/>
              <a:gd name="connsiteX29" fmla="*/ 8520246 w 9144000"/>
              <a:gd name="connsiteY29" fmla="*/ 6554707 h 6858000"/>
              <a:gd name="connsiteX30" fmla="*/ 8520246 w 9144000"/>
              <a:gd name="connsiteY30" fmla="*/ 6661564 h 6858000"/>
              <a:gd name="connsiteX31" fmla="*/ 8545321 w 9144000"/>
              <a:gd name="connsiteY31" fmla="*/ 6661564 h 6858000"/>
              <a:gd name="connsiteX32" fmla="*/ 8545321 w 9144000"/>
              <a:gd name="connsiteY32" fmla="*/ 6629932 h 6858000"/>
              <a:gd name="connsiteX33" fmla="*/ 8554631 w 9144000"/>
              <a:gd name="connsiteY33" fmla="*/ 6629932 h 6858000"/>
              <a:gd name="connsiteX34" fmla="*/ 8598420 w 9144000"/>
              <a:gd name="connsiteY34" fmla="*/ 6592019 h 6858000"/>
              <a:gd name="connsiteX35" fmla="*/ 8550347 w 9144000"/>
              <a:gd name="connsiteY35" fmla="*/ 6554707 h 6858000"/>
              <a:gd name="connsiteX36" fmla="*/ 8415496 w 9144000"/>
              <a:gd name="connsiteY36" fmla="*/ 6554707 h 6858000"/>
              <a:gd name="connsiteX37" fmla="*/ 8415496 w 9144000"/>
              <a:gd name="connsiteY37" fmla="*/ 6661470 h 6858000"/>
              <a:gd name="connsiteX38" fmla="*/ 8448547 w 9144000"/>
              <a:gd name="connsiteY38" fmla="*/ 6661583 h 6858000"/>
              <a:gd name="connsiteX39" fmla="*/ 8513278 w 9144000"/>
              <a:gd name="connsiteY39" fmla="*/ 6607214 h 6858000"/>
              <a:gd name="connsiteX40" fmla="*/ 8447462 w 9144000"/>
              <a:gd name="connsiteY40" fmla="*/ 6554745 h 6858000"/>
              <a:gd name="connsiteX41" fmla="*/ 8447500 w 9144000"/>
              <a:gd name="connsiteY41" fmla="*/ 6554707 h 6858000"/>
              <a:gd name="connsiteX42" fmla="*/ 8415496 w 9144000"/>
              <a:gd name="connsiteY42" fmla="*/ 6554707 h 6858000"/>
              <a:gd name="connsiteX43" fmla="*/ 8323901 w 9144000"/>
              <a:gd name="connsiteY43" fmla="*/ 6554707 h 6858000"/>
              <a:gd name="connsiteX44" fmla="*/ 8298694 w 9144000"/>
              <a:gd name="connsiteY44" fmla="*/ 6612649 h 6858000"/>
              <a:gd name="connsiteX45" fmla="*/ 8291859 w 9144000"/>
              <a:gd name="connsiteY45" fmla="*/ 6596645 h 6858000"/>
              <a:gd name="connsiteX46" fmla="*/ 8265624 w 9144000"/>
              <a:gd name="connsiteY46" fmla="*/ 6596645 h 6858000"/>
              <a:gd name="connsiteX47" fmla="*/ 8296943 w 9144000"/>
              <a:gd name="connsiteY47" fmla="*/ 6661978 h 6858000"/>
              <a:gd name="connsiteX48" fmla="*/ 8299856 w 9144000"/>
              <a:gd name="connsiteY48" fmla="*/ 6661978 h 6858000"/>
              <a:gd name="connsiteX49" fmla="*/ 8350594 w 9144000"/>
              <a:gd name="connsiteY49" fmla="*/ 6554707 h 6858000"/>
              <a:gd name="connsiteX50" fmla="*/ 8704282 w 9144000"/>
              <a:gd name="connsiteY50" fmla="*/ 6516148 h 6858000"/>
              <a:gd name="connsiteX51" fmla="*/ 8704282 w 9144000"/>
              <a:gd name="connsiteY51" fmla="*/ 6690773 h 6858000"/>
              <a:gd name="connsiteX52" fmla="*/ 8723671 w 9144000"/>
              <a:gd name="connsiteY52" fmla="*/ 6690773 h 6858000"/>
              <a:gd name="connsiteX53" fmla="*/ 8723671 w 9144000"/>
              <a:gd name="connsiteY53" fmla="*/ 6516148 h 6858000"/>
              <a:gd name="connsiteX54" fmla="*/ 0 w 9144000"/>
              <a:gd name="connsiteY54" fmla="*/ 0 h 6858000"/>
              <a:gd name="connsiteX55" fmla="*/ 9144000 w 9144000"/>
              <a:gd name="connsiteY55" fmla="*/ 0 h 6858000"/>
              <a:gd name="connsiteX56" fmla="*/ 9144000 w 9144000"/>
              <a:gd name="connsiteY56" fmla="*/ 6858000 h 6858000"/>
              <a:gd name="connsiteX57" fmla="*/ 0 w 9144000"/>
              <a:gd name="connsiteY5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9144000" h="6858000">
                <a:moveTo>
                  <a:pt x="8545321" y="6577275"/>
                </a:moveTo>
                <a:lnTo>
                  <a:pt x="8554631" y="6577275"/>
                </a:lnTo>
                <a:cubicBezTo>
                  <a:pt x="8567006" y="6577275"/>
                  <a:pt x="8572756" y="6583970"/>
                  <a:pt x="8572756" y="6592564"/>
                </a:cubicBezTo>
                <a:cubicBezTo>
                  <a:pt x="8572756" y="6602908"/>
                  <a:pt x="8566130" y="6608587"/>
                  <a:pt x="8552841" y="6608587"/>
                </a:cubicBezTo>
                <a:lnTo>
                  <a:pt x="8552841" y="6608474"/>
                </a:lnTo>
                <a:lnTo>
                  <a:pt x="8545321" y="6608474"/>
                </a:lnTo>
                <a:close/>
                <a:moveTo>
                  <a:pt x="8440532" y="6576165"/>
                </a:moveTo>
                <a:lnTo>
                  <a:pt x="8450870" y="6576165"/>
                </a:lnTo>
                <a:cubicBezTo>
                  <a:pt x="8474172" y="6576165"/>
                  <a:pt x="8486566" y="6587825"/>
                  <a:pt x="8486566" y="6607214"/>
                </a:cubicBezTo>
                <a:cubicBezTo>
                  <a:pt x="8486566" y="6627187"/>
                  <a:pt x="8476095" y="6640295"/>
                  <a:pt x="8452487" y="6640295"/>
                </a:cubicBezTo>
                <a:lnTo>
                  <a:pt x="8440532" y="6640295"/>
                </a:lnTo>
                <a:close/>
                <a:moveTo>
                  <a:pt x="8359313" y="6554745"/>
                </a:moveTo>
                <a:lnTo>
                  <a:pt x="8357847" y="6557848"/>
                </a:lnTo>
                <a:lnTo>
                  <a:pt x="8338066" y="6599654"/>
                </a:lnTo>
                <a:lnTo>
                  <a:pt x="8338066" y="6661565"/>
                </a:lnTo>
                <a:lnTo>
                  <a:pt x="8406529" y="6661565"/>
                </a:lnTo>
                <a:lnTo>
                  <a:pt x="8406529" y="6638978"/>
                </a:lnTo>
                <a:lnTo>
                  <a:pt x="8363159" y="6638978"/>
                </a:lnTo>
                <a:lnTo>
                  <a:pt x="8363159" y="6618141"/>
                </a:lnTo>
                <a:lnTo>
                  <a:pt x="8402683" y="6618141"/>
                </a:lnTo>
                <a:lnTo>
                  <a:pt x="8402683" y="6596570"/>
                </a:lnTo>
                <a:lnTo>
                  <a:pt x="8363159" y="6596570"/>
                </a:lnTo>
                <a:lnTo>
                  <a:pt x="8363159" y="6577482"/>
                </a:lnTo>
                <a:lnTo>
                  <a:pt x="8406529" y="6577482"/>
                </a:lnTo>
                <a:lnTo>
                  <a:pt x="8406529" y="6554745"/>
                </a:lnTo>
                <a:close/>
                <a:moveTo>
                  <a:pt x="8245576" y="6554726"/>
                </a:moveTo>
                <a:lnTo>
                  <a:pt x="8262083" y="6589123"/>
                </a:lnTo>
                <a:lnTo>
                  <a:pt x="8288527" y="6589123"/>
                </a:lnTo>
                <a:lnTo>
                  <a:pt x="8273963" y="6554726"/>
                </a:lnTo>
                <a:close/>
                <a:moveTo>
                  <a:pt x="8520246" y="6554707"/>
                </a:moveTo>
                <a:lnTo>
                  <a:pt x="8520246" y="6661564"/>
                </a:lnTo>
                <a:lnTo>
                  <a:pt x="8545321" y="6661564"/>
                </a:lnTo>
                <a:lnTo>
                  <a:pt x="8545321" y="6629932"/>
                </a:lnTo>
                <a:lnTo>
                  <a:pt x="8554631" y="6629932"/>
                </a:lnTo>
                <a:cubicBezTo>
                  <a:pt x="8583189" y="6629932"/>
                  <a:pt x="8598420" y="6614041"/>
                  <a:pt x="8598420" y="6592019"/>
                </a:cubicBezTo>
                <a:cubicBezTo>
                  <a:pt x="8598439" y="6570486"/>
                  <a:pt x="8581628" y="6554707"/>
                  <a:pt x="8550347" y="6554707"/>
                </a:cubicBezTo>
                <a:close/>
                <a:moveTo>
                  <a:pt x="8415496" y="6554707"/>
                </a:moveTo>
                <a:lnTo>
                  <a:pt x="8415496" y="6661470"/>
                </a:lnTo>
                <a:cubicBezTo>
                  <a:pt x="8415496" y="6661470"/>
                  <a:pt x="8435867" y="6661583"/>
                  <a:pt x="8448547" y="6661583"/>
                </a:cubicBezTo>
                <a:cubicBezTo>
                  <a:pt x="8493382" y="6661583"/>
                  <a:pt x="8513278" y="6638696"/>
                  <a:pt x="8513278" y="6607214"/>
                </a:cubicBezTo>
                <a:cubicBezTo>
                  <a:pt x="8513278" y="6577124"/>
                  <a:pt x="8492335" y="6554745"/>
                  <a:pt x="8447462" y="6554745"/>
                </a:cubicBezTo>
                <a:lnTo>
                  <a:pt x="8447500" y="6554707"/>
                </a:lnTo>
                <a:cubicBezTo>
                  <a:pt x="8436743" y="6554707"/>
                  <a:pt x="8415496" y="6554707"/>
                  <a:pt x="8415496" y="6554707"/>
                </a:cubicBezTo>
                <a:close/>
                <a:moveTo>
                  <a:pt x="8323901" y="6554707"/>
                </a:moveTo>
                <a:lnTo>
                  <a:pt x="8298694" y="6612649"/>
                </a:lnTo>
                <a:lnTo>
                  <a:pt x="8291859" y="6596645"/>
                </a:lnTo>
                <a:lnTo>
                  <a:pt x="8265624" y="6596645"/>
                </a:lnTo>
                <a:lnTo>
                  <a:pt x="8296943" y="6661978"/>
                </a:lnTo>
                <a:lnTo>
                  <a:pt x="8299856" y="6661978"/>
                </a:lnTo>
                <a:lnTo>
                  <a:pt x="8350594" y="6554707"/>
                </a:lnTo>
                <a:close/>
                <a:moveTo>
                  <a:pt x="8704282" y="6516148"/>
                </a:moveTo>
                <a:lnTo>
                  <a:pt x="8704282" y="6690773"/>
                </a:lnTo>
                <a:lnTo>
                  <a:pt x="8723671" y="6690773"/>
                </a:lnTo>
                <a:lnTo>
                  <a:pt x="8723671" y="6516148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 lIns="792000" tIns="0" rIns="5256000" anchor="ctr">
            <a:noAutofit/>
          </a:bodyPr>
          <a:lstStyle>
            <a:lvl1pPr algn="ctr"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he icon at the center of the slide to add a pre-designed half-page map graphic to the slide.</a:t>
            </a:r>
            <a:br>
              <a:rPr lang="en-US"/>
            </a:br>
            <a:r>
              <a:rPr lang="en-US"/>
              <a:t>(In the Marketing Resource Database, these files will have “half slide” in the files name)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A3E7C59C-7AB2-FD4B-9D3E-CA7E0D8CB2F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Slide TITLE. ALL CAPS. TWO LINES max.</a:t>
            </a:r>
          </a:p>
        </p:txBody>
      </p:sp>
      <p:sp>
        <p:nvSpPr>
          <p:cNvPr id="16" name="Chart Placeholder 2">
            <a:extLst>
              <a:ext uri="{FF2B5EF4-FFF2-40B4-BE49-F238E27FC236}">
                <a16:creationId xmlns:a16="http://schemas.microsoft.com/office/drawing/2014/main" id="{078808F4-3217-FA41-8ABF-24B9D247AE5A}"/>
              </a:ext>
            </a:extLst>
          </p:cNvPr>
          <p:cNvSpPr>
            <a:spLocks noGrp="1"/>
          </p:cNvSpPr>
          <p:nvPr userDrawn="1">
            <p:ph type="chart" sz="quarter" idx="114"/>
          </p:nvPr>
        </p:nvSpPr>
        <p:spPr>
          <a:xfrm>
            <a:off x="4698906" y="1301353"/>
            <a:ext cx="4008438" cy="3323034"/>
          </a:xfrm>
        </p:spPr>
        <p:txBody>
          <a:bodyPr/>
          <a:lstStyle>
            <a:lvl1pPr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89C8ABCA-426C-9447-AA12-B5A756649D54}"/>
              </a:ext>
            </a:extLst>
          </p:cNvPr>
          <p:cNvSpPr>
            <a:spLocks noGrp="1"/>
          </p:cNvSpPr>
          <p:nvPr userDrawn="1">
            <p:ph type="subTitle" sz="quarter" idx="1000" hasCustomPrompt="1"/>
          </p:nvPr>
        </p:nvSpPr>
        <p:spPr>
          <a:xfrm>
            <a:off x="431800" y="4650581"/>
            <a:ext cx="7440613" cy="379131"/>
          </a:xfrm>
        </p:spPr>
        <p:txBody>
          <a:bodyPr bIns="0" anchor="b"/>
          <a:lstStyle>
            <a:lvl1pPr marL="4763" indent="-1191">
              <a:spcBef>
                <a:spcPts val="56"/>
              </a:spcBef>
              <a:spcAft>
                <a:spcPts val="56"/>
              </a:spcAft>
              <a:buSzPct val="100000"/>
              <a:buFontTx/>
              <a:buNone/>
              <a:tabLst/>
              <a:defRPr sz="825" b="0">
                <a:solidFill>
                  <a:schemeClr val="tx1"/>
                </a:solidFill>
              </a:defRPr>
            </a:lvl1pPr>
            <a:lvl2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¹"/>
              <a:tabLst/>
              <a:defRPr sz="825" b="0" i="0">
                <a:solidFill>
                  <a:schemeClr val="tx1"/>
                </a:solidFill>
              </a:defRPr>
            </a:lvl2pPr>
            <a:lvl3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²"/>
              <a:tabLst/>
              <a:defRPr sz="825">
                <a:solidFill>
                  <a:schemeClr val="tx1"/>
                </a:solidFill>
              </a:defRPr>
            </a:lvl3pPr>
            <a:lvl4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³"/>
              <a:tabLst/>
              <a:defRPr sz="825">
                <a:solidFill>
                  <a:schemeClr val="tx1"/>
                </a:solidFill>
              </a:defRPr>
            </a:lvl4pPr>
            <a:lvl5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⁴"/>
              <a:tabLst/>
              <a:defRPr sz="825">
                <a:solidFill>
                  <a:schemeClr val="tx1"/>
                </a:solidFill>
              </a:defRPr>
            </a:lvl5pPr>
            <a:lvl6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⁵"/>
              <a:tabLst/>
              <a:defRPr sz="825">
                <a:solidFill>
                  <a:schemeClr val="tx1"/>
                </a:solidFill>
              </a:defRPr>
            </a:lvl6pPr>
            <a:lvl7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⁶"/>
              <a:tabLst/>
              <a:defRPr sz="825">
                <a:solidFill>
                  <a:schemeClr val="tx1"/>
                </a:solidFill>
              </a:defRPr>
            </a:lvl7pPr>
            <a:lvl8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⁷"/>
              <a:tabLst/>
              <a:defRPr sz="825">
                <a:solidFill>
                  <a:schemeClr val="tx1"/>
                </a:solidFill>
              </a:defRPr>
            </a:lvl8pPr>
            <a:lvl9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⁸"/>
              <a:tabLst/>
              <a:defRPr sz="825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/>
              <a:t>Footnotes – Levels 2-9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1834941-C348-A040-9D09-770ED5F00B5B}"/>
              </a:ext>
            </a:extLst>
          </p:cNvPr>
          <p:cNvGrpSpPr/>
          <p:nvPr userDrawn="1"/>
        </p:nvGrpSpPr>
        <p:grpSpPr>
          <a:xfrm>
            <a:off x="9399183" y="-1"/>
            <a:ext cx="2961715" cy="9884986"/>
            <a:chOff x="9399182" y="-1"/>
            <a:chExt cx="2961715" cy="13179981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7F39C21F-C07C-7740-9183-FE0C02C54D48}"/>
                </a:ext>
              </a:extLst>
            </p:cNvPr>
            <p:cNvSpPr/>
            <p:nvPr userDrawn="1"/>
          </p:nvSpPr>
          <p:spPr>
            <a:xfrm>
              <a:off x="9399182" y="-1"/>
              <a:ext cx="2798651" cy="1299298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050"/>
            </a:p>
          </p:txBody>
        </p:sp>
        <p:pic>
          <p:nvPicPr>
            <p:cNvPr id="73" name="Picture 72">
              <a:extLst>
                <a:ext uri="{FF2B5EF4-FFF2-40B4-BE49-F238E27FC236}">
                  <a16:creationId xmlns:a16="http://schemas.microsoft.com/office/drawing/2014/main" id="{8D2E816D-1321-604A-8779-D37820720E7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r="36104"/>
            <a:stretch/>
          </p:blipFill>
          <p:spPr>
            <a:xfrm>
              <a:off x="9558497" y="1330741"/>
              <a:ext cx="2639329" cy="522522"/>
            </a:xfrm>
            <a:prstGeom prst="rect">
              <a:avLst/>
            </a:prstGeom>
          </p:spPr>
        </p:pic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C545234B-6DF7-7643-92C8-BA7AC4A8A953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2F039784-C448-5543-B741-6EBF9C27FE1C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108" name="TextBox 107">
                <a:extLst>
                  <a:ext uri="{FF2B5EF4-FFF2-40B4-BE49-F238E27FC236}">
                    <a16:creationId xmlns:a16="http://schemas.microsoft.com/office/drawing/2014/main" id="{F60BC00D-BAE8-1C44-A7A3-F83307EFAE07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109" name="Picture 108">
                <a:extLst>
                  <a:ext uri="{FF2B5EF4-FFF2-40B4-BE49-F238E27FC236}">
                    <a16:creationId xmlns:a16="http://schemas.microsoft.com/office/drawing/2014/main" id="{4BF9F541-6966-324D-8295-8DC4C6ED816B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876CC36D-CD32-7F49-83AC-D8C75EEEEBC3}"/>
                </a:ext>
              </a:extLst>
            </p:cNvPr>
            <p:cNvGrpSpPr/>
            <p:nvPr userDrawn="1"/>
          </p:nvGrpSpPr>
          <p:grpSpPr>
            <a:xfrm>
              <a:off x="9521833" y="5949873"/>
              <a:ext cx="2676002" cy="1074276"/>
              <a:chOff x="9521833" y="2036288"/>
              <a:chExt cx="2676002" cy="1074276"/>
            </a:xfrm>
          </p:grpSpPr>
          <p:sp>
            <p:nvSpPr>
              <p:cNvPr id="101" name="TextBox 100">
                <a:extLst>
                  <a:ext uri="{FF2B5EF4-FFF2-40B4-BE49-F238E27FC236}">
                    <a16:creationId xmlns:a16="http://schemas.microsoft.com/office/drawing/2014/main" id="{0C54F8FD-6A48-EF40-AD43-A10ACF4D7CF9}"/>
                  </a:ext>
                </a:extLst>
              </p:cNvPr>
              <p:cNvSpPr txBox="1"/>
              <p:nvPr userDrawn="1"/>
            </p:nvSpPr>
            <p:spPr>
              <a:xfrm>
                <a:off x="9558507" y="2036288"/>
                <a:ext cx="993862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sz="825">
                    <a:solidFill>
                      <a:schemeClr val="bg1"/>
                    </a:solidFill>
                  </a:rPr>
                  <a:t>ADD A NEW CHART</a:t>
                </a:r>
              </a:p>
            </p:txBody>
          </p:sp>
          <p:cxnSp>
            <p:nvCxnSpPr>
              <p:cNvPr id="102" name="Straight Connector 101">
                <a:extLst>
                  <a:ext uri="{FF2B5EF4-FFF2-40B4-BE49-F238E27FC236}">
                    <a16:creationId xmlns:a16="http://schemas.microsoft.com/office/drawing/2014/main" id="{4CF1923C-FF57-604A-A528-0F8B428DC1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558507" y="223890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03" name="Group 102">
                <a:extLst>
                  <a:ext uri="{FF2B5EF4-FFF2-40B4-BE49-F238E27FC236}">
                    <a16:creationId xmlns:a16="http://schemas.microsoft.com/office/drawing/2014/main" id="{BA303ED0-59A7-B84C-A014-7496C5477C51}"/>
                  </a:ext>
                </a:extLst>
              </p:cNvPr>
              <p:cNvGrpSpPr/>
              <p:nvPr userDrawn="1"/>
            </p:nvGrpSpPr>
            <p:grpSpPr>
              <a:xfrm>
                <a:off x="9521833" y="2361408"/>
                <a:ext cx="2557391" cy="323337"/>
                <a:chOff x="12352022" y="513115"/>
                <a:chExt cx="2557391" cy="323337"/>
              </a:xfrm>
            </p:grpSpPr>
            <p:sp>
              <p:nvSpPr>
                <p:cNvPr id="105" name="TextBox 104">
                  <a:extLst>
                    <a:ext uri="{FF2B5EF4-FFF2-40B4-BE49-F238E27FC236}">
                      <a16:creationId xmlns:a16="http://schemas.microsoft.com/office/drawing/2014/main" id="{34680833-A017-FE4C-B658-3EDDEB9B2F30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375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106" name="TextBox 105">
                  <a:extLst>
                    <a:ext uri="{FF2B5EF4-FFF2-40B4-BE49-F238E27FC236}">
                      <a16:creationId xmlns:a16="http://schemas.microsoft.com/office/drawing/2014/main" id="{E4EC3B22-EC11-D84D-90B3-DC3B7E1CA6D3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392798" cy="32333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sz="788"/>
                    <a:t>Open the </a:t>
                  </a:r>
                  <a:r>
                    <a:rPr lang="en-US" sz="788" b="1"/>
                    <a:t>VEDP Template Assets file </a:t>
                  </a:r>
                  <a:r>
                    <a:rPr lang="en-US" sz="788"/>
                    <a:t>and copy the desired chart type into your presentation.</a:t>
                  </a:r>
                </a:p>
              </p:txBody>
            </p:sp>
          </p:grpSp>
          <p:sp>
            <p:nvSpPr>
              <p:cNvPr id="104" name="TextBox 103">
                <a:extLst>
                  <a:ext uri="{FF2B5EF4-FFF2-40B4-BE49-F238E27FC236}">
                    <a16:creationId xmlns:a16="http://schemas.microsoft.com/office/drawing/2014/main" id="{862A8FB6-C487-2D48-A9DC-F3D0905D6BE5}"/>
                  </a:ext>
                </a:extLst>
              </p:cNvPr>
              <p:cNvSpPr txBox="1"/>
              <p:nvPr userDrawn="1"/>
            </p:nvSpPr>
            <p:spPr>
              <a:xfrm>
                <a:off x="9686426" y="2895120"/>
                <a:ext cx="2120429" cy="21544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/>
                  <a:t>These samples slide have further instructions and have been set up so you can easily edit the data.</a:t>
                </a:r>
              </a:p>
            </p:txBody>
          </p:sp>
        </p:grp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203EC2FF-8F5A-2547-A699-BE8FF88F9301}"/>
                </a:ext>
              </a:extLst>
            </p:cNvPr>
            <p:cNvSpPr txBox="1"/>
            <p:nvPr userDrawn="1"/>
          </p:nvSpPr>
          <p:spPr>
            <a:xfrm>
              <a:off x="9558507" y="2034287"/>
              <a:ext cx="1537280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sz="825">
                  <a:solidFill>
                    <a:schemeClr val="bg1"/>
                  </a:solidFill>
                </a:rPr>
                <a:t>FORMAT AN EXISTING CHART</a:t>
              </a:r>
            </a:p>
          </p:txBody>
        </p: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59E92957-8BDF-4347-81B2-9604E93AE60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2236904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36CA8A72-2DBC-5545-BC2E-B4BDCAC3FDF6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9521833" y="2384434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375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1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E1C1C471-3C86-9243-8147-752CF2CED878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9521833" y="3111484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375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2</a:t>
              </a: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594015A7-4E0F-FB48-B54B-DBDAD2AACFBF}"/>
                </a:ext>
              </a:extLst>
            </p:cNvPr>
            <p:cNvSpPr txBox="1"/>
            <p:nvPr userDrawn="1"/>
          </p:nvSpPr>
          <p:spPr>
            <a:xfrm>
              <a:off x="9686426" y="2359407"/>
              <a:ext cx="2453290" cy="32333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sz="788"/>
                <a:t>Select the chart placeholder and then paste your existing chart.</a:t>
              </a: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55791D51-A4E3-254B-9CDC-883656B5BBB3}"/>
                </a:ext>
              </a:extLst>
            </p:cNvPr>
            <p:cNvSpPr txBox="1"/>
            <p:nvPr userDrawn="1"/>
          </p:nvSpPr>
          <p:spPr>
            <a:xfrm>
              <a:off x="9686426" y="3088614"/>
              <a:ext cx="2453290" cy="32333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sz="788"/>
                <a:t>Right-click on the chart and choose “Change Chart Type…”</a:t>
              </a: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098081F0-15A2-CE4F-B597-7D0A57F05E29}"/>
                </a:ext>
              </a:extLst>
            </p:cNvPr>
            <p:cNvSpPr txBox="1">
              <a:spLocks noChangeAspect="1"/>
            </p:cNvSpPr>
            <p:nvPr userDrawn="1"/>
          </p:nvSpPr>
          <p:spPr>
            <a:xfrm>
              <a:off x="9521833" y="3574474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375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3</a:t>
              </a: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41684A96-AE24-5949-8098-95299F59040E}"/>
                </a:ext>
              </a:extLst>
            </p:cNvPr>
            <p:cNvSpPr txBox="1"/>
            <p:nvPr userDrawn="1"/>
          </p:nvSpPr>
          <p:spPr>
            <a:xfrm>
              <a:off x="9686426" y="3551603"/>
              <a:ext cx="2453290" cy="32333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sz="788"/>
                <a:t>Choose one of the VEDP chart styles from the ‘Templates’ category.</a:t>
              </a: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A95F9DFB-59B1-0849-A7FD-D719AC7DE165}"/>
                </a:ext>
              </a:extLst>
            </p:cNvPr>
            <p:cNvSpPr txBox="1"/>
            <p:nvPr userDrawn="1"/>
          </p:nvSpPr>
          <p:spPr>
            <a:xfrm>
              <a:off x="9674268" y="2722630"/>
              <a:ext cx="2297650" cy="215444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525"/>
                <a:t>Note: Make sure that you have access to any linked files, or you won’t be able to apply the chart style successfully.</a:t>
              </a:r>
            </a:p>
          </p:txBody>
        </p: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0B9FBE4B-500D-DC43-91EC-3123D9EF5462}"/>
                </a:ext>
              </a:extLst>
            </p:cNvPr>
            <p:cNvGrpSpPr/>
            <p:nvPr userDrawn="1"/>
          </p:nvGrpSpPr>
          <p:grpSpPr>
            <a:xfrm>
              <a:off x="9558507" y="1119891"/>
              <a:ext cx="2639328" cy="202617"/>
              <a:chOff x="9303325" y="149270"/>
              <a:chExt cx="2639328" cy="202617"/>
            </a:xfrm>
          </p:grpSpPr>
          <p:sp>
            <p:nvSpPr>
              <p:cNvPr id="99" name="TextBox 98">
                <a:extLst>
                  <a:ext uri="{FF2B5EF4-FFF2-40B4-BE49-F238E27FC236}">
                    <a16:creationId xmlns:a16="http://schemas.microsoft.com/office/drawing/2014/main" id="{3B2F129A-3FD3-E24F-92D4-3E5C29B9DBB8}"/>
                  </a:ext>
                </a:extLst>
              </p:cNvPr>
              <p:cNvSpPr txBox="1"/>
              <p:nvPr userDrawn="1"/>
            </p:nvSpPr>
            <p:spPr>
              <a:xfrm>
                <a:off x="9303325" y="149270"/>
                <a:ext cx="1670329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sz="825">
                    <a:solidFill>
                      <a:schemeClr val="bg1"/>
                    </a:solidFill>
                  </a:rPr>
                  <a:t>TEXT FORMATS IN THIS LAYOUT</a:t>
                </a:r>
              </a:p>
            </p:txBody>
          </p:sp>
          <p:cxnSp>
            <p:nvCxnSpPr>
              <p:cNvPr id="100" name="Straight Connector 99">
                <a:extLst>
                  <a:ext uri="{FF2B5EF4-FFF2-40B4-BE49-F238E27FC236}">
                    <a16:creationId xmlns:a16="http://schemas.microsoft.com/office/drawing/2014/main" id="{1476F00B-34CF-9B4A-8F55-B463B3FDB70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303325" y="351887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8D1C5EC9-E2AC-8041-9FC6-7AD7ADED145B}"/>
                </a:ext>
              </a:extLst>
            </p:cNvPr>
            <p:cNvGrpSpPr/>
            <p:nvPr userDrawn="1"/>
          </p:nvGrpSpPr>
          <p:grpSpPr>
            <a:xfrm>
              <a:off x="9541497" y="4046192"/>
              <a:ext cx="2735151" cy="1741977"/>
              <a:chOff x="9296567" y="4910411"/>
              <a:chExt cx="2735151" cy="1741977"/>
            </a:xfrm>
          </p:grpSpPr>
          <p:sp>
            <p:nvSpPr>
              <p:cNvPr id="95" name="Rectangle 94">
                <a:extLst>
                  <a:ext uri="{FF2B5EF4-FFF2-40B4-BE49-F238E27FC236}">
                    <a16:creationId xmlns:a16="http://schemas.microsoft.com/office/drawing/2014/main" id="{836A575A-4268-7545-9724-E5529E81C3A7}"/>
                  </a:ext>
                </a:extLst>
              </p:cNvPr>
              <p:cNvSpPr/>
              <p:nvPr userDrawn="1"/>
            </p:nvSpPr>
            <p:spPr>
              <a:xfrm>
                <a:off x="9296567" y="4910411"/>
                <a:ext cx="2735151" cy="1741977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263A6D68-9AA3-584A-809D-EE6673D3B056}"/>
                  </a:ext>
                </a:extLst>
              </p:cNvPr>
              <p:cNvSpPr txBox="1"/>
              <p:nvPr userDrawn="1"/>
            </p:nvSpPr>
            <p:spPr>
              <a:xfrm>
                <a:off x="9662758" y="5039211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Re-apply chart style</a:t>
                </a:r>
              </a:p>
            </p:txBody>
          </p:sp>
          <p:pic>
            <p:nvPicPr>
              <p:cNvPr id="97" name="Graphic 96">
                <a:extLst>
                  <a:ext uri="{FF2B5EF4-FFF2-40B4-BE49-F238E27FC236}">
                    <a16:creationId xmlns:a16="http://schemas.microsoft.com/office/drawing/2014/main" id="{4AF9B51D-9E9A-F947-8F70-A6C06771D1F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9456790" y="5049494"/>
                <a:ext cx="155227" cy="155227"/>
              </a:xfrm>
              <a:prstGeom prst="rect">
                <a:avLst/>
              </a:prstGeom>
            </p:spPr>
          </p:pic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48800C5A-9825-D044-8419-0A6095892041}"/>
                  </a:ext>
                </a:extLst>
              </p:cNvPr>
              <p:cNvSpPr txBox="1"/>
              <p:nvPr userDrawn="1"/>
            </p:nvSpPr>
            <p:spPr>
              <a:xfrm>
                <a:off x="9471805" y="5300350"/>
                <a:ext cx="2399065" cy="103789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spcBef>
                    <a:spcPts val="200"/>
                  </a:spcBef>
                  <a:defRPr sz="9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49225" lvl="1" indent="-149225">
                  <a:spcBef>
                    <a:spcPts val="200"/>
                  </a:spcBef>
                  <a:spcAft>
                    <a:spcPts val="0"/>
                  </a:spcAft>
                  <a:defRPr sz="9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</a:lstStyle>
              <a:p>
                <a:r>
                  <a:rPr lang="en-US" sz="675"/>
                  <a:t>In case of error, return legend entries, data labels, and/or chart formatting by re-applying the current VEDP chart style template.</a:t>
                </a:r>
              </a:p>
              <a:p>
                <a:pPr lvl="1"/>
                <a:r>
                  <a:rPr lang="en-US" sz="675"/>
                  <a:t>Right-click the chart and choose</a:t>
                </a:r>
                <a:br>
                  <a:rPr lang="en-US" sz="675"/>
                </a:br>
                <a:r>
                  <a:rPr lang="en-US" sz="675"/>
                  <a:t>“Change Chart Type”</a:t>
                </a:r>
              </a:p>
              <a:p>
                <a:pPr lvl="1"/>
                <a:r>
                  <a:rPr lang="en-US" sz="675"/>
                  <a:t>Then choose the matching VEDP chart style from the ‘Templates’ category.</a:t>
                </a:r>
              </a:p>
            </p:txBody>
          </p:sp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A4CF5DAB-1553-C04B-92A4-F1198F8EECE3}"/>
                </a:ext>
              </a:extLst>
            </p:cNvPr>
            <p:cNvGrpSpPr/>
            <p:nvPr userDrawn="1"/>
          </p:nvGrpSpPr>
          <p:grpSpPr>
            <a:xfrm>
              <a:off x="9521833" y="7166155"/>
              <a:ext cx="2754815" cy="6013825"/>
              <a:chOff x="9521833" y="-6801152"/>
              <a:chExt cx="2754815" cy="6013825"/>
            </a:xfrm>
          </p:grpSpPr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07BD5352-94B5-1940-89E6-DC02A72A4418}"/>
                  </a:ext>
                </a:extLst>
              </p:cNvPr>
              <p:cNvSpPr txBox="1"/>
              <p:nvPr userDrawn="1"/>
            </p:nvSpPr>
            <p:spPr>
              <a:xfrm>
                <a:off x="9558507" y="-6801152"/>
                <a:ext cx="1231106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sz="825">
                    <a:solidFill>
                      <a:schemeClr val="bg1"/>
                    </a:solidFill>
                  </a:rPr>
                  <a:t>HOW TO ADD AN IMAGE</a:t>
                </a:r>
              </a:p>
            </p:txBody>
          </p: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DE135D9E-6B8E-BF4A-8B52-EEAE03AC9DE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558507" y="-659853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6C3F42BF-41FD-244D-86C9-0031DA675594}"/>
                  </a:ext>
                </a:extLst>
              </p:cNvPr>
              <p:cNvSpPr txBox="1"/>
              <p:nvPr userDrawn="1"/>
            </p:nvSpPr>
            <p:spPr>
              <a:xfrm>
                <a:off x="9686426" y="-5740225"/>
                <a:ext cx="2297338" cy="28913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 b="1"/>
                  <a:t>Method 1: </a:t>
                </a:r>
                <a:r>
                  <a:rPr lang="en-US" sz="450" b="0"/>
                  <a:t>from file browser</a:t>
                </a:r>
              </a:p>
              <a:p>
                <a:pPr lvl="1">
                  <a:buNone/>
                </a:pPr>
                <a:r>
                  <a:rPr lang="en-US" sz="788"/>
                  <a:t>Drag the image onto the slide.</a:t>
                </a:r>
              </a:p>
            </p:txBody>
          </p:sp>
          <p:grpSp>
            <p:nvGrpSpPr>
              <p:cNvPr id="65" name="Group 64">
                <a:extLst>
                  <a:ext uri="{FF2B5EF4-FFF2-40B4-BE49-F238E27FC236}">
                    <a16:creationId xmlns:a16="http://schemas.microsoft.com/office/drawing/2014/main" id="{1AF14A82-884D-6E44-833A-66AEAE8D73E5}"/>
                  </a:ext>
                </a:extLst>
              </p:cNvPr>
              <p:cNvGrpSpPr/>
              <p:nvPr userDrawn="1"/>
            </p:nvGrpSpPr>
            <p:grpSpPr>
              <a:xfrm>
                <a:off x="9541497" y="-2198642"/>
                <a:ext cx="2735151" cy="1411315"/>
                <a:chOff x="9296567" y="4910411"/>
                <a:chExt cx="2735151" cy="1411315"/>
              </a:xfrm>
            </p:grpSpPr>
            <p:sp>
              <p:nvSpPr>
                <p:cNvPr id="67" name="Rectangle 66">
                  <a:extLst>
                    <a:ext uri="{FF2B5EF4-FFF2-40B4-BE49-F238E27FC236}">
                      <a16:creationId xmlns:a16="http://schemas.microsoft.com/office/drawing/2014/main" id="{F7A9386A-4C7E-3A41-8497-284AAB05A9F1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141131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  <p:sp>
              <p:nvSpPr>
                <p:cNvPr id="68" name="TextBox 67">
                  <a:extLst>
                    <a:ext uri="{FF2B5EF4-FFF2-40B4-BE49-F238E27FC236}">
                      <a16:creationId xmlns:a16="http://schemas.microsoft.com/office/drawing/2014/main" id="{4233D935-4B30-F44F-9AE5-ED48766ABB37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8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hange Image</a:t>
                  </a:r>
                </a:p>
              </p:txBody>
            </p:sp>
            <p:pic>
              <p:nvPicPr>
                <p:cNvPr id="69" name="Graphic 68">
                  <a:extLst>
                    <a:ext uri="{FF2B5EF4-FFF2-40B4-BE49-F238E27FC236}">
                      <a16:creationId xmlns:a16="http://schemas.microsoft.com/office/drawing/2014/main" id="{16F18F42-237E-5D49-9406-C82AB8706B57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70" name="TextBox 69">
                  <a:extLst>
                    <a:ext uri="{FF2B5EF4-FFF2-40B4-BE49-F238E27FC236}">
                      <a16:creationId xmlns:a16="http://schemas.microsoft.com/office/drawing/2014/main" id="{DE14BA7F-29C8-C24E-928B-592788C3333F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619194"/>
                  <a:ext cx="2422981" cy="37394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01204" lvl="1" indent="-98822" algn="l" defTabSz="6858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225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Deleting the image may bring the image placeholder to the top layer. Right-click on the placeholder and choose “Send to Back”.</a:t>
                  </a:r>
                </a:p>
              </p:txBody>
            </p:sp>
            <p:sp>
              <p:nvSpPr>
                <p:cNvPr id="71" name="TextBox 70">
                  <a:extLst>
                    <a:ext uri="{FF2B5EF4-FFF2-40B4-BE49-F238E27FC236}">
                      <a16:creationId xmlns:a16="http://schemas.microsoft.com/office/drawing/2014/main" id="{29C49CB8-3278-3D41-8689-3FE7FAAE5983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300350"/>
                  <a:ext cx="2422981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685800" rtl="0" eaLnBrk="1" latinLnBrk="0" hangingPunct="1">
                    <a:spcBef>
                      <a:spcPts val="150"/>
                    </a:spcBef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First, delete the existing image to reset the photo placeholder functionality.</a:t>
                  </a:r>
                </a:p>
              </p:txBody>
            </p:sp>
            <p:sp>
              <p:nvSpPr>
                <p:cNvPr id="72" name="TextBox 71">
                  <a:extLst>
                    <a:ext uri="{FF2B5EF4-FFF2-40B4-BE49-F238E27FC236}">
                      <a16:creationId xmlns:a16="http://schemas.microsoft.com/office/drawing/2014/main" id="{22BE9216-4058-A445-B627-693F5A962404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068871"/>
                  <a:ext cx="2422981" cy="138500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685800" rtl="0" eaLnBrk="1" latinLnBrk="0" hangingPunct="1">
                    <a:spcBef>
                      <a:spcPts val="150"/>
                    </a:spcBef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You can now add a new image as normal.</a:t>
                  </a:r>
                </a:p>
              </p:txBody>
            </p:sp>
          </p:grpSp>
          <p:grpSp>
            <p:nvGrpSpPr>
              <p:cNvPr id="47" name="Group 46">
                <a:extLst>
                  <a:ext uri="{FF2B5EF4-FFF2-40B4-BE49-F238E27FC236}">
                    <a16:creationId xmlns:a16="http://schemas.microsoft.com/office/drawing/2014/main" id="{14F294D6-B313-E949-842F-F41379956161}"/>
                  </a:ext>
                </a:extLst>
              </p:cNvPr>
              <p:cNvGrpSpPr/>
              <p:nvPr userDrawn="1"/>
            </p:nvGrpSpPr>
            <p:grpSpPr>
              <a:xfrm>
                <a:off x="9541497" y="-3555298"/>
                <a:ext cx="2735151" cy="1280928"/>
                <a:chOff x="9286315" y="6976989"/>
                <a:chExt cx="2735151" cy="1280928"/>
              </a:xfrm>
            </p:grpSpPr>
            <p:sp>
              <p:nvSpPr>
                <p:cNvPr id="60" name="Rectangle 59">
                  <a:extLst>
                    <a:ext uri="{FF2B5EF4-FFF2-40B4-BE49-F238E27FC236}">
                      <a16:creationId xmlns:a16="http://schemas.microsoft.com/office/drawing/2014/main" id="{14F654D1-DB8F-CE4F-A23A-52B9BC2BFFEA}"/>
                    </a:ext>
                  </a:extLst>
                </p:cNvPr>
                <p:cNvSpPr/>
                <p:nvPr userDrawn="1"/>
              </p:nvSpPr>
              <p:spPr>
                <a:xfrm>
                  <a:off x="9286315" y="6976989"/>
                  <a:ext cx="2735151" cy="1280928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  <p:sp>
              <p:nvSpPr>
                <p:cNvPr id="61" name="TextBox 60">
                  <a:extLst>
                    <a:ext uri="{FF2B5EF4-FFF2-40B4-BE49-F238E27FC236}">
                      <a16:creationId xmlns:a16="http://schemas.microsoft.com/office/drawing/2014/main" id="{1DC4A4C9-98A4-154F-8F68-6545453B1513}"/>
                    </a:ext>
                  </a:extLst>
                </p:cNvPr>
                <p:cNvSpPr txBox="1"/>
                <p:nvPr userDrawn="1"/>
              </p:nvSpPr>
              <p:spPr>
                <a:xfrm>
                  <a:off x="9652506" y="7105788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8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rop Image</a:t>
                  </a:r>
                </a:p>
              </p:txBody>
            </p:sp>
            <p:pic>
              <p:nvPicPr>
                <p:cNvPr id="62" name="Graphic 61">
                  <a:extLst>
                    <a:ext uri="{FF2B5EF4-FFF2-40B4-BE49-F238E27FC236}">
                      <a16:creationId xmlns:a16="http://schemas.microsoft.com/office/drawing/2014/main" id="{09C862AD-FB96-864E-8468-306B3BB1F66C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46538" y="7116071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63" name="TextBox 62">
                  <a:extLst>
                    <a:ext uri="{FF2B5EF4-FFF2-40B4-BE49-F238E27FC236}">
                      <a16:creationId xmlns:a16="http://schemas.microsoft.com/office/drawing/2014/main" id="{F14F4FFA-0615-1D48-B3DF-3595FF4FE063}"/>
                    </a:ext>
                  </a:extLst>
                </p:cNvPr>
                <p:cNvSpPr txBox="1"/>
                <p:nvPr userDrawn="1"/>
              </p:nvSpPr>
              <p:spPr>
                <a:xfrm>
                  <a:off x="9446538" y="7369972"/>
                  <a:ext cx="2384904" cy="777136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Right-click on the image.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Choose “Crop” from the menu. (       )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Adjust the size and position of the image.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Press Esc or click outside the image area to exit the cropping mode.</a:t>
                  </a:r>
                </a:p>
              </p:txBody>
            </p:sp>
            <p:pic>
              <p:nvPicPr>
                <p:cNvPr id="64" name="Picture 63">
                  <a:extLst>
                    <a:ext uri="{FF2B5EF4-FFF2-40B4-BE49-F238E27FC236}">
                      <a16:creationId xmlns:a16="http://schemas.microsoft.com/office/drawing/2014/main" id="{88F30D86-450E-F848-A211-E408470B957E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 rotWithShape="1">
                <a:blip r:embed="rId6"/>
                <a:srcRect l="33684" t="12097" r="43371" b="20368"/>
                <a:stretch/>
              </p:blipFill>
              <p:spPr>
                <a:xfrm>
                  <a:off x="11243541" y="7454405"/>
                  <a:ext cx="136897" cy="213643"/>
                </a:xfrm>
                <a:prstGeom prst="rect">
                  <a:avLst/>
                </a:prstGeom>
                <a:ln w="19050">
                  <a:solidFill>
                    <a:schemeClr val="accent3">
                      <a:lumMod val="60000"/>
                      <a:lumOff val="40000"/>
                    </a:schemeClr>
                  </a:solidFill>
                </a:ln>
              </p:spPr>
            </p:pic>
          </p:grpSp>
          <p:grpSp>
            <p:nvGrpSpPr>
              <p:cNvPr id="48" name="Group 47">
                <a:extLst>
                  <a:ext uri="{FF2B5EF4-FFF2-40B4-BE49-F238E27FC236}">
                    <a16:creationId xmlns:a16="http://schemas.microsoft.com/office/drawing/2014/main" id="{02D72FD7-6279-0446-AC58-A3C3DC24D160}"/>
                  </a:ext>
                </a:extLst>
              </p:cNvPr>
              <p:cNvGrpSpPr/>
              <p:nvPr userDrawn="1"/>
            </p:nvGrpSpPr>
            <p:grpSpPr>
              <a:xfrm>
                <a:off x="9521833" y="-6476032"/>
                <a:ext cx="2617883" cy="707288"/>
                <a:chOff x="12352022" y="513115"/>
                <a:chExt cx="2617883" cy="707288"/>
              </a:xfrm>
            </p:grpSpPr>
            <p:sp>
              <p:nvSpPr>
                <p:cNvPr id="57" name="TextBox 56">
                  <a:extLst>
                    <a:ext uri="{FF2B5EF4-FFF2-40B4-BE49-F238E27FC236}">
                      <a16:creationId xmlns:a16="http://schemas.microsoft.com/office/drawing/2014/main" id="{F61D0EBF-B2C0-7046-B77D-2B9CD5228843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375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58" name="TextBox 57">
                  <a:extLst>
                    <a:ext uri="{FF2B5EF4-FFF2-40B4-BE49-F238E27FC236}">
                      <a16:creationId xmlns:a16="http://schemas.microsoft.com/office/drawing/2014/main" id="{80E248F4-5967-3B48-BA75-443830FB430F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1033696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375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2</a:t>
                  </a:r>
                </a:p>
              </p:txBody>
            </p:sp>
            <p:sp>
              <p:nvSpPr>
                <p:cNvPr id="59" name="TextBox 58">
                  <a:extLst>
                    <a:ext uri="{FF2B5EF4-FFF2-40B4-BE49-F238E27FC236}">
                      <a16:creationId xmlns:a16="http://schemas.microsoft.com/office/drawing/2014/main" id="{4458B103-16C3-734D-9D4C-08A0AD40A3F8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453290" cy="70728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sz="788"/>
                    <a:t>Select and download images from the Marketing Resource Database.</a:t>
                  </a:r>
                </a:p>
                <a:p>
                  <a:pPr lvl="0"/>
                  <a:r>
                    <a:rPr lang="en-US" sz="788"/>
                    <a:t>Add the image to the placeholder.</a:t>
                  </a:r>
                </a:p>
              </p:txBody>
            </p:sp>
          </p:grp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9F6763D5-C877-A84E-AA38-3CED305D0841}"/>
                  </a:ext>
                </a:extLst>
              </p:cNvPr>
              <p:cNvSpPr txBox="1"/>
              <p:nvPr userDrawn="1"/>
            </p:nvSpPr>
            <p:spPr>
              <a:xfrm>
                <a:off x="9674267" y="-5456920"/>
                <a:ext cx="2374733" cy="32316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/>
                  <a:t>Note: If there are multiple image placeholders on the slide, select the intended placeholder before dragging in the image to let PowerPoint know where you want it.</a:t>
                </a:r>
              </a:p>
            </p:txBody>
          </p:sp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DFB47FC7-5B8F-1A47-817A-A3CF2131BD9D}"/>
                  </a:ext>
                </a:extLst>
              </p:cNvPr>
              <p:cNvSpPr txBox="1"/>
              <p:nvPr userDrawn="1"/>
            </p:nvSpPr>
            <p:spPr>
              <a:xfrm>
                <a:off x="9686426" y="-5041663"/>
                <a:ext cx="2297338" cy="63145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/>
                  <a:t>Method 2: </a:t>
                </a:r>
                <a:r>
                  <a:rPr lang="en-US" sz="450" b="0"/>
                  <a:t>Paste from clipboard</a:t>
                </a:r>
              </a:p>
              <a:p>
                <a:pPr lvl="1">
                  <a:buNone/>
                </a:pPr>
                <a:r>
                  <a:rPr lang="en-US" sz="788"/>
                  <a:t>Select the image placeholder.</a:t>
                </a:r>
              </a:p>
              <a:p>
                <a:pPr lvl="1">
                  <a:buNone/>
                </a:pPr>
                <a:r>
                  <a:rPr lang="en-US" sz="788"/>
                  <a:t>Right-click or use keyboard shortcuts to paste the image.</a:t>
                </a:r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5CD80403-C6E9-C346-A05A-8AE1F1F93179}"/>
                  </a:ext>
                </a:extLst>
              </p:cNvPr>
              <p:cNvSpPr txBox="1"/>
              <p:nvPr userDrawn="1"/>
            </p:nvSpPr>
            <p:spPr>
              <a:xfrm>
                <a:off x="9686426" y="-4321573"/>
                <a:ext cx="2297338" cy="4346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/>
                  <a:t>Method 3: </a:t>
                </a:r>
                <a:r>
                  <a:rPr lang="en-US" sz="450" b="0"/>
                  <a:t>Placeholder icon</a:t>
                </a:r>
              </a:p>
              <a:p>
                <a:pPr lvl="1">
                  <a:buNone/>
                </a:pPr>
                <a:r>
                  <a:rPr lang="en-US" sz="788"/>
                  <a:t>Click the image icon inside the placeholder to browse for an image.</a:t>
                </a:r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6AB870E0-EE0A-D84C-A2C8-84EDC9B761D9}"/>
                  </a:ext>
                </a:extLst>
              </p:cNvPr>
              <p:cNvSpPr txBox="1"/>
              <p:nvPr userDrawn="1"/>
            </p:nvSpPr>
            <p:spPr>
              <a:xfrm>
                <a:off x="9674267" y="-3891009"/>
                <a:ext cx="2374733" cy="21544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/>
                  <a:t>Note: This icon may be covered by another element.</a:t>
                </a:r>
                <a:br>
                  <a:rPr lang="en-US" sz="525"/>
                </a:br>
                <a:r>
                  <a:rPr lang="en-US" sz="525"/>
                  <a:t>In this case use one of the other methods.</a:t>
                </a:r>
              </a:p>
            </p:txBody>
          </p:sp>
        </p:grpSp>
      </p:grpSp>
      <p:sp>
        <p:nvSpPr>
          <p:cNvPr id="78" name="Text Placeholder 6">
            <a:extLst>
              <a:ext uri="{FF2B5EF4-FFF2-40B4-BE49-F238E27FC236}">
                <a16:creationId xmlns:a16="http://schemas.microsoft.com/office/drawing/2014/main" id="{49D0B9C5-5521-2646-B128-094867E34EA6}"/>
              </a:ext>
            </a:extLst>
          </p:cNvPr>
          <p:cNvSpPr>
            <a:spLocks noGrp="1"/>
          </p:cNvSpPr>
          <p:nvPr userDrawn="1">
            <p:ph type="body" sz="quarter" idx="108" hasCustomPrompt="1"/>
          </p:nvPr>
        </p:nvSpPr>
        <p:spPr>
          <a:xfrm>
            <a:off x="4698907" y="904607"/>
            <a:ext cx="1208023" cy="303826"/>
          </a:xfrm>
          <a:blipFill dpi="0" rotWithShape="1">
            <a:blip r:embed="rId7"/>
            <a:srcRect/>
            <a:tile tx="0" ty="0" sx="100000" sy="100000" flip="xy" algn="b"/>
          </a:blipFill>
          <a:effectLst/>
        </p:spPr>
        <p:txBody>
          <a:bodyPr wrap="none" bIns="54000" anchor="b">
            <a:spAutoFit/>
          </a:bodyPr>
          <a:lstStyle>
            <a:lvl1pPr marL="2381" indent="0">
              <a:spcBef>
                <a:spcPts val="75"/>
              </a:spcBef>
              <a:spcAft>
                <a:spcPts val="0"/>
              </a:spcAft>
              <a:tabLst/>
              <a:defRPr sz="900">
                <a:solidFill>
                  <a:schemeClr val="tx1"/>
                </a:solidFill>
              </a:defRPr>
            </a:lvl1pPr>
            <a:lvl2pPr marL="2381" indent="0">
              <a:spcAft>
                <a:spcPts val="0"/>
              </a:spcAft>
              <a:buFont typeface="Arial" panose="020B0604020202020204" pitchFamily="34" charset="0"/>
              <a:buNone/>
              <a:tabLst/>
              <a:defRPr sz="900">
                <a:solidFill>
                  <a:schemeClr val="tx1"/>
                </a:solidFill>
              </a:defRPr>
            </a:lvl2pPr>
            <a:lvl3pPr marL="2381" indent="0">
              <a:buNone/>
              <a:tabLst/>
              <a:defRPr sz="900">
                <a:solidFill>
                  <a:schemeClr val="tx1"/>
                </a:solidFill>
              </a:defRPr>
            </a:lvl3pPr>
            <a:lvl4pPr marL="2381" indent="0">
              <a:spcAft>
                <a:spcPts val="0"/>
              </a:spcAft>
              <a:buNone/>
              <a:tabLst/>
              <a:defRPr sz="900">
                <a:solidFill>
                  <a:schemeClr val="tx1"/>
                </a:solidFill>
              </a:defRPr>
            </a:lvl4pPr>
            <a:lvl5pPr marL="2381" indent="0">
              <a:spcAft>
                <a:spcPts val="0"/>
              </a:spcAft>
              <a:buFont typeface="Arial" panose="020B0604020202020204" pitchFamily="34" charset="0"/>
              <a:buNone/>
              <a:tabLst/>
              <a:defRPr sz="900">
                <a:solidFill>
                  <a:schemeClr val="tx1"/>
                </a:solidFill>
              </a:defRPr>
            </a:lvl5pPr>
            <a:lvl6pPr marL="2381" indent="0">
              <a:spcAft>
                <a:spcPts val="0"/>
              </a:spcAft>
              <a:buNone/>
              <a:tabLst/>
              <a:defRPr sz="900">
                <a:solidFill>
                  <a:schemeClr val="tx1"/>
                </a:solidFill>
              </a:defRPr>
            </a:lvl6pPr>
            <a:lvl7pPr marL="2381" indent="0">
              <a:spcAft>
                <a:spcPts val="0"/>
              </a:spcAft>
              <a:buNone/>
              <a:tabLst/>
              <a:defRPr sz="900">
                <a:solidFill>
                  <a:schemeClr val="tx1"/>
                </a:solidFill>
              </a:defRPr>
            </a:lvl7pPr>
            <a:lvl8pPr marL="2381" indent="0">
              <a:spcAft>
                <a:spcPts val="0"/>
              </a:spcAft>
              <a:buNone/>
              <a:tabLst/>
              <a:defRPr sz="900">
                <a:solidFill>
                  <a:schemeClr val="tx1"/>
                </a:solidFill>
              </a:defRPr>
            </a:lvl8pPr>
            <a:lvl9pPr marL="2381" indent="0">
              <a:spcAft>
                <a:spcPts val="0"/>
              </a:spcAft>
              <a:buNone/>
              <a:tabLst/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add chart titl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124FA82-5551-674F-8ABF-17E6898F90B7}"/>
              </a:ext>
            </a:extLst>
          </p:cNvPr>
          <p:cNvSpPr>
            <a:spLocks noGrp="1"/>
          </p:cNvSpPr>
          <p:nvPr userDrawn="1">
            <p:ph type="dt" sz="half" idx="1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857F84-3938-184A-B69E-D20F1F0ED888}"/>
              </a:ext>
            </a:extLst>
          </p:cNvPr>
          <p:cNvSpPr>
            <a:spLocks noGrp="1"/>
          </p:cNvSpPr>
          <p:nvPr userDrawn="1">
            <p:ph type="ftr" sz="quarter" idx="1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5145EE2-42E0-FD4B-84FE-BBCF42195267}"/>
              </a:ext>
            </a:extLst>
          </p:cNvPr>
          <p:cNvSpPr>
            <a:spLocks noGrp="1"/>
          </p:cNvSpPr>
          <p:nvPr userDrawn="1">
            <p:ph type="sldNum" sz="quarter" idx="117"/>
          </p:nvPr>
        </p:nvSpPr>
        <p:spPr/>
        <p:txBody>
          <a:bodyPr/>
          <a:lstStyle/>
          <a:p>
            <a:pPr marL="9525"/>
            <a:fld id="{078C017C-E1B9-8443-B047-B08AAA027B45}" type="slidenum">
              <a:rPr lang="en-US" smtClean="0"/>
              <a:pPr marL="9525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396501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Picture Placeholder 10">
            <a:extLst>
              <a:ext uri="{FF2B5EF4-FFF2-40B4-BE49-F238E27FC236}">
                <a16:creationId xmlns:a16="http://schemas.microsoft.com/office/drawing/2014/main" id="{DDE5C622-747E-4E4C-BBC5-19A839D9F40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  <a:custGeom>
            <a:avLst/>
            <a:gdLst>
              <a:gd name="connsiteX0" fmla="*/ 8545321 w 9144000"/>
              <a:gd name="connsiteY0" fmla="*/ 6577275 h 6858000"/>
              <a:gd name="connsiteX1" fmla="*/ 8554631 w 9144000"/>
              <a:gd name="connsiteY1" fmla="*/ 6577275 h 6858000"/>
              <a:gd name="connsiteX2" fmla="*/ 8572756 w 9144000"/>
              <a:gd name="connsiteY2" fmla="*/ 6592564 h 6858000"/>
              <a:gd name="connsiteX3" fmla="*/ 8552841 w 9144000"/>
              <a:gd name="connsiteY3" fmla="*/ 6608587 h 6858000"/>
              <a:gd name="connsiteX4" fmla="*/ 8552841 w 9144000"/>
              <a:gd name="connsiteY4" fmla="*/ 6608474 h 6858000"/>
              <a:gd name="connsiteX5" fmla="*/ 8545321 w 9144000"/>
              <a:gd name="connsiteY5" fmla="*/ 6608474 h 6858000"/>
              <a:gd name="connsiteX6" fmla="*/ 8440532 w 9144000"/>
              <a:gd name="connsiteY6" fmla="*/ 6576165 h 6858000"/>
              <a:gd name="connsiteX7" fmla="*/ 8450870 w 9144000"/>
              <a:gd name="connsiteY7" fmla="*/ 6576165 h 6858000"/>
              <a:gd name="connsiteX8" fmla="*/ 8486566 w 9144000"/>
              <a:gd name="connsiteY8" fmla="*/ 6607214 h 6858000"/>
              <a:gd name="connsiteX9" fmla="*/ 8452487 w 9144000"/>
              <a:gd name="connsiteY9" fmla="*/ 6640295 h 6858000"/>
              <a:gd name="connsiteX10" fmla="*/ 8440532 w 9144000"/>
              <a:gd name="connsiteY10" fmla="*/ 6640295 h 6858000"/>
              <a:gd name="connsiteX11" fmla="*/ 8359313 w 9144000"/>
              <a:gd name="connsiteY11" fmla="*/ 6554745 h 6858000"/>
              <a:gd name="connsiteX12" fmla="*/ 8357847 w 9144000"/>
              <a:gd name="connsiteY12" fmla="*/ 6557848 h 6858000"/>
              <a:gd name="connsiteX13" fmla="*/ 8338066 w 9144000"/>
              <a:gd name="connsiteY13" fmla="*/ 6599654 h 6858000"/>
              <a:gd name="connsiteX14" fmla="*/ 8338066 w 9144000"/>
              <a:gd name="connsiteY14" fmla="*/ 6661565 h 6858000"/>
              <a:gd name="connsiteX15" fmla="*/ 8406529 w 9144000"/>
              <a:gd name="connsiteY15" fmla="*/ 6661565 h 6858000"/>
              <a:gd name="connsiteX16" fmla="*/ 8406529 w 9144000"/>
              <a:gd name="connsiteY16" fmla="*/ 6638978 h 6858000"/>
              <a:gd name="connsiteX17" fmla="*/ 8363159 w 9144000"/>
              <a:gd name="connsiteY17" fmla="*/ 6638978 h 6858000"/>
              <a:gd name="connsiteX18" fmla="*/ 8363159 w 9144000"/>
              <a:gd name="connsiteY18" fmla="*/ 6618141 h 6858000"/>
              <a:gd name="connsiteX19" fmla="*/ 8402683 w 9144000"/>
              <a:gd name="connsiteY19" fmla="*/ 6618141 h 6858000"/>
              <a:gd name="connsiteX20" fmla="*/ 8402683 w 9144000"/>
              <a:gd name="connsiteY20" fmla="*/ 6596570 h 6858000"/>
              <a:gd name="connsiteX21" fmla="*/ 8363159 w 9144000"/>
              <a:gd name="connsiteY21" fmla="*/ 6596570 h 6858000"/>
              <a:gd name="connsiteX22" fmla="*/ 8363159 w 9144000"/>
              <a:gd name="connsiteY22" fmla="*/ 6577482 h 6858000"/>
              <a:gd name="connsiteX23" fmla="*/ 8406529 w 9144000"/>
              <a:gd name="connsiteY23" fmla="*/ 6577482 h 6858000"/>
              <a:gd name="connsiteX24" fmla="*/ 8406529 w 9144000"/>
              <a:gd name="connsiteY24" fmla="*/ 6554745 h 6858000"/>
              <a:gd name="connsiteX25" fmla="*/ 8245576 w 9144000"/>
              <a:gd name="connsiteY25" fmla="*/ 6554726 h 6858000"/>
              <a:gd name="connsiteX26" fmla="*/ 8262083 w 9144000"/>
              <a:gd name="connsiteY26" fmla="*/ 6589123 h 6858000"/>
              <a:gd name="connsiteX27" fmla="*/ 8288527 w 9144000"/>
              <a:gd name="connsiteY27" fmla="*/ 6589123 h 6858000"/>
              <a:gd name="connsiteX28" fmla="*/ 8273963 w 9144000"/>
              <a:gd name="connsiteY28" fmla="*/ 6554726 h 6858000"/>
              <a:gd name="connsiteX29" fmla="*/ 8520246 w 9144000"/>
              <a:gd name="connsiteY29" fmla="*/ 6554707 h 6858000"/>
              <a:gd name="connsiteX30" fmla="*/ 8520246 w 9144000"/>
              <a:gd name="connsiteY30" fmla="*/ 6661564 h 6858000"/>
              <a:gd name="connsiteX31" fmla="*/ 8545321 w 9144000"/>
              <a:gd name="connsiteY31" fmla="*/ 6661564 h 6858000"/>
              <a:gd name="connsiteX32" fmla="*/ 8545321 w 9144000"/>
              <a:gd name="connsiteY32" fmla="*/ 6629932 h 6858000"/>
              <a:gd name="connsiteX33" fmla="*/ 8554631 w 9144000"/>
              <a:gd name="connsiteY33" fmla="*/ 6629932 h 6858000"/>
              <a:gd name="connsiteX34" fmla="*/ 8598420 w 9144000"/>
              <a:gd name="connsiteY34" fmla="*/ 6592019 h 6858000"/>
              <a:gd name="connsiteX35" fmla="*/ 8550347 w 9144000"/>
              <a:gd name="connsiteY35" fmla="*/ 6554707 h 6858000"/>
              <a:gd name="connsiteX36" fmla="*/ 8415496 w 9144000"/>
              <a:gd name="connsiteY36" fmla="*/ 6554707 h 6858000"/>
              <a:gd name="connsiteX37" fmla="*/ 8415496 w 9144000"/>
              <a:gd name="connsiteY37" fmla="*/ 6661470 h 6858000"/>
              <a:gd name="connsiteX38" fmla="*/ 8448547 w 9144000"/>
              <a:gd name="connsiteY38" fmla="*/ 6661583 h 6858000"/>
              <a:gd name="connsiteX39" fmla="*/ 8513278 w 9144000"/>
              <a:gd name="connsiteY39" fmla="*/ 6607214 h 6858000"/>
              <a:gd name="connsiteX40" fmla="*/ 8447462 w 9144000"/>
              <a:gd name="connsiteY40" fmla="*/ 6554745 h 6858000"/>
              <a:gd name="connsiteX41" fmla="*/ 8447500 w 9144000"/>
              <a:gd name="connsiteY41" fmla="*/ 6554707 h 6858000"/>
              <a:gd name="connsiteX42" fmla="*/ 8415496 w 9144000"/>
              <a:gd name="connsiteY42" fmla="*/ 6554707 h 6858000"/>
              <a:gd name="connsiteX43" fmla="*/ 8323901 w 9144000"/>
              <a:gd name="connsiteY43" fmla="*/ 6554707 h 6858000"/>
              <a:gd name="connsiteX44" fmla="*/ 8298694 w 9144000"/>
              <a:gd name="connsiteY44" fmla="*/ 6612649 h 6858000"/>
              <a:gd name="connsiteX45" fmla="*/ 8291859 w 9144000"/>
              <a:gd name="connsiteY45" fmla="*/ 6596645 h 6858000"/>
              <a:gd name="connsiteX46" fmla="*/ 8265624 w 9144000"/>
              <a:gd name="connsiteY46" fmla="*/ 6596645 h 6858000"/>
              <a:gd name="connsiteX47" fmla="*/ 8296943 w 9144000"/>
              <a:gd name="connsiteY47" fmla="*/ 6661978 h 6858000"/>
              <a:gd name="connsiteX48" fmla="*/ 8299856 w 9144000"/>
              <a:gd name="connsiteY48" fmla="*/ 6661978 h 6858000"/>
              <a:gd name="connsiteX49" fmla="*/ 8350594 w 9144000"/>
              <a:gd name="connsiteY49" fmla="*/ 6554707 h 6858000"/>
              <a:gd name="connsiteX50" fmla="*/ 8704282 w 9144000"/>
              <a:gd name="connsiteY50" fmla="*/ 6516148 h 6858000"/>
              <a:gd name="connsiteX51" fmla="*/ 8704282 w 9144000"/>
              <a:gd name="connsiteY51" fmla="*/ 6690773 h 6858000"/>
              <a:gd name="connsiteX52" fmla="*/ 8723671 w 9144000"/>
              <a:gd name="connsiteY52" fmla="*/ 6690773 h 6858000"/>
              <a:gd name="connsiteX53" fmla="*/ 8723671 w 9144000"/>
              <a:gd name="connsiteY53" fmla="*/ 6516148 h 6858000"/>
              <a:gd name="connsiteX54" fmla="*/ 0 w 9144000"/>
              <a:gd name="connsiteY54" fmla="*/ 0 h 6858000"/>
              <a:gd name="connsiteX55" fmla="*/ 9144000 w 9144000"/>
              <a:gd name="connsiteY55" fmla="*/ 0 h 6858000"/>
              <a:gd name="connsiteX56" fmla="*/ 9144000 w 9144000"/>
              <a:gd name="connsiteY56" fmla="*/ 6858000 h 6858000"/>
              <a:gd name="connsiteX57" fmla="*/ 0 w 9144000"/>
              <a:gd name="connsiteY5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9144000" h="6858000">
                <a:moveTo>
                  <a:pt x="8545321" y="6577275"/>
                </a:moveTo>
                <a:lnTo>
                  <a:pt x="8554631" y="6577275"/>
                </a:lnTo>
                <a:cubicBezTo>
                  <a:pt x="8567006" y="6577275"/>
                  <a:pt x="8572756" y="6583970"/>
                  <a:pt x="8572756" y="6592564"/>
                </a:cubicBezTo>
                <a:cubicBezTo>
                  <a:pt x="8572756" y="6602908"/>
                  <a:pt x="8566130" y="6608587"/>
                  <a:pt x="8552841" y="6608587"/>
                </a:cubicBezTo>
                <a:lnTo>
                  <a:pt x="8552841" y="6608474"/>
                </a:lnTo>
                <a:lnTo>
                  <a:pt x="8545321" y="6608474"/>
                </a:lnTo>
                <a:close/>
                <a:moveTo>
                  <a:pt x="8440532" y="6576165"/>
                </a:moveTo>
                <a:lnTo>
                  <a:pt x="8450870" y="6576165"/>
                </a:lnTo>
                <a:cubicBezTo>
                  <a:pt x="8474172" y="6576165"/>
                  <a:pt x="8486566" y="6587825"/>
                  <a:pt x="8486566" y="6607214"/>
                </a:cubicBezTo>
                <a:cubicBezTo>
                  <a:pt x="8486566" y="6627187"/>
                  <a:pt x="8476095" y="6640295"/>
                  <a:pt x="8452487" y="6640295"/>
                </a:cubicBezTo>
                <a:lnTo>
                  <a:pt x="8440532" y="6640295"/>
                </a:lnTo>
                <a:close/>
                <a:moveTo>
                  <a:pt x="8359313" y="6554745"/>
                </a:moveTo>
                <a:lnTo>
                  <a:pt x="8357847" y="6557848"/>
                </a:lnTo>
                <a:lnTo>
                  <a:pt x="8338066" y="6599654"/>
                </a:lnTo>
                <a:lnTo>
                  <a:pt x="8338066" y="6661565"/>
                </a:lnTo>
                <a:lnTo>
                  <a:pt x="8406529" y="6661565"/>
                </a:lnTo>
                <a:lnTo>
                  <a:pt x="8406529" y="6638978"/>
                </a:lnTo>
                <a:lnTo>
                  <a:pt x="8363159" y="6638978"/>
                </a:lnTo>
                <a:lnTo>
                  <a:pt x="8363159" y="6618141"/>
                </a:lnTo>
                <a:lnTo>
                  <a:pt x="8402683" y="6618141"/>
                </a:lnTo>
                <a:lnTo>
                  <a:pt x="8402683" y="6596570"/>
                </a:lnTo>
                <a:lnTo>
                  <a:pt x="8363159" y="6596570"/>
                </a:lnTo>
                <a:lnTo>
                  <a:pt x="8363159" y="6577482"/>
                </a:lnTo>
                <a:lnTo>
                  <a:pt x="8406529" y="6577482"/>
                </a:lnTo>
                <a:lnTo>
                  <a:pt x="8406529" y="6554745"/>
                </a:lnTo>
                <a:close/>
                <a:moveTo>
                  <a:pt x="8245576" y="6554726"/>
                </a:moveTo>
                <a:lnTo>
                  <a:pt x="8262083" y="6589123"/>
                </a:lnTo>
                <a:lnTo>
                  <a:pt x="8288527" y="6589123"/>
                </a:lnTo>
                <a:lnTo>
                  <a:pt x="8273963" y="6554726"/>
                </a:lnTo>
                <a:close/>
                <a:moveTo>
                  <a:pt x="8520246" y="6554707"/>
                </a:moveTo>
                <a:lnTo>
                  <a:pt x="8520246" y="6661564"/>
                </a:lnTo>
                <a:lnTo>
                  <a:pt x="8545321" y="6661564"/>
                </a:lnTo>
                <a:lnTo>
                  <a:pt x="8545321" y="6629932"/>
                </a:lnTo>
                <a:lnTo>
                  <a:pt x="8554631" y="6629932"/>
                </a:lnTo>
                <a:cubicBezTo>
                  <a:pt x="8583189" y="6629932"/>
                  <a:pt x="8598420" y="6614041"/>
                  <a:pt x="8598420" y="6592019"/>
                </a:cubicBezTo>
                <a:cubicBezTo>
                  <a:pt x="8598439" y="6570486"/>
                  <a:pt x="8581628" y="6554707"/>
                  <a:pt x="8550347" y="6554707"/>
                </a:cubicBezTo>
                <a:close/>
                <a:moveTo>
                  <a:pt x="8415496" y="6554707"/>
                </a:moveTo>
                <a:lnTo>
                  <a:pt x="8415496" y="6661470"/>
                </a:lnTo>
                <a:cubicBezTo>
                  <a:pt x="8415496" y="6661470"/>
                  <a:pt x="8435867" y="6661583"/>
                  <a:pt x="8448547" y="6661583"/>
                </a:cubicBezTo>
                <a:cubicBezTo>
                  <a:pt x="8493382" y="6661583"/>
                  <a:pt x="8513278" y="6638696"/>
                  <a:pt x="8513278" y="6607214"/>
                </a:cubicBezTo>
                <a:cubicBezTo>
                  <a:pt x="8513278" y="6577124"/>
                  <a:pt x="8492335" y="6554745"/>
                  <a:pt x="8447462" y="6554745"/>
                </a:cubicBezTo>
                <a:lnTo>
                  <a:pt x="8447500" y="6554707"/>
                </a:lnTo>
                <a:cubicBezTo>
                  <a:pt x="8436743" y="6554707"/>
                  <a:pt x="8415496" y="6554707"/>
                  <a:pt x="8415496" y="6554707"/>
                </a:cubicBezTo>
                <a:close/>
                <a:moveTo>
                  <a:pt x="8323901" y="6554707"/>
                </a:moveTo>
                <a:lnTo>
                  <a:pt x="8298694" y="6612649"/>
                </a:lnTo>
                <a:lnTo>
                  <a:pt x="8291859" y="6596645"/>
                </a:lnTo>
                <a:lnTo>
                  <a:pt x="8265624" y="6596645"/>
                </a:lnTo>
                <a:lnTo>
                  <a:pt x="8296943" y="6661978"/>
                </a:lnTo>
                <a:lnTo>
                  <a:pt x="8299856" y="6661978"/>
                </a:lnTo>
                <a:lnTo>
                  <a:pt x="8350594" y="6554707"/>
                </a:lnTo>
                <a:close/>
                <a:moveTo>
                  <a:pt x="8704282" y="6516148"/>
                </a:moveTo>
                <a:lnTo>
                  <a:pt x="8704282" y="6690773"/>
                </a:lnTo>
                <a:lnTo>
                  <a:pt x="8723671" y="6690773"/>
                </a:lnTo>
                <a:lnTo>
                  <a:pt x="8723671" y="6516148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 lIns="792000" tIns="0" rIns="5256000" anchor="ctr">
            <a:noAutofit/>
          </a:bodyPr>
          <a:lstStyle>
            <a:lvl1pPr algn="ctr"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he icon at the center of the slide to add a pre-designed half-page map graphic to the slide.</a:t>
            </a:r>
            <a:br>
              <a:rPr lang="en-US"/>
            </a:br>
            <a:r>
              <a:rPr lang="en-US"/>
              <a:t>(In the Marketing Resource Database, these files will have “half slide” in the files name)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A3E7C59C-7AB2-FD4B-9D3E-CA7E0D8CB2F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Slide TITLE. ALL CAPS. TWO LINES max.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89C8ABCA-426C-9447-AA12-B5A756649D54}"/>
              </a:ext>
            </a:extLst>
          </p:cNvPr>
          <p:cNvSpPr>
            <a:spLocks noGrp="1"/>
          </p:cNvSpPr>
          <p:nvPr userDrawn="1">
            <p:ph type="subTitle" sz="quarter" idx="1000" hasCustomPrompt="1"/>
          </p:nvPr>
        </p:nvSpPr>
        <p:spPr>
          <a:xfrm>
            <a:off x="431800" y="4650581"/>
            <a:ext cx="7440613" cy="379131"/>
          </a:xfrm>
        </p:spPr>
        <p:txBody>
          <a:bodyPr bIns="0" anchor="b"/>
          <a:lstStyle>
            <a:lvl1pPr marL="4763" indent="-1191">
              <a:spcBef>
                <a:spcPts val="56"/>
              </a:spcBef>
              <a:spcAft>
                <a:spcPts val="56"/>
              </a:spcAft>
              <a:buSzPct val="100000"/>
              <a:buFontTx/>
              <a:buNone/>
              <a:tabLst/>
              <a:defRPr sz="825" b="0">
                <a:solidFill>
                  <a:schemeClr val="tx1"/>
                </a:solidFill>
              </a:defRPr>
            </a:lvl1pPr>
            <a:lvl2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¹"/>
              <a:tabLst/>
              <a:defRPr sz="825" b="0" i="0">
                <a:solidFill>
                  <a:schemeClr val="tx1"/>
                </a:solidFill>
              </a:defRPr>
            </a:lvl2pPr>
            <a:lvl3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²"/>
              <a:tabLst/>
              <a:defRPr sz="825">
                <a:solidFill>
                  <a:schemeClr val="tx1"/>
                </a:solidFill>
              </a:defRPr>
            </a:lvl3pPr>
            <a:lvl4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³"/>
              <a:tabLst/>
              <a:defRPr sz="825">
                <a:solidFill>
                  <a:schemeClr val="tx1"/>
                </a:solidFill>
              </a:defRPr>
            </a:lvl4pPr>
            <a:lvl5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⁴"/>
              <a:tabLst/>
              <a:defRPr sz="825">
                <a:solidFill>
                  <a:schemeClr val="tx1"/>
                </a:solidFill>
              </a:defRPr>
            </a:lvl5pPr>
            <a:lvl6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⁵"/>
              <a:tabLst/>
              <a:defRPr sz="825">
                <a:solidFill>
                  <a:schemeClr val="tx1"/>
                </a:solidFill>
              </a:defRPr>
            </a:lvl6pPr>
            <a:lvl7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⁶"/>
              <a:tabLst/>
              <a:defRPr sz="825">
                <a:solidFill>
                  <a:schemeClr val="tx1"/>
                </a:solidFill>
              </a:defRPr>
            </a:lvl7pPr>
            <a:lvl8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⁷"/>
              <a:tabLst/>
              <a:defRPr sz="825">
                <a:solidFill>
                  <a:schemeClr val="tx1"/>
                </a:solidFill>
              </a:defRPr>
            </a:lvl8pPr>
            <a:lvl9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⁸"/>
              <a:tabLst/>
              <a:defRPr sz="825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/>
              <a:t>Footnotes – Levels 2-9</a:t>
            </a:r>
          </a:p>
        </p:txBody>
      </p:sp>
      <p:sp>
        <p:nvSpPr>
          <p:cNvPr id="73" name="Content Placeholder 13">
            <a:extLst>
              <a:ext uri="{FF2B5EF4-FFF2-40B4-BE49-F238E27FC236}">
                <a16:creationId xmlns:a16="http://schemas.microsoft.com/office/drawing/2014/main" id="{BD8F7771-D5FD-5E48-914F-1B0C8281DAF2}"/>
              </a:ext>
            </a:extLst>
          </p:cNvPr>
          <p:cNvSpPr>
            <a:spLocks noGrp="1"/>
          </p:cNvSpPr>
          <p:nvPr userDrawn="1">
            <p:ph sz="quarter" idx="105"/>
          </p:nvPr>
        </p:nvSpPr>
        <p:spPr>
          <a:xfrm>
            <a:off x="4703522" y="925117"/>
            <a:ext cx="4008676" cy="36992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662E80-C602-AD49-88C5-4C7981BFDF51}"/>
              </a:ext>
            </a:extLst>
          </p:cNvPr>
          <p:cNvSpPr>
            <a:spLocks noGrp="1"/>
          </p:cNvSpPr>
          <p:nvPr userDrawn="1">
            <p:ph type="dt" sz="half" idx="10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AA8D22F-CD71-0048-A44D-45D040CB3EA8}"/>
              </a:ext>
            </a:extLst>
          </p:cNvPr>
          <p:cNvSpPr>
            <a:spLocks noGrp="1"/>
          </p:cNvSpPr>
          <p:nvPr userDrawn="1">
            <p:ph type="ftr" sz="quarter" idx="10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92EC2F9-9D32-434C-8F82-E8D200FC4895}"/>
              </a:ext>
            </a:extLst>
          </p:cNvPr>
          <p:cNvSpPr>
            <a:spLocks noGrp="1"/>
          </p:cNvSpPr>
          <p:nvPr userDrawn="1">
            <p:ph type="sldNum" sz="quarter" idx="108"/>
          </p:nvPr>
        </p:nvSpPr>
        <p:spPr/>
        <p:txBody>
          <a:bodyPr/>
          <a:lstStyle/>
          <a:p>
            <a:pPr marL="9525"/>
            <a:fld id="{078C017C-E1B9-8443-B047-B08AAA027B45}" type="slidenum">
              <a:rPr lang="en-US" smtClean="0"/>
              <a:pPr marL="9525"/>
              <a:t>‹#›</a:t>
            </a:fld>
            <a:endParaRPr lang="en-US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B57B4F9-541A-FA47-94AB-4A76E2D84EBB}"/>
              </a:ext>
            </a:extLst>
          </p:cNvPr>
          <p:cNvGrpSpPr/>
          <p:nvPr userDrawn="1"/>
        </p:nvGrpSpPr>
        <p:grpSpPr>
          <a:xfrm>
            <a:off x="9399182" y="-1"/>
            <a:ext cx="2974470" cy="9367238"/>
            <a:chOff x="9399182" y="-1"/>
            <a:chExt cx="2974470" cy="12489650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7F39C21F-C07C-7740-9183-FE0C02C54D48}"/>
                </a:ext>
              </a:extLst>
            </p:cNvPr>
            <p:cNvSpPr/>
            <p:nvPr userDrawn="1"/>
          </p:nvSpPr>
          <p:spPr>
            <a:xfrm>
              <a:off x="9399182" y="-1"/>
              <a:ext cx="2798651" cy="1232329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050"/>
            </a:p>
          </p:txBody>
        </p:sp>
        <p:pic>
          <p:nvPicPr>
            <p:cNvPr id="75" name="Picture 74">
              <a:extLst>
                <a:ext uri="{FF2B5EF4-FFF2-40B4-BE49-F238E27FC236}">
                  <a16:creationId xmlns:a16="http://schemas.microsoft.com/office/drawing/2014/main" id="{62DE5BAE-3274-6547-A846-0E36742248D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r="41694"/>
            <a:stretch/>
          </p:blipFill>
          <p:spPr>
            <a:xfrm>
              <a:off x="9558506" y="1322104"/>
              <a:ext cx="2639328" cy="995540"/>
            </a:xfrm>
            <a:prstGeom prst="rect">
              <a:avLst/>
            </a:prstGeom>
          </p:spPr>
        </p:pic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EA8A0D49-B3FC-114E-BD4F-A224D345C631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136" name="Rectangle 135">
                <a:extLst>
                  <a:ext uri="{FF2B5EF4-FFF2-40B4-BE49-F238E27FC236}">
                    <a16:creationId xmlns:a16="http://schemas.microsoft.com/office/drawing/2014/main" id="{9B430B4D-00A5-0E44-AEFA-4FF0C5C67CB2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137" name="TextBox 136">
                <a:extLst>
                  <a:ext uri="{FF2B5EF4-FFF2-40B4-BE49-F238E27FC236}">
                    <a16:creationId xmlns:a16="http://schemas.microsoft.com/office/drawing/2014/main" id="{1A92EEBC-DB6D-1349-822C-5E9062E5C64A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138" name="Picture 137">
                <a:extLst>
                  <a:ext uri="{FF2B5EF4-FFF2-40B4-BE49-F238E27FC236}">
                    <a16:creationId xmlns:a16="http://schemas.microsoft.com/office/drawing/2014/main" id="{2B5D82AA-15DA-6F48-B821-49645A8B7DD3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133" name="Group 132">
              <a:extLst>
                <a:ext uri="{FF2B5EF4-FFF2-40B4-BE49-F238E27FC236}">
                  <a16:creationId xmlns:a16="http://schemas.microsoft.com/office/drawing/2014/main" id="{C9C4E2FC-B406-D849-816A-FE7024AFBE6E}"/>
                </a:ext>
              </a:extLst>
            </p:cNvPr>
            <p:cNvGrpSpPr/>
            <p:nvPr userDrawn="1"/>
          </p:nvGrpSpPr>
          <p:grpSpPr>
            <a:xfrm>
              <a:off x="9558507" y="1119891"/>
              <a:ext cx="2639328" cy="202617"/>
              <a:chOff x="9303325" y="149270"/>
              <a:chExt cx="2639328" cy="202617"/>
            </a:xfrm>
          </p:grpSpPr>
          <p:sp>
            <p:nvSpPr>
              <p:cNvPr id="134" name="TextBox 133">
                <a:extLst>
                  <a:ext uri="{FF2B5EF4-FFF2-40B4-BE49-F238E27FC236}">
                    <a16:creationId xmlns:a16="http://schemas.microsoft.com/office/drawing/2014/main" id="{105231A2-EDEC-3E4B-91A8-B78EAD4061BD}"/>
                  </a:ext>
                </a:extLst>
              </p:cNvPr>
              <p:cNvSpPr txBox="1"/>
              <p:nvPr userDrawn="1"/>
            </p:nvSpPr>
            <p:spPr>
              <a:xfrm>
                <a:off x="9303325" y="149270"/>
                <a:ext cx="1670329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sz="825">
                    <a:solidFill>
                      <a:schemeClr val="bg1"/>
                    </a:solidFill>
                  </a:rPr>
                  <a:t>TEXT FORMATS IN THIS LAYOUT</a:t>
                </a:r>
              </a:p>
            </p:txBody>
          </p:sp>
          <p:cxnSp>
            <p:nvCxnSpPr>
              <p:cNvPr id="135" name="Straight Connector 134">
                <a:extLst>
                  <a:ext uri="{FF2B5EF4-FFF2-40B4-BE49-F238E27FC236}">
                    <a16:creationId xmlns:a16="http://schemas.microsoft.com/office/drawing/2014/main" id="{72E3E04B-C66B-DE46-870F-2C26FF6D7F1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303325" y="351887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02553D65-8D5E-9043-AA8A-EB0588AA8551}"/>
                </a:ext>
              </a:extLst>
            </p:cNvPr>
            <p:cNvGrpSpPr/>
            <p:nvPr userDrawn="1"/>
          </p:nvGrpSpPr>
          <p:grpSpPr>
            <a:xfrm>
              <a:off x="9541497" y="3679950"/>
              <a:ext cx="2735151" cy="2655095"/>
              <a:chOff x="9541497" y="11478235"/>
              <a:chExt cx="2735151" cy="2655095"/>
            </a:xfrm>
          </p:grpSpPr>
          <p:grpSp>
            <p:nvGrpSpPr>
              <p:cNvPr id="111" name="Group 110">
                <a:extLst>
                  <a:ext uri="{FF2B5EF4-FFF2-40B4-BE49-F238E27FC236}">
                    <a16:creationId xmlns:a16="http://schemas.microsoft.com/office/drawing/2014/main" id="{9B9C9F49-49E7-CA4E-849A-BB97B8486113}"/>
                  </a:ext>
                </a:extLst>
              </p:cNvPr>
              <p:cNvGrpSpPr/>
              <p:nvPr userDrawn="1"/>
            </p:nvGrpSpPr>
            <p:grpSpPr>
              <a:xfrm>
                <a:off x="9541497" y="11478235"/>
                <a:ext cx="2735151" cy="2655095"/>
                <a:chOff x="9296567" y="4910411"/>
                <a:chExt cx="2735151" cy="2655095"/>
              </a:xfrm>
            </p:grpSpPr>
            <p:sp>
              <p:nvSpPr>
                <p:cNvPr id="126" name="Rectangle 125">
                  <a:extLst>
                    <a:ext uri="{FF2B5EF4-FFF2-40B4-BE49-F238E27FC236}">
                      <a16:creationId xmlns:a16="http://schemas.microsoft.com/office/drawing/2014/main" id="{8025FD44-3660-E343-B0A6-B6F6EDF3C8C6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265509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  <p:sp>
              <p:nvSpPr>
                <p:cNvPr id="127" name="TextBox 126">
                  <a:extLst>
                    <a:ext uri="{FF2B5EF4-FFF2-40B4-BE49-F238E27FC236}">
                      <a16:creationId xmlns:a16="http://schemas.microsoft.com/office/drawing/2014/main" id="{FE31536B-440B-8046-88B3-2642529016B3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8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Automatic paragraph spacing</a:t>
                  </a:r>
                </a:p>
              </p:txBody>
            </p:sp>
            <p:pic>
              <p:nvPicPr>
                <p:cNvPr id="128" name="Graphic 127">
                  <a:extLst>
                    <a:ext uri="{FF2B5EF4-FFF2-40B4-BE49-F238E27FC236}">
                      <a16:creationId xmlns:a16="http://schemas.microsoft.com/office/drawing/2014/main" id="{A16034BD-6983-5C4A-9FEC-2CE8E81F5009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129" name="TextBox 128">
                  <a:extLst>
                    <a:ext uri="{FF2B5EF4-FFF2-40B4-BE49-F238E27FC236}">
                      <a16:creationId xmlns:a16="http://schemas.microsoft.com/office/drawing/2014/main" id="{2ABC9F07-580A-7E4A-B11B-F111FDC350F5}"/>
                    </a:ext>
                  </a:extLst>
                </p:cNvPr>
                <p:cNvSpPr txBox="1"/>
                <p:nvPr userDrawn="1"/>
              </p:nvSpPr>
              <p:spPr>
                <a:xfrm>
                  <a:off x="9471806" y="5300350"/>
                  <a:ext cx="2271204" cy="55399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>
                    <a:spcBef>
                      <a:spcPts val="200"/>
                    </a:spcBef>
                    <a:defRPr sz="9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49225" lvl="1" indent="-149225">
                    <a:spcBef>
                      <a:spcPts val="200"/>
                    </a:spcBef>
                    <a:spcAft>
                      <a:spcPts val="0"/>
                    </a:spcAft>
                    <a:defRPr sz="9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</a:lstStyle>
                <a:p>
                  <a:r>
                    <a:rPr lang="en-US" sz="675"/>
                    <a:t>This template automatically adds paragraph spacing between first-level text paragraphs. When pasting in content, remember to delete any extra blank lines from your text.</a:t>
                  </a:r>
                </a:p>
              </p:txBody>
            </p:sp>
          </p:grpSp>
          <p:grpSp>
            <p:nvGrpSpPr>
              <p:cNvPr id="114" name="Group 113">
                <a:extLst>
                  <a:ext uri="{FF2B5EF4-FFF2-40B4-BE49-F238E27FC236}">
                    <a16:creationId xmlns:a16="http://schemas.microsoft.com/office/drawing/2014/main" id="{09B499C6-2BCA-D941-836C-075460C0EC17}"/>
                  </a:ext>
                </a:extLst>
              </p:cNvPr>
              <p:cNvGrpSpPr/>
              <p:nvPr userDrawn="1"/>
            </p:nvGrpSpPr>
            <p:grpSpPr>
              <a:xfrm>
                <a:off x="9833052" y="12492855"/>
                <a:ext cx="2073198" cy="1627918"/>
                <a:chOff x="9833052" y="3617325"/>
                <a:chExt cx="2073198" cy="1627918"/>
              </a:xfrm>
            </p:grpSpPr>
            <p:pic>
              <p:nvPicPr>
                <p:cNvPr id="117" name="Picture 116">
                  <a:extLst>
                    <a:ext uri="{FF2B5EF4-FFF2-40B4-BE49-F238E27FC236}">
                      <a16:creationId xmlns:a16="http://schemas.microsoft.com/office/drawing/2014/main" id="{AABA3998-6D10-4545-A7DF-6ED794AC719C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10075660" y="3617325"/>
                  <a:ext cx="1830590" cy="1627918"/>
                </a:xfrm>
                <a:prstGeom prst="rect">
                  <a:avLst/>
                </a:prstGeom>
              </p:spPr>
            </p:pic>
            <p:cxnSp>
              <p:nvCxnSpPr>
                <p:cNvPr id="118" name="Straight Connector 117">
                  <a:extLst>
                    <a:ext uri="{FF2B5EF4-FFF2-40B4-BE49-F238E27FC236}">
                      <a16:creationId xmlns:a16="http://schemas.microsoft.com/office/drawing/2014/main" id="{2EEFBFC1-6C0D-0348-B560-CF141A2017F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0147060" y="3825943"/>
                  <a:ext cx="0" cy="186966"/>
                </a:xfrm>
                <a:prstGeom prst="line">
                  <a:avLst/>
                </a:prstGeom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9" name="Straight Connector 118">
                  <a:extLst>
                    <a:ext uri="{FF2B5EF4-FFF2-40B4-BE49-F238E27FC236}">
                      <a16:creationId xmlns:a16="http://schemas.microsoft.com/office/drawing/2014/main" id="{9ADBFB77-76D0-6444-AB28-A01243DE58E9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0147060" y="4714218"/>
                  <a:ext cx="0" cy="186966"/>
                </a:xfrm>
                <a:prstGeom prst="line">
                  <a:avLst/>
                </a:prstGeom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0" name="TextBox 119">
                  <a:extLst>
                    <a:ext uri="{FF2B5EF4-FFF2-40B4-BE49-F238E27FC236}">
                      <a16:creationId xmlns:a16="http://schemas.microsoft.com/office/drawing/2014/main" id="{798FC946-C3A9-DA4D-8EB6-7E9386F341B4}"/>
                    </a:ext>
                  </a:extLst>
                </p:cNvPr>
                <p:cNvSpPr txBox="1"/>
                <p:nvPr userDrawn="1"/>
              </p:nvSpPr>
              <p:spPr>
                <a:xfrm>
                  <a:off x="9833052" y="3828242"/>
                  <a:ext cx="256480" cy="184665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t">
                  <a:spAutoFit/>
                </a:bodyPr>
                <a:lstStyle/>
                <a:p>
                  <a:pPr algn="r"/>
                  <a:r>
                    <a:rPr lang="en-US" sz="4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Automatic</a:t>
                  </a:r>
                  <a:br>
                    <a:rPr lang="en-US" sz="4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</a:br>
                  <a:r>
                    <a:rPr lang="en-US" sz="4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space</a:t>
                  </a:r>
                </a:p>
              </p:txBody>
            </p:sp>
            <p:sp>
              <p:nvSpPr>
                <p:cNvPr id="121" name="TextBox 120">
                  <a:extLst>
                    <a:ext uri="{FF2B5EF4-FFF2-40B4-BE49-F238E27FC236}">
                      <a16:creationId xmlns:a16="http://schemas.microsoft.com/office/drawing/2014/main" id="{2A28E02E-BC50-B343-919D-78A769FA9250}"/>
                    </a:ext>
                  </a:extLst>
                </p:cNvPr>
                <p:cNvSpPr txBox="1"/>
                <p:nvPr userDrawn="1"/>
              </p:nvSpPr>
              <p:spPr>
                <a:xfrm>
                  <a:off x="9833052" y="4721741"/>
                  <a:ext cx="256480" cy="184665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t">
                  <a:spAutoFit/>
                </a:bodyPr>
                <a:lstStyle/>
                <a:p>
                  <a:pPr algn="r"/>
                  <a:r>
                    <a:rPr lang="en-US" sz="4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Automatic</a:t>
                  </a:r>
                  <a:br>
                    <a:rPr lang="en-US" sz="4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</a:br>
                  <a:r>
                    <a:rPr lang="en-US" sz="4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space</a:t>
                  </a:r>
                </a:p>
              </p:txBody>
            </p:sp>
          </p:grpSp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A4CF5DAB-1553-C04B-92A4-F1198F8EECE3}"/>
                </a:ext>
              </a:extLst>
            </p:cNvPr>
            <p:cNvGrpSpPr/>
            <p:nvPr userDrawn="1"/>
          </p:nvGrpSpPr>
          <p:grpSpPr>
            <a:xfrm>
              <a:off x="9521833" y="6475824"/>
              <a:ext cx="2754815" cy="6013825"/>
              <a:chOff x="9521833" y="-6801152"/>
              <a:chExt cx="2754815" cy="6013825"/>
            </a:xfrm>
          </p:grpSpPr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07BD5352-94B5-1940-89E6-DC02A72A4418}"/>
                  </a:ext>
                </a:extLst>
              </p:cNvPr>
              <p:cNvSpPr txBox="1"/>
              <p:nvPr userDrawn="1"/>
            </p:nvSpPr>
            <p:spPr>
              <a:xfrm>
                <a:off x="9558507" y="-6801152"/>
                <a:ext cx="1231106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sz="825">
                    <a:solidFill>
                      <a:schemeClr val="bg1"/>
                    </a:solidFill>
                  </a:rPr>
                  <a:t>HOW TO ADD AN IMAGE</a:t>
                </a:r>
              </a:p>
            </p:txBody>
          </p: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DE135D9E-6B8E-BF4A-8B52-EEAE03AC9DE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558507" y="-659853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6C3F42BF-41FD-244D-86C9-0031DA675594}"/>
                  </a:ext>
                </a:extLst>
              </p:cNvPr>
              <p:cNvSpPr txBox="1"/>
              <p:nvPr userDrawn="1"/>
            </p:nvSpPr>
            <p:spPr>
              <a:xfrm>
                <a:off x="9686426" y="-5740225"/>
                <a:ext cx="2297338" cy="28913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 b="1"/>
                  <a:t>Method 1: </a:t>
                </a:r>
                <a:r>
                  <a:rPr lang="en-US" sz="450" b="0"/>
                  <a:t>from file browser</a:t>
                </a:r>
              </a:p>
              <a:p>
                <a:pPr lvl="1">
                  <a:buNone/>
                </a:pPr>
                <a:r>
                  <a:rPr lang="en-US" sz="788"/>
                  <a:t>Drag the image onto the slide.</a:t>
                </a:r>
              </a:p>
            </p:txBody>
          </p:sp>
          <p:grpSp>
            <p:nvGrpSpPr>
              <p:cNvPr id="65" name="Group 64">
                <a:extLst>
                  <a:ext uri="{FF2B5EF4-FFF2-40B4-BE49-F238E27FC236}">
                    <a16:creationId xmlns:a16="http://schemas.microsoft.com/office/drawing/2014/main" id="{1AF14A82-884D-6E44-833A-66AEAE8D73E5}"/>
                  </a:ext>
                </a:extLst>
              </p:cNvPr>
              <p:cNvGrpSpPr/>
              <p:nvPr userDrawn="1"/>
            </p:nvGrpSpPr>
            <p:grpSpPr>
              <a:xfrm>
                <a:off x="9541497" y="-2198642"/>
                <a:ext cx="2735151" cy="1411315"/>
                <a:chOff x="9296567" y="4910411"/>
                <a:chExt cx="2735151" cy="1411315"/>
              </a:xfrm>
            </p:grpSpPr>
            <p:sp>
              <p:nvSpPr>
                <p:cNvPr id="67" name="Rectangle 66">
                  <a:extLst>
                    <a:ext uri="{FF2B5EF4-FFF2-40B4-BE49-F238E27FC236}">
                      <a16:creationId xmlns:a16="http://schemas.microsoft.com/office/drawing/2014/main" id="{F7A9386A-4C7E-3A41-8497-284AAB05A9F1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141131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  <p:sp>
              <p:nvSpPr>
                <p:cNvPr id="68" name="TextBox 67">
                  <a:extLst>
                    <a:ext uri="{FF2B5EF4-FFF2-40B4-BE49-F238E27FC236}">
                      <a16:creationId xmlns:a16="http://schemas.microsoft.com/office/drawing/2014/main" id="{4233D935-4B30-F44F-9AE5-ED48766ABB37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8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hange Image</a:t>
                  </a:r>
                </a:p>
              </p:txBody>
            </p:sp>
            <p:pic>
              <p:nvPicPr>
                <p:cNvPr id="69" name="Graphic 68">
                  <a:extLst>
                    <a:ext uri="{FF2B5EF4-FFF2-40B4-BE49-F238E27FC236}">
                      <a16:creationId xmlns:a16="http://schemas.microsoft.com/office/drawing/2014/main" id="{16F18F42-237E-5D49-9406-C82AB8706B57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70" name="TextBox 69">
                  <a:extLst>
                    <a:ext uri="{FF2B5EF4-FFF2-40B4-BE49-F238E27FC236}">
                      <a16:creationId xmlns:a16="http://schemas.microsoft.com/office/drawing/2014/main" id="{DE14BA7F-29C8-C24E-928B-592788C3333F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619194"/>
                  <a:ext cx="2422981" cy="37394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01204" lvl="1" indent="-98822" algn="l" defTabSz="6858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225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Deleting the image may bring the image placeholder to the top layer. Right-click on the placeholder and choose “Send to Back”.</a:t>
                  </a:r>
                </a:p>
              </p:txBody>
            </p:sp>
            <p:sp>
              <p:nvSpPr>
                <p:cNvPr id="71" name="TextBox 70">
                  <a:extLst>
                    <a:ext uri="{FF2B5EF4-FFF2-40B4-BE49-F238E27FC236}">
                      <a16:creationId xmlns:a16="http://schemas.microsoft.com/office/drawing/2014/main" id="{29C49CB8-3278-3D41-8689-3FE7FAAE5983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300350"/>
                  <a:ext cx="2422981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685800" rtl="0" eaLnBrk="1" latinLnBrk="0" hangingPunct="1">
                    <a:spcBef>
                      <a:spcPts val="150"/>
                    </a:spcBef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First, delete the existing image to reset the photo placeholder functionality.</a:t>
                  </a:r>
                </a:p>
              </p:txBody>
            </p:sp>
            <p:sp>
              <p:nvSpPr>
                <p:cNvPr id="72" name="TextBox 71">
                  <a:extLst>
                    <a:ext uri="{FF2B5EF4-FFF2-40B4-BE49-F238E27FC236}">
                      <a16:creationId xmlns:a16="http://schemas.microsoft.com/office/drawing/2014/main" id="{22BE9216-4058-A445-B627-693F5A962404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068871"/>
                  <a:ext cx="2422981" cy="138500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685800" rtl="0" eaLnBrk="1" latinLnBrk="0" hangingPunct="1">
                    <a:spcBef>
                      <a:spcPts val="150"/>
                    </a:spcBef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You can now add a new image as normal.</a:t>
                  </a:r>
                </a:p>
              </p:txBody>
            </p:sp>
          </p:grpSp>
          <p:grpSp>
            <p:nvGrpSpPr>
              <p:cNvPr id="47" name="Group 46">
                <a:extLst>
                  <a:ext uri="{FF2B5EF4-FFF2-40B4-BE49-F238E27FC236}">
                    <a16:creationId xmlns:a16="http://schemas.microsoft.com/office/drawing/2014/main" id="{14F294D6-B313-E949-842F-F41379956161}"/>
                  </a:ext>
                </a:extLst>
              </p:cNvPr>
              <p:cNvGrpSpPr/>
              <p:nvPr userDrawn="1"/>
            </p:nvGrpSpPr>
            <p:grpSpPr>
              <a:xfrm>
                <a:off x="9541497" y="-3555298"/>
                <a:ext cx="2735151" cy="1280928"/>
                <a:chOff x="9286315" y="6976989"/>
                <a:chExt cx="2735151" cy="1280928"/>
              </a:xfrm>
            </p:grpSpPr>
            <p:sp>
              <p:nvSpPr>
                <p:cNvPr id="60" name="Rectangle 59">
                  <a:extLst>
                    <a:ext uri="{FF2B5EF4-FFF2-40B4-BE49-F238E27FC236}">
                      <a16:creationId xmlns:a16="http://schemas.microsoft.com/office/drawing/2014/main" id="{14F654D1-DB8F-CE4F-A23A-52B9BC2BFFEA}"/>
                    </a:ext>
                  </a:extLst>
                </p:cNvPr>
                <p:cNvSpPr/>
                <p:nvPr userDrawn="1"/>
              </p:nvSpPr>
              <p:spPr>
                <a:xfrm>
                  <a:off x="9286315" y="6976989"/>
                  <a:ext cx="2735151" cy="1280928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  <p:sp>
              <p:nvSpPr>
                <p:cNvPr id="61" name="TextBox 60">
                  <a:extLst>
                    <a:ext uri="{FF2B5EF4-FFF2-40B4-BE49-F238E27FC236}">
                      <a16:creationId xmlns:a16="http://schemas.microsoft.com/office/drawing/2014/main" id="{1DC4A4C9-98A4-154F-8F68-6545453B1513}"/>
                    </a:ext>
                  </a:extLst>
                </p:cNvPr>
                <p:cNvSpPr txBox="1"/>
                <p:nvPr userDrawn="1"/>
              </p:nvSpPr>
              <p:spPr>
                <a:xfrm>
                  <a:off x="9652506" y="7105788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8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rop Image</a:t>
                  </a:r>
                </a:p>
              </p:txBody>
            </p:sp>
            <p:pic>
              <p:nvPicPr>
                <p:cNvPr id="62" name="Graphic 61">
                  <a:extLst>
                    <a:ext uri="{FF2B5EF4-FFF2-40B4-BE49-F238E27FC236}">
                      <a16:creationId xmlns:a16="http://schemas.microsoft.com/office/drawing/2014/main" id="{09C862AD-FB96-864E-8468-306B3BB1F66C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46538" y="7116071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63" name="TextBox 62">
                  <a:extLst>
                    <a:ext uri="{FF2B5EF4-FFF2-40B4-BE49-F238E27FC236}">
                      <a16:creationId xmlns:a16="http://schemas.microsoft.com/office/drawing/2014/main" id="{F14F4FFA-0615-1D48-B3DF-3595FF4FE063}"/>
                    </a:ext>
                  </a:extLst>
                </p:cNvPr>
                <p:cNvSpPr txBox="1"/>
                <p:nvPr userDrawn="1"/>
              </p:nvSpPr>
              <p:spPr>
                <a:xfrm>
                  <a:off x="9446538" y="7369972"/>
                  <a:ext cx="2384904" cy="777136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Right-click on the image.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Choose “Crop” from the menu. (       )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Adjust the size and position of the image.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Press Esc or click outside the image area to exit the cropping mode.</a:t>
                  </a:r>
                </a:p>
              </p:txBody>
            </p:sp>
            <p:pic>
              <p:nvPicPr>
                <p:cNvPr id="64" name="Picture 63">
                  <a:extLst>
                    <a:ext uri="{FF2B5EF4-FFF2-40B4-BE49-F238E27FC236}">
                      <a16:creationId xmlns:a16="http://schemas.microsoft.com/office/drawing/2014/main" id="{88F30D86-450E-F848-A211-E408470B957E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 rotWithShape="1">
                <a:blip r:embed="rId7"/>
                <a:srcRect l="33684" t="12097" r="43371" b="20368"/>
                <a:stretch/>
              </p:blipFill>
              <p:spPr>
                <a:xfrm>
                  <a:off x="11243541" y="7454405"/>
                  <a:ext cx="136897" cy="213643"/>
                </a:xfrm>
                <a:prstGeom prst="rect">
                  <a:avLst/>
                </a:prstGeom>
                <a:ln w="19050">
                  <a:solidFill>
                    <a:schemeClr val="accent3">
                      <a:lumMod val="60000"/>
                      <a:lumOff val="40000"/>
                    </a:schemeClr>
                  </a:solidFill>
                </a:ln>
              </p:spPr>
            </p:pic>
          </p:grpSp>
          <p:grpSp>
            <p:nvGrpSpPr>
              <p:cNvPr id="48" name="Group 47">
                <a:extLst>
                  <a:ext uri="{FF2B5EF4-FFF2-40B4-BE49-F238E27FC236}">
                    <a16:creationId xmlns:a16="http://schemas.microsoft.com/office/drawing/2014/main" id="{02D72FD7-6279-0446-AC58-A3C3DC24D160}"/>
                  </a:ext>
                </a:extLst>
              </p:cNvPr>
              <p:cNvGrpSpPr/>
              <p:nvPr userDrawn="1"/>
            </p:nvGrpSpPr>
            <p:grpSpPr>
              <a:xfrm>
                <a:off x="9521833" y="-6476032"/>
                <a:ext cx="2617883" cy="707288"/>
                <a:chOff x="12352022" y="513115"/>
                <a:chExt cx="2617883" cy="707288"/>
              </a:xfrm>
            </p:grpSpPr>
            <p:sp>
              <p:nvSpPr>
                <p:cNvPr id="57" name="TextBox 56">
                  <a:extLst>
                    <a:ext uri="{FF2B5EF4-FFF2-40B4-BE49-F238E27FC236}">
                      <a16:creationId xmlns:a16="http://schemas.microsoft.com/office/drawing/2014/main" id="{F61D0EBF-B2C0-7046-B77D-2B9CD5228843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375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58" name="TextBox 57">
                  <a:extLst>
                    <a:ext uri="{FF2B5EF4-FFF2-40B4-BE49-F238E27FC236}">
                      <a16:creationId xmlns:a16="http://schemas.microsoft.com/office/drawing/2014/main" id="{80E248F4-5967-3B48-BA75-443830FB430F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1033696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375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2</a:t>
                  </a:r>
                </a:p>
              </p:txBody>
            </p:sp>
            <p:sp>
              <p:nvSpPr>
                <p:cNvPr id="59" name="TextBox 58">
                  <a:extLst>
                    <a:ext uri="{FF2B5EF4-FFF2-40B4-BE49-F238E27FC236}">
                      <a16:creationId xmlns:a16="http://schemas.microsoft.com/office/drawing/2014/main" id="{4458B103-16C3-734D-9D4C-08A0AD40A3F8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453290" cy="70728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sz="788"/>
                    <a:t>Select and download images from the Marketing Resource Database.</a:t>
                  </a:r>
                </a:p>
                <a:p>
                  <a:pPr lvl="0"/>
                  <a:r>
                    <a:rPr lang="en-US" sz="788"/>
                    <a:t>Add the image to the placeholder.</a:t>
                  </a:r>
                </a:p>
              </p:txBody>
            </p:sp>
          </p:grp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9F6763D5-C877-A84E-AA38-3CED305D0841}"/>
                  </a:ext>
                </a:extLst>
              </p:cNvPr>
              <p:cNvSpPr txBox="1"/>
              <p:nvPr userDrawn="1"/>
            </p:nvSpPr>
            <p:spPr>
              <a:xfrm>
                <a:off x="9674267" y="-5456920"/>
                <a:ext cx="2374733" cy="32316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/>
                  <a:t>Note: If there are multiple image placeholders on the slide, select the intended placeholder before dragging in the image to let PowerPoint know where you want it.</a:t>
                </a:r>
              </a:p>
            </p:txBody>
          </p:sp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DFB47FC7-5B8F-1A47-817A-A3CF2131BD9D}"/>
                  </a:ext>
                </a:extLst>
              </p:cNvPr>
              <p:cNvSpPr txBox="1"/>
              <p:nvPr userDrawn="1"/>
            </p:nvSpPr>
            <p:spPr>
              <a:xfrm>
                <a:off x="9686426" y="-5041663"/>
                <a:ext cx="2297338" cy="63145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/>
                  <a:t>Method 2: </a:t>
                </a:r>
                <a:r>
                  <a:rPr lang="en-US" sz="450" b="0"/>
                  <a:t>Paste from clipboard</a:t>
                </a:r>
              </a:p>
              <a:p>
                <a:pPr lvl="1">
                  <a:buNone/>
                </a:pPr>
                <a:r>
                  <a:rPr lang="en-US" sz="788"/>
                  <a:t>Select the image placeholder.</a:t>
                </a:r>
              </a:p>
              <a:p>
                <a:pPr lvl="1">
                  <a:buNone/>
                </a:pPr>
                <a:r>
                  <a:rPr lang="en-US" sz="788"/>
                  <a:t>Right-click or use keyboard shortcuts to paste the image.</a:t>
                </a:r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5CD80403-C6E9-C346-A05A-8AE1F1F93179}"/>
                  </a:ext>
                </a:extLst>
              </p:cNvPr>
              <p:cNvSpPr txBox="1"/>
              <p:nvPr userDrawn="1"/>
            </p:nvSpPr>
            <p:spPr>
              <a:xfrm>
                <a:off x="9686426" y="-4321573"/>
                <a:ext cx="2297338" cy="4346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/>
                  <a:t>Method 3: </a:t>
                </a:r>
                <a:r>
                  <a:rPr lang="en-US" sz="450" b="0"/>
                  <a:t>Placeholder icon</a:t>
                </a:r>
              </a:p>
              <a:p>
                <a:pPr lvl="1">
                  <a:buNone/>
                </a:pPr>
                <a:r>
                  <a:rPr lang="en-US" sz="788"/>
                  <a:t>Click the image icon inside the placeholder to browse for an image.</a:t>
                </a:r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6AB870E0-EE0A-D84C-A2C8-84EDC9B761D9}"/>
                  </a:ext>
                </a:extLst>
              </p:cNvPr>
              <p:cNvSpPr txBox="1"/>
              <p:nvPr userDrawn="1"/>
            </p:nvSpPr>
            <p:spPr>
              <a:xfrm>
                <a:off x="9674267" y="-3891009"/>
                <a:ext cx="2374733" cy="21544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/>
                  <a:t>Note: This icon may be covered by another element.</a:t>
                </a:r>
                <a:br>
                  <a:rPr lang="en-US" sz="525"/>
                </a:br>
                <a:r>
                  <a:rPr lang="en-US" sz="525"/>
                  <a:t>In this case use one of the other methods.</a:t>
                </a:r>
              </a:p>
            </p:txBody>
          </p: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51C8198C-DD7F-BA46-8818-A422C4B5DDAB}"/>
                </a:ext>
              </a:extLst>
            </p:cNvPr>
            <p:cNvGrpSpPr/>
            <p:nvPr userDrawn="1"/>
          </p:nvGrpSpPr>
          <p:grpSpPr>
            <a:xfrm>
              <a:off x="9554253" y="2414886"/>
              <a:ext cx="2819399" cy="1181890"/>
              <a:chOff x="9541498" y="3352649"/>
              <a:chExt cx="2819399" cy="1181890"/>
            </a:xfrm>
          </p:grpSpPr>
          <p:grpSp>
            <p:nvGrpSpPr>
              <p:cNvPr id="66" name="Group 65">
                <a:extLst>
                  <a:ext uri="{FF2B5EF4-FFF2-40B4-BE49-F238E27FC236}">
                    <a16:creationId xmlns:a16="http://schemas.microsoft.com/office/drawing/2014/main" id="{51461867-39BD-8443-858A-89E8E720E047}"/>
                  </a:ext>
                </a:extLst>
              </p:cNvPr>
              <p:cNvGrpSpPr/>
              <p:nvPr userDrawn="1"/>
            </p:nvGrpSpPr>
            <p:grpSpPr>
              <a:xfrm>
                <a:off x="9541498" y="3352649"/>
                <a:ext cx="2735150" cy="1181890"/>
                <a:chOff x="9541498" y="3751132"/>
                <a:chExt cx="2735150" cy="1181890"/>
              </a:xfrm>
            </p:grpSpPr>
            <p:grpSp>
              <p:nvGrpSpPr>
                <p:cNvPr id="76" name="Group 75">
                  <a:extLst>
                    <a:ext uri="{FF2B5EF4-FFF2-40B4-BE49-F238E27FC236}">
                      <a16:creationId xmlns:a16="http://schemas.microsoft.com/office/drawing/2014/main" id="{B43C4940-84D3-BE4D-B6C7-B9F4069E6AF2}"/>
                    </a:ext>
                  </a:extLst>
                </p:cNvPr>
                <p:cNvGrpSpPr/>
                <p:nvPr userDrawn="1"/>
              </p:nvGrpSpPr>
              <p:grpSpPr>
                <a:xfrm>
                  <a:off x="9541498" y="3751132"/>
                  <a:ext cx="2735150" cy="1181890"/>
                  <a:chOff x="9296568" y="4910411"/>
                  <a:chExt cx="2735150" cy="1181890"/>
                </a:xfrm>
              </p:grpSpPr>
              <p:sp>
                <p:nvSpPr>
                  <p:cNvPr id="78" name="Rectangle 77">
                    <a:extLst>
                      <a:ext uri="{FF2B5EF4-FFF2-40B4-BE49-F238E27FC236}">
                        <a16:creationId xmlns:a16="http://schemas.microsoft.com/office/drawing/2014/main" id="{9D64EC32-DC56-1A4F-B329-EFB7AD05123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9296568" y="4910411"/>
                    <a:ext cx="2735150" cy="1181890"/>
                  </a:xfrm>
                  <a:prstGeom prst="rect">
                    <a:avLst/>
                  </a:prstGeom>
                  <a:solidFill>
                    <a:srgbClr val="FFFADF"/>
                  </a:solidFill>
                  <a:ln w="25400">
                    <a:solidFill>
                      <a:schemeClr val="tx1">
                        <a:lumMod val="65000"/>
                        <a:lumOff val="3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50"/>
                  </a:p>
                </p:txBody>
              </p:sp>
              <p:sp>
                <p:nvSpPr>
                  <p:cNvPr id="79" name="TextBox 78">
                    <a:extLst>
                      <a:ext uri="{FF2B5EF4-FFF2-40B4-BE49-F238E27FC236}">
                        <a16:creationId xmlns:a16="http://schemas.microsoft.com/office/drawing/2014/main" id="{98AC335A-B89B-6A4C-9272-D47CD0D06EC8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662758" y="5046087"/>
                    <a:ext cx="2211394" cy="16927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 algn="l"/>
                    <a:r>
                      <a:rPr lang="en-US" sz="825">
                        <a:solidFill>
                          <a:schemeClr val="accent2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Numbered lists</a:t>
                    </a:r>
                  </a:p>
                </p:txBody>
              </p:sp>
              <p:sp>
                <p:nvSpPr>
                  <p:cNvPr id="81" name="TextBox 80">
                    <a:extLst>
                      <a:ext uri="{FF2B5EF4-FFF2-40B4-BE49-F238E27FC236}">
                        <a16:creationId xmlns:a16="http://schemas.microsoft.com/office/drawing/2014/main" id="{278ECCAF-CE58-9C43-BD97-C451117E731F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471806" y="5300349"/>
                    <a:ext cx="964050" cy="55399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>
                      <a:spcBef>
                        <a:spcPts val="150"/>
                      </a:spcBef>
                    </a:pPr>
                    <a:r>
                      <a:rPr lang="en-US" sz="675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For instruction on formatting numbered lists, see the most up-to-date Asset File.</a:t>
                    </a:r>
                  </a:p>
                </p:txBody>
              </p:sp>
            </p:grpSp>
            <p:pic>
              <p:nvPicPr>
                <p:cNvPr id="77" name="Graphic 76">
                  <a:extLst>
                    <a:ext uri="{FF2B5EF4-FFF2-40B4-BE49-F238E27FC236}">
                      <a16:creationId xmlns:a16="http://schemas.microsoft.com/office/drawing/2014/main" id="{AB366EEA-B03C-9046-8AD6-59CC9C8CE5A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686425" y="3891259"/>
                  <a:ext cx="170340" cy="170340"/>
                </a:xfrm>
                <a:prstGeom prst="rect">
                  <a:avLst/>
                </a:prstGeom>
              </p:spPr>
            </p:pic>
          </p:grpSp>
          <p:pic>
            <p:nvPicPr>
              <p:cNvPr id="74" name="Picture 73">
                <a:extLst>
                  <a:ext uri="{FF2B5EF4-FFF2-40B4-BE49-F238E27FC236}">
                    <a16:creationId xmlns:a16="http://schemas.microsoft.com/office/drawing/2014/main" id="{699DEED4-35C2-9441-873F-AAED33354F6B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9"/>
              <a:srcRect r="30584"/>
              <a:stretch/>
            </p:blipFill>
            <p:spPr>
              <a:xfrm>
                <a:off x="10767220" y="3758285"/>
                <a:ext cx="1593677" cy="684608"/>
              </a:xfrm>
              <a:prstGeom prst="rect">
                <a:avLst/>
              </a:prstGeom>
              <a:solidFill>
                <a:srgbClr val="FFFADF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101783883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E0F2A22-DC4A-E346-AE87-FB4ED457775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31784" y="1663593"/>
            <a:ext cx="3941999" cy="2216756"/>
          </a:xfrm>
          <a:solidFill>
            <a:srgbClr val="E8F3FD"/>
          </a:solidFill>
        </p:spPr>
        <p:txBody>
          <a:bodyPr anchor="ctr"/>
          <a:lstStyle>
            <a:lvl1pPr algn="ctr"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add a pre-designed</a:t>
            </a:r>
            <a:br>
              <a:rPr lang="en-US"/>
            </a:br>
            <a:r>
              <a:rPr lang="en-US"/>
              <a:t>ranking or quote graphic</a:t>
            </a:r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1640ADA5-7398-B640-ADDD-6DF2A63EF34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70778" y="1663477"/>
            <a:ext cx="3941422" cy="2216987"/>
          </a:xfrm>
          <a:solidFill>
            <a:srgbClr val="E8F3FD"/>
          </a:solidFill>
        </p:spPr>
        <p:txBody>
          <a:bodyPr anchor="ctr"/>
          <a:lstStyle>
            <a:lvl1pPr algn="ctr"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add a pre-designed</a:t>
            </a:r>
            <a:br>
              <a:rPr lang="en-US"/>
            </a:br>
            <a:r>
              <a:rPr lang="en-US"/>
              <a:t>ranking or quote graphic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7DBB08-85DE-1A46-BB43-C98D1EBB9768}"/>
              </a:ext>
            </a:extLst>
          </p:cNvPr>
          <p:cNvCxnSpPr>
            <a:cxnSpLocks/>
          </p:cNvCxnSpPr>
          <p:nvPr userDrawn="1"/>
        </p:nvCxnSpPr>
        <p:spPr>
          <a:xfrm>
            <a:off x="4572000" y="1663477"/>
            <a:ext cx="0" cy="2216987"/>
          </a:xfrm>
          <a:prstGeom prst="line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1">
            <a:extLst>
              <a:ext uri="{FF2B5EF4-FFF2-40B4-BE49-F238E27FC236}">
                <a16:creationId xmlns:a16="http://schemas.microsoft.com/office/drawing/2014/main" id="{90A94CCC-95A0-1A46-97DB-01C300149D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Slide TITLE. ALL CAPS. TWO LINES max.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38EB76C2-EC49-D74D-8138-42F36071D111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800" y="4650581"/>
            <a:ext cx="7440613" cy="379131"/>
          </a:xfrm>
        </p:spPr>
        <p:txBody>
          <a:bodyPr bIns="0" anchor="b"/>
          <a:lstStyle>
            <a:lvl1pPr marL="4763" indent="-1191">
              <a:spcBef>
                <a:spcPts val="56"/>
              </a:spcBef>
              <a:spcAft>
                <a:spcPts val="56"/>
              </a:spcAft>
              <a:buSzPct val="100000"/>
              <a:buFontTx/>
              <a:buNone/>
              <a:tabLst/>
              <a:defRPr sz="825" b="0">
                <a:solidFill>
                  <a:schemeClr val="tx1"/>
                </a:solidFill>
              </a:defRPr>
            </a:lvl1pPr>
            <a:lvl2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¹"/>
              <a:tabLst/>
              <a:defRPr sz="825" b="0" i="0">
                <a:solidFill>
                  <a:schemeClr val="tx1"/>
                </a:solidFill>
              </a:defRPr>
            </a:lvl2pPr>
            <a:lvl3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²"/>
              <a:tabLst/>
              <a:defRPr sz="825">
                <a:solidFill>
                  <a:schemeClr val="tx1"/>
                </a:solidFill>
              </a:defRPr>
            </a:lvl3pPr>
            <a:lvl4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³"/>
              <a:tabLst/>
              <a:defRPr sz="825">
                <a:solidFill>
                  <a:schemeClr val="tx1"/>
                </a:solidFill>
              </a:defRPr>
            </a:lvl4pPr>
            <a:lvl5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⁴"/>
              <a:tabLst/>
              <a:defRPr sz="825">
                <a:solidFill>
                  <a:schemeClr val="tx1"/>
                </a:solidFill>
              </a:defRPr>
            </a:lvl5pPr>
            <a:lvl6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⁵"/>
              <a:tabLst/>
              <a:defRPr sz="825">
                <a:solidFill>
                  <a:schemeClr val="tx1"/>
                </a:solidFill>
              </a:defRPr>
            </a:lvl6pPr>
            <a:lvl7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⁶"/>
              <a:tabLst/>
              <a:defRPr sz="825">
                <a:solidFill>
                  <a:schemeClr val="tx1"/>
                </a:solidFill>
              </a:defRPr>
            </a:lvl7pPr>
            <a:lvl8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⁷"/>
              <a:tabLst/>
              <a:defRPr sz="825">
                <a:solidFill>
                  <a:schemeClr val="tx1"/>
                </a:solidFill>
              </a:defRPr>
            </a:lvl8pPr>
            <a:lvl9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⁸"/>
              <a:tabLst/>
              <a:defRPr sz="825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/>
              <a:t>Footnotes – Levels 2-9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8AC8874-ADB0-E745-A95D-BC630D73D54E}"/>
              </a:ext>
            </a:extLst>
          </p:cNvPr>
          <p:cNvSpPr>
            <a:spLocks noGrp="1"/>
          </p:cNvSpPr>
          <p:nvPr>
            <p:ph type="dt" sz="half" idx="10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165C2A2-356A-7548-BE96-5A0D200A7CD7}"/>
              </a:ext>
            </a:extLst>
          </p:cNvPr>
          <p:cNvSpPr>
            <a:spLocks noGrp="1"/>
          </p:cNvSpPr>
          <p:nvPr>
            <p:ph type="ftr" sz="quarter" idx="10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83E43E-DF9D-AB4F-843F-9C58B110211E}"/>
              </a:ext>
            </a:extLst>
          </p:cNvPr>
          <p:cNvSpPr>
            <a:spLocks noGrp="1"/>
          </p:cNvSpPr>
          <p:nvPr>
            <p:ph type="sldNum" sz="quarter" idx="103"/>
          </p:nvPr>
        </p:nvSpPr>
        <p:spPr/>
        <p:txBody>
          <a:bodyPr/>
          <a:lstStyle/>
          <a:p>
            <a:pPr marL="9525"/>
            <a:fld id="{078C017C-E1B9-8443-B047-B08AAA027B45}" type="slidenum">
              <a:rPr lang="en-US" smtClean="0"/>
              <a:pPr marL="9525"/>
              <a:t>‹#›</a:t>
            </a:fld>
            <a:endParaRPr lang="en-US"/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A4BF7355-4363-8343-BF89-F6DDE86B3E19}"/>
              </a:ext>
            </a:extLst>
          </p:cNvPr>
          <p:cNvGrpSpPr/>
          <p:nvPr userDrawn="1"/>
        </p:nvGrpSpPr>
        <p:grpSpPr>
          <a:xfrm>
            <a:off x="9399182" y="-1"/>
            <a:ext cx="2874210" cy="5143501"/>
            <a:chOff x="9144000" y="-1"/>
            <a:chExt cx="2874210" cy="6858001"/>
          </a:xfrm>
        </p:grpSpPr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DC3EFD55-F84B-3140-8A09-E694BBDB477A}"/>
                </a:ext>
              </a:extLst>
            </p:cNvPr>
            <p:cNvSpPr/>
            <p:nvPr userDrawn="1"/>
          </p:nvSpPr>
          <p:spPr>
            <a:xfrm>
              <a:off x="9144000" y="-1"/>
              <a:ext cx="2798651" cy="6858001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050"/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F52CEB7A-9DDD-2846-8CDB-25FF2BD4E0F2}"/>
                </a:ext>
              </a:extLst>
            </p:cNvPr>
            <p:cNvGrpSpPr/>
            <p:nvPr userDrawn="1"/>
          </p:nvGrpSpPr>
          <p:grpSpPr>
            <a:xfrm>
              <a:off x="9263395" y="150289"/>
              <a:ext cx="2754815" cy="6013825"/>
              <a:chOff x="9266651" y="185338"/>
              <a:chExt cx="2754815" cy="6013825"/>
            </a:xfrm>
          </p:grpSpPr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9C639E71-F95A-7A4A-BCA4-1C7279BE09D4}"/>
                  </a:ext>
                </a:extLst>
              </p:cNvPr>
              <p:cNvSpPr txBox="1"/>
              <p:nvPr userDrawn="1"/>
            </p:nvSpPr>
            <p:spPr>
              <a:xfrm>
                <a:off x="9303325" y="185338"/>
                <a:ext cx="1808187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sz="825">
                    <a:solidFill>
                      <a:schemeClr val="bg1"/>
                    </a:solidFill>
                  </a:rPr>
                  <a:t>HOW TO ADD A RANKING GRAPHIC</a:t>
                </a:r>
              </a:p>
            </p:txBody>
          </p: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3454B777-88A5-A54A-8688-8CCFBB2CBB5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303325" y="38795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386A5866-BE39-6A48-AE63-C492C5C420BC}"/>
                  </a:ext>
                </a:extLst>
              </p:cNvPr>
              <p:cNvSpPr txBox="1"/>
              <p:nvPr userDrawn="1"/>
            </p:nvSpPr>
            <p:spPr>
              <a:xfrm>
                <a:off x="9431244" y="1246265"/>
                <a:ext cx="2297338" cy="28913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 b="1"/>
                  <a:t>Method 1: </a:t>
                </a:r>
                <a:r>
                  <a:rPr lang="en-US" sz="450" b="0"/>
                  <a:t>from file browser</a:t>
                </a:r>
              </a:p>
              <a:p>
                <a:pPr lvl="1">
                  <a:buNone/>
                </a:pPr>
                <a:r>
                  <a:rPr lang="en-US" sz="788"/>
                  <a:t>Drag the image onto the slide.</a:t>
                </a:r>
              </a:p>
            </p:txBody>
          </p:sp>
          <p:grpSp>
            <p:nvGrpSpPr>
              <p:cNvPr id="49" name="Group 48">
                <a:extLst>
                  <a:ext uri="{FF2B5EF4-FFF2-40B4-BE49-F238E27FC236}">
                    <a16:creationId xmlns:a16="http://schemas.microsoft.com/office/drawing/2014/main" id="{FBDBCBCD-7B16-ED4B-89CB-3BAB8B70B23B}"/>
                  </a:ext>
                </a:extLst>
              </p:cNvPr>
              <p:cNvGrpSpPr/>
              <p:nvPr userDrawn="1"/>
            </p:nvGrpSpPr>
            <p:grpSpPr>
              <a:xfrm>
                <a:off x="9286315" y="4787848"/>
                <a:ext cx="2735151" cy="1411315"/>
                <a:chOff x="9296567" y="4910411"/>
                <a:chExt cx="2735151" cy="1411315"/>
              </a:xfrm>
            </p:grpSpPr>
            <p:sp>
              <p:nvSpPr>
                <p:cNvPr id="64" name="Rectangle 63">
                  <a:extLst>
                    <a:ext uri="{FF2B5EF4-FFF2-40B4-BE49-F238E27FC236}">
                      <a16:creationId xmlns:a16="http://schemas.microsoft.com/office/drawing/2014/main" id="{7707291B-F5C5-E84D-BB87-EC256B761F2F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141131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  <p:sp>
              <p:nvSpPr>
                <p:cNvPr id="65" name="TextBox 64">
                  <a:extLst>
                    <a:ext uri="{FF2B5EF4-FFF2-40B4-BE49-F238E27FC236}">
                      <a16:creationId xmlns:a16="http://schemas.microsoft.com/office/drawing/2014/main" id="{47E811E1-3D01-0242-B581-B3D0E2D9E8C8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8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hange Image</a:t>
                  </a:r>
                </a:p>
              </p:txBody>
            </p:sp>
            <p:pic>
              <p:nvPicPr>
                <p:cNvPr id="66" name="Graphic 65">
                  <a:extLst>
                    <a:ext uri="{FF2B5EF4-FFF2-40B4-BE49-F238E27FC236}">
                      <a16:creationId xmlns:a16="http://schemas.microsoft.com/office/drawing/2014/main" id="{CC7533CE-AAD6-6A4F-B604-501FBC22F2F6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67" name="TextBox 66">
                  <a:extLst>
                    <a:ext uri="{FF2B5EF4-FFF2-40B4-BE49-F238E27FC236}">
                      <a16:creationId xmlns:a16="http://schemas.microsoft.com/office/drawing/2014/main" id="{DEFC58F9-83F9-F24E-8CFB-85C42B9FF28B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619194"/>
                  <a:ext cx="2422981" cy="37394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01204" lvl="1" indent="-98822" algn="l" defTabSz="6858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225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Deleting the image may bring the image placeholder to the top layer. Right-click on the placeholder and choose “Send to Back”.</a:t>
                  </a:r>
                </a:p>
              </p:txBody>
            </p:sp>
            <p:sp>
              <p:nvSpPr>
                <p:cNvPr id="68" name="TextBox 67">
                  <a:extLst>
                    <a:ext uri="{FF2B5EF4-FFF2-40B4-BE49-F238E27FC236}">
                      <a16:creationId xmlns:a16="http://schemas.microsoft.com/office/drawing/2014/main" id="{4343EFA7-F04B-AD4C-B49F-773E72FEEA0C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300350"/>
                  <a:ext cx="2422981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685800" rtl="0" eaLnBrk="1" latinLnBrk="0" hangingPunct="1">
                    <a:spcBef>
                      <a:spcPts val="150"/>
                    </a:spcBef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First, delete the existing image to reset the photo placeholder functionality.</a:t>
                  </a:r>
                </a:p>
              </p:txBody>
            </p:sp>
            <p:sp>
              <p:nvSpPr>
                <p:cNvPr id="69" name="TextBox 68">
                  <a:extLst>
                    <a:ext uri="{FF2B5EF4-FFF2-40B4-BE49-F238E27FC236}">
                      <a16:creationId xmlns:a16="http://schemas.microsoft.com/office/drawing/2014/main" id="{74414D03-81D7-8041-8A2A-5F8A32095DD0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068871"/>
                  <a:ext cx="2422981" cy="138500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685800" rtl="0" eaLnBrk="1" latinLnBrk="0" hangingPunct="1">
                    <a:spcBef>
                      <a:spcPts val="150"/>
                    </a:spcBef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You can now add a new image as normal.</a:t>
                  </a:r>
                </a:p>
              </p:txBody>
            </p:sp>
          </p:grpSp>
          <p:grpSp>
            <p:nvGrpSpPr>
              <p:cNvPr id="50" name="Group 49">
                <a:extLst>
                  <a:ext uri="{FF2B5EF4-FFF2-40B4-BE49-F238E27FC236}">
                    <a16:creationId xmlns:a16="http://schemas.microsoft.com/office/drawing/2014/main" id="{49F75BF1-C2B3-B54F-8730-6D9E5FA3B42F}"/>
                  </a:ext>
                </a:extLst>
              </p:cNvPr>
              <p:cNvGrpSpPr/>
              <p:nvPr userDrawn="1"/>
            </p:nvGrpSpPr>
            <p:grpSpPr>
              <a:xfrm>
                <a:off x="9286315" y="3431192"/>
                <a:ext cx="2735151" cy="1280928"/>
                <a:chOff x="9286315" y="6976989"/>
                <a:chExt cx="2735151" cy="1280928"/>
              </a:xfrm>
            </p:grpSpPr>
            <p:sp>
              <p:nvSpPr>
                <p:cNvPr id="59" name="Rectangle 58">
                  <a:extLst>
                    <a:ext uri="{FF2B5EF4-FFF2-40B4-BE49-F238E27FC236}">
                      <a16:creationId xmlns:a16="http://schemas.microsoft.com/office/drawing/2014/main" id="{390CF49D-B56E-F246-9B8F-7253ADBF55CF}"/>
                    </a:ext>
                  </a:extLst>
                </p:cNvPr>
                <p:cNvSpPr/>
                <p:nvPr userDrawn="1"/>
              </p:nvSpPr>
              <p:spPr>
                <a:xfrm>
                  <a:off x="9286315" y="6976989"/>
                  <a:ext cx="2735151" cy="1280928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  <p:sp>
              <p:nvSpPr>
                <p:cNvPr id="60" name="TextBox 59">
                  <a:extLst>
                    <a:ext uri="{FF2B5EF4-FFF2-40B4-BE49-F238E27FC236}">
                      <a16:creationId xmlns:a16="http://schemas.microsoft.com/office/drawing/2014/main" id="{5CA0CD73-90A4-5947-9FED-FC045B6A96DB}"/>
                    </a:ext>
                  </a:extLst>
                </p:cNvPr>
                <p:cNvSpPr txBox="1"/>
                <p:nvPr userDrawn="1"/>
              </p:nvSpPr>
              <p:spPr>
                <a:xfrm>
                  <a:off x="9652506" y="7105788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8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rop Image</a:t>
                  </a:r>
                </a:p>
              </p:txBody>
            </p:sp>
            <p:pic>
              <p:nvPicPr>
                <p:cNvPr id="61" name="Graphic 60">
                  <a:extLst>
                    <a:ext uri="{FF2B5EF4-FFF2-40B4-BE49-F238E27FC236}">
                      <a16:creationId xmlns:a16="http://schemas.microsoft.com/office/drawing/2014/main" id="{8566AC83-205E-F840-8065-FAD2AD96F821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46538" y="7116071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62" name="TextBox 61">
                  <a:extLst>
                    <a:ext uri="{FF2B5EF4-FFF2-40B4-BE49-F238E27FC236}">
                      <a16:creationId xmlns:a16="http://schemas.microsoft.com/office/drawing/2014/main" id="{DDEB2D73-0AF0-D34E-88C1-C738A08E9937}"/>
                    </a:ext>
                  </a:extLst>
                </p:cNvPr>
                <p:cNvSpPr txBox="1"/>
                <p:nvPr userDrawn="1"/>
              </p:nvSpPr>
              <p:spPr>
                <a:xfrm>
                  <a:off x="9446538" y="7369972"/>
                  <a:ext cx="2384904" cy="777136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Right-click on the image.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Choose “Crop” from the menu. (       )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Adjust the size and position of the image.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Press Esc or click outside the image area to exit the cropping mode.</a:t>
                  </a:r>
                </a:p>
              </p:txBody>
            </p:sp>
            <p:pic>
              <p:nvPicPr>
                <p:cNvPr id="63" name="Picture 62">
                  <a:extLst>
                    <a:ext uri="{FF2B5EF4-FFF2-40B4-BE49-F238E27FC236}">
                      <a16:creationId xmlns:a16="http://schemas.microsoft.com/office/drawing/2014/main" id="{CA429C1D-9A21-394C-A2DC-7BF8A319EFA6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 rotWithShape="1">
                <a:blip r:embed="rId3"/>
                <a:srcRect l="33684" t="12097" r="43371" b="20368"/>
                <a:stretch/>
              </p:blipFill>
              <p:spPr>
                <a:xfrm>
                  <a:off x="11243541" y="7454405"/>
                  <a:ext cx="136897" cy="213643"/>
                </a:xfrm>
                <a:prstGeom prst="rect">
                  <a:avLst/>
                </a:prstGeom>
                <a:ln w="19050">
                  <a:solidFill>
                    <a:schemeClr val="accent3">
                      <a:lumMod val="60000"/>
                      <a:lumOff val="40000"/>
                    </a:schemeClr>
                  </a:solidFill>
                </a:ln>
              </p:spPr>
            </p:pic>
          </p:grpSp>
          <p:grpSp>
            <p:nvGrpSpPr>
              <p:cNvPr id="51" name="Group 50">
                <a:extLst>
                  <a:ext uri="{FF2B5EF4-FFF2-40B4-BE49-F238E27FC236}">
                    <a16:creationId xmlns:a16="http://schemas.microsoft.com/office/drawing/2014/main" id="{49CCA4E1-8EF5-2549-84B1-9E3BBF0438EA}"/>
                  </a:ext>
                </a:extLst>
              </p:cNvPr>
              <p:cNvGrpSpPr/>
              <p:nvPr userDrawn="1"/>
            </p:nvGrpSpPr>
            <p:grpSpPr>
              <a:xfrm>
                <a:off x="9266651" y="510458"/>
                <a:ext cx="2617883" cy="707288"/>
                <a:chOff x="12352022" y="513115"/>
                <a:chExt cx="2617883" cy="707288"/>
              </a:xfrm>
            </p:grpSpPr>
            <p:sp>
              <p:nvSpPr>
                <p:cNvPr id="56" name="TextBox 55">
                  <a:extLst>
                    <a:ext uri="{FF2B5EF4-FFF2-40B4-BE49-F238E27FC236}">
                      <a16:creationId xmlns:a16="http://schemas.microsoft.com/office/drawing/2014/main" id="{C2E305A8-FA70-5E42-8141-397DA68944F5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375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57" name="TextBox 56">
                  <a:extLst>
                    <a:ext uri="{FF2B5EF4-FFF2-40B4-BE49-F238E27FC236}">
                      <a16:creationId xmlns:a16="http://schemas.microsoft.com/office/drawing/2014/main" id="{7ED7D884-C4B1-7941-88D0-3BC49DC16323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1033696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375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2</a:t>
                  </a:r>
                </a:p>
              </p:txBody>
            </p:sp>
            <p:sp>
              <p:nvSpPr>
                <p:cNvPr id="58" name="TextBox 57">
                  <a:extLst>
                    <a:ext uri="{FF2B5EF4-FFF2-40B4-BE49-F238E27FC236}">
                      <a16:creationId xmlns:a16="http://schemas.microsoft.com/office/drawing/2014/main" id="{FEBB71D5-7B19-FE4A-8102-B363C4A42F30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453290" cy="70728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sz="788"/>
                    <a:t>Select and download images from the Marketing Resource Database.</a:t>
                  </a:r>
                </a:p>
                <a:p>
                  <a:pPr lvl="0"/>
                  <a:r>
                    <a:rPr lang="en-US" sz="788"/>
                    <a:t>Add the image to the placeholder.</a:t>
                  </a:r>
                </a:p>
              </p:txBody>
            </p:sp>
          </p:grp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A1548EEE-06E3-CC41-9F8E-0DDC2A665391}"/>
                  </a:ext>
                </a:extLst>
              </p:cNvPr>
              <p:cNvSpPr txBox="1"/>
              <p:nvPr userDrawn="1"/>
            </p:nvSpPr>
            <p:spPr>
              <a:xfrm>
                <a:off x="9419085" y="1529570"/>
                <a:ext cx="2374733" cy="32316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/>
                  <a:t>Note: If there are multiple image placeholders on the slide, select the intended placeholder before dragging in the image to let PowerPoint know where you want it.</a:t>
                </a:r>
              </a:p>
            </p:txBody>
          </p:sp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73BFC1D0-EE7B-E04D-8255-6C212EF19379}"/>
                  </a:ext>
                </a:extLst>
              </p:cNvPr>
              <p:cNvSpPr txBox="1"/>
              <p:nvPr userDrawn="1"/>
            </p:nvSpPr>
            <p:spPr>
              <a:xfrm>
                <a:off x="9431244" y="1944827"/>
                <a:ext cx="2297338" cy="63145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/>
                  <a:t>Method 2: </a:t>
                </a:r>
                <a:r>
                  <a:rPr lang="en-US" sz="450" b="0"/>
                  <a:t>Paste from clipboard</a:t>
                </a:r>
              </a:p>
              <a:p>
                <a:pPr lvl="1">
                  <a:buNone/>
                </a:pPr>
                <a:r>
                  <a:rPr lang="en-US" sz="788"/>
                  <a:t>Select the image placeholder.</a:t>
                </a:r>
              </a:p>
              <a:p>
                <a:pPr lvl="1">
                  <a:buNone/>
                </a:pPr>
                <a:r>
                  <a:rPr lang="en-US" sz="788"/>
                  <a:t>Right-click or use keyboard shortcuts to paste the image.</a:t>
                </a:r>
              </a:p>
            </p:txBody>
          </p:sp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AFBE415B-053E-814E-B121-87F6ADDFE554}"/>
                  </a:ext>
                </a:extLst>
              </p:cNvPr>
              <p:cNvSpPr txBox="1"/>
              <p:nvPr userDrawn="1"/>
            </p:nvSpPr>
            <p:spPr>
              <a:xfrm>
                <a:off x="9431244" y="2664917"/>
                <a:ext cx="2297338" cy="4346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/>
                  <a:t>Method 3: </a:t>
                </a:r>
                <a:r>
                  <a:rPr lang="en-US" sz="450" b="0"/>
                  <a:t>Placeholder icon</a:t>
                </a:r>
              </a:p>
              <a:p>
                <a:pPr lvl="1">
                  <a:buNone/>
                </a:pPr>
                <a:r>
                  <a:rPr lang="en-US" sz="788"/>
                  <a:t>Click the image icon inside the placeholder to browse for an image.</a:t>
                </a:r>
              </a:p>
            </p:txBody>
          </p: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41737B6D-EC46-E844-88B0-2E9EB831AD16}"/>
                  </a:ext>
                </a:extLst>
              </p:cNvPr>
              <p:cNvSpPr txBox="1"/>
              <p:nvPr userDrawn="1"/>
            </p:nvSpPr>
            <p:spPr>
              <a:xfrm>
                <a:off x="9419085" y="3095481"/>
                <a:ext cx="2374733" cy="21544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/>
                  <a:t>Note: This icon may be covered by another element.</a:t>
                </a:r>
                <a:br>
                  <a:rPr lang="en-US" sz="525"/>
                </a:br>
                <a:r>
                  <a:rPr lang="en-US" sz="525"/>
                  <a:t>In this case use one of the other methods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305661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(Plain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>
            <a:extLst>
              <a:ext uri="{FF2B5EF4-FFF2-40B4-BE49-F238E27FC236}">
                <a16:creationId xmlns:a16="http://schemas.microsoft.com/office/drawing/2014/main" id="{7FB454B8-622E-D643-B38F-8FBBFCD62ABD}"/>
              </a:ext>
            </a:extLst>
          </p:cNvPr>
          <p:cNvSpPr/>
          <p:nvPr userDrawn="1"/>
        </p:nvSpPr>
        <p:spPr>
          <a:xfrm flipH="1">
            <a:off x="1868" y="1628720"/>
            <a:ext cx="8780681" cy="1361664"/>
          </a:xfrm>
          <a:custGeom>
            <a:avLst/>
            <a:gdLst>
              <a:gd name="connsiteX0" fmla="*/ 8780681 w 8780681"/>
              <a:gd name="connsiteY0" fmla="*/ 0 h 1815552"/>
              <a:gd name="connsiteX1" fmla="*/ 861570 w 8780681"/>
              <a:gd name="connsiteY1" fmla="*/ 0 h 1815552"/>
              <a:gd name="connsiteX2" fmla="*/ 0 w 8780681"/>
              <a:gd name="connsiteY2" fmla="*/ 1815552 h 1815552"/>
              <a:gd name="connsiteX3" fmla="*/ 8780681 w 8780681"/>
              <a:gd name="connsiteY3" fmla="*/ 1815552 h 1815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780681" h="1815552">
                <a:moveTo>
                  <a:pt x="8780681" y="0"/>
                </a:moveTo>
                <a:lnTo>
                  <a:pt x="861570" y="0"/>
                </a:lnTo>
                <a:lnTo>
                  <a:pt x="0" y="1815552"/>
                </a:lnTo>
                <a:lnTo>
                  <a:pt x="8780681" y="1815552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050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A7DAA80D-E5FC-834A-808A-ED4B4782F280}"/>
              </a:ext>
            </a:extLst>
          </p:cNvPr>
          <p:cNvSpPr/>
          <p:nvPr userDrawn="1"/>
        </p:nvSpPr>
        <p:spPr>
          <a:xfrm flipH="1">
            <a:off x="0" y="4522171"/>
            <a:ext cx="6781322" cy="320579"/>
          </a:xfrm>
          <a:custGeom>
            <a:avLst/>
            <a:gdLst>
              <a:gd name="connsiteX0" fmla="*/ 6781322 w 6781322"/>
              <a:gd name="connsiteY0" fmla="*/ 0 h 427439"/>
              <a:gd name="connsiteX1" fmla="*/ 6376846 w 6781322"/>
              <a:gd name="connsiteY1" fmla="*/ 0 h 427439"/>
              <a:gd name="connsiteX2" fmla="*/ 607317 w 6781322"/>
              <a:gd name="connsiteY2" fmla="*/ 0 h 427439"/>
              <a:gd name="connsiteX3" fmla="*/ 202841 w 6781322"/>
              <a:gd name="connsiteY3" fmla="*/ 0 h 427439"/>
              <a:gd name="connsiteX4" fmla="*/ 0 w 6781322"/>
              <a:gd name="connsiteY4" fmla="*/ 427439 h 427439"/>
              <a:gd name="connsiteX5" fmla="*/ 404476 w 6781322"/>
              <a:gd name="connsiteY5" fmla="*/ 427439 h 427439"/>
              <a:gd name="connsiteX6" fmla="*/ 6376846 w 6781322"/>
              <a:gd name="connsiteY6" fmla="*/ 427439 h 427439"/>
              <a:gd name="connsiteX7" fmla="*/ 6781322 w 6781322"/>
              <a:gd name="connsiteY7" fmla="*/ 427439 h 427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81322" h="427439">
                <a:moveTo>
                  <a:pt x="6781322" y="0"/>
                </a:moveTo>
                <a:lnTo>
                  <a:pt x="6376846" y="0"/>
                </a:lnTo>
                <a:lnTo>
                  <a:pt x="607317" y="0"/>
                </a:lnTo>
                <a:lnTo>
                  <a:pt x="202841" y="0"/>
                </a:lnTo>
                <a:lnTo>
                  <a:pt x="0" y="427439"/>
                </a:lnTo>
                <a:lnTo>
                  <a:pt x="404476" y="427439"/>
                </a:lnTo>
                <a:lnTo>
                  <a:pt x="6376846" y="427439"/>
                </a:lnTo>
                <a:lnTo>
                  <a:pt x="6781322" y="42743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05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0E81DABE-F464-1D49-8042-2AB1827E116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6724098" y="4474686"/>
            <a:ext cx="2151409" cy="416402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9428846E-90EC-CF46-BA3C-6E7E7F9A65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1" y="1768288"/>
            <a:ext cx="7495477" cy="1082528"/>
          </a:xfrm>
        </p:spPr>
        <p:txBody>
          <a:bodyPr anchor="ctr"/>
          <a:lstStyle>
            <a:lvl1pPr>
              <a:defRPr sz="2700"/>
            </a:lvl1pPr>
          </a:lstStyle>
          <a:p>
            <a:pPr lvl="0"/>
            <a:r>
              <a:rPr lang="en-US"/>
              <a:t>CLICK TO EDIT PRESENTATION TITLE. ALL CAPS. TWO LINES.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F8990A5-0ABE-6D46-9F28-E80369FD7B27}"/>
              </a:ext>
            </a:extLst>
          </p:cNvPr>
          <p:cNvGrpSpPr/>
          <p:nvPr userDrawn="1"/>
        </p:nvGrpSpPr>
        <p:grpSpPr>
          <a:xfrm>
            <a:off x="-256964" y="1997110"/>
            <a:ext cx="251461" cy="602901"/>
            <a:chOff x="-256404" y="360363"/>
            <a:chExt cx="251461" cy="692152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C06C7E69-FE02-E149-8BB5-434392A5681B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14" name="Straight Connector 13">
                <a:extLst>
                  <a:ext uri="{FF2B5EF4-FFF2-40B4-BE49-F238E27FC236}">
                    <a16:creationId xmlns:a16="http://schemas.microsoft.com/office/drawing/2014/main" id="{82F7D333-4D72-0B45-8D5E-E052DE17B4A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2BFE8D9F-D9D1-7446-8D2B-391634400FC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647C002-34D7-E549-BD63-5A83EC7E36CA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</p:grp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A3789A9-A137-3A4B-87B9-41698E91325A}"/>
                </a:ext>
              </a:extLst>
            </p:cNvPr>
            <p:cNvSpPr txBox="1"/>
            <p:nvPr userDrawn="1"/>
          </p:nvSpPr>
          <p:spPr>
            <a:xfrm rot="16200000">
              <a:off x="-236491" y="662666"/>
              <a:ext cx="211636" cy="80791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ITLE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F586333-824B-794D-AA8F-3C6BE5F1C65F}"/>
              </a:ext>
            </a:extLst>
          </p:cNvPr>
          <p:cNvGrpSpPr/>
          <p:nvPr userDrawn="1"/>
        </p:nvGrpSpPr>
        <p:grpSpPr>
          <a:xfrm>
            <a:off x="-256964" y="4522171"/>
            <a:ext cx="251461" cy="311229"/>
            <a:chOff x="-256404" y="360363"/>
            <a:chExt cx="251461" cy="692152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6495F36-0325-BD46-AEAC-EFD96052E078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BCB0A2ED-696C-614E-B833-27629591344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8D5C0D5A-FDE9-F944-909A-630F0DA12F1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49102644-5D60-EE47-9759-33BE1EBA9FF3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</p:grp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24E28546-B774-3A40-B34C-AAF59ECF1BD9}"/>
                </a:ext>
              </a:extLst>
            </p:cNvPr>
            <p:cNvSpPr txBox="1"/>
            <p:nvPr userDrawn="1"/>
          </p:nvSpPr>
          <p:spPr>
            <a:xfrm rot="16200000">
              <a:off x="-330312" y="662665"/>
              <a:ext cx="399276" cy="80791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DATE</a:t>
              </a:r>
            </a:p>
          </p:txBody>
        </p:sp>
      </p:grp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740F04A0-110C-5F42-B566-20EA7EADEBC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0852" y="4545906"/>
            <a:ext cx="3313429" cy="273109"/>
          </a:xfrm>
        </p:spPr>
        <p:txBody>
          <a:bodyPr anchor="ctr"/>
          <a:lstStyle>
            <a:lvl1pPr marL="7144" indent="0">
              <a:buFontTx/>
              <a:buNone/>
              <a:tabLst/>
              <a:defRPr sz="1050" b="0">
                <a:solidFill>
                  <a:schemeClr val="bg1"/>
                </a:solidFill>
              </a:defRPr>
            </a:lvl1pPr>
            <a:lvl2pPr marL="7144" indent="0">
              <a:buFontTx/>
              <a:buNone/>
              <a:tabLst/>
              <a:defRPr sz="1050">
                <a:solidFill>
                  <a:schemeClr val="bg1"/>
                </a:solidFill>
              </a:defRPr>
            </a:lvl2pPr>
            <a:lvl3pPr marL="7144" indent="0">
              <a:buFontTx/>
              <a:buNone/>
              <a:tabLst/>
              <a:defRPr sz="1050">
                <a:solidFill>
                  <a:schemeClr val="bg1"/>
                </a:solidFill>
              </a:defRPr>
            </a:lvl3pPr>
            <a:lvl4pPr marL="7144" indent="0">
              <a:buFontTx/>
              <a:buNone/>
              <a:tabLst/>
              <a:defRPr sz="1050">
                <a:solidFill>
                  <a:schemeClr val="bg1"/>
                </a:solidFill>
              </a:defRPr>
            </a:lvl4pPr>
            <a:lvl5pPr marL="7144" indent="0">
              <a:buFontTx/>
              <a:buNone/>
              <a:tabLst/>
              <a:defRPr sz="1050">
                <a:solidFill>
                  <a:schemeClr val="bg1"/>
                </a:solidFill>
              </a:defRPr>
            </a:lvl5pPr>
            <a:lvl6pPr marL="7144" indent="0">
              <a:buFontTx/>
              <a:buNone/>
              <a:tabLst/>
              <a:defRPr sz="1050">
                <a:solidFill>
                  <a:schemeClr val="bg1"/>
                </a:solidFill>
              </a:defRPr>
            </a:lvl6pPr>
            <a:lvl7pPr marL="7144" indent="0">
              <a:buFontTx/>
              <a:buNone/>
              <a:tabLst/>
              <a:defRPr sz="1050">
                <a:solidFill>
                  <a:schemeClr val="bg1"/>
                </a:solidFill>
              </a:defRPr>
            </a:lvl7pPr>
            <a:lvl8pPr marL="7144" indent="0">
              <a:buFontTx/>
              <a:buNone/>
              <a:tabLst/>
              <a:defRPr sz="1050">
                <a:solidFill>
                  <a:schemeClr val="bg1"/>
                </a:solidFill>
              </a:defRPr>
            </a:lvl8pPr>
            <a:lvl9pPr marL="7144" indent="0">
              <a:buFontTx/>
              <a:buNone/>
              <a:tabLst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date (Month DD, YYYY)</a:t>
            </a:r>
          </a:p>
        </p:txBody>
      </p:sp>
    </p:spTree>
    <p:extLst>
      <p:ext uri="{BB962C8B-B14F-4D97-AF65-F5344CB8AC3E}">
        <p14:creationId xmlns:p14="http://schemas.microsoft.com/office/powerpoint/2010/main" val="35675960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Rank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7DBB08-85DE-1A46-BB43-C98D1EBB9768}"/>
              </a:ext>
            </a:extLst>
          </p:cNvPr>
          <p:cNvCxnSpPr>
            <a:cxnSpLocks/>
          </p:cNvCxnSpPr>
          <p:nvPr userDrawn="1"/>
        </p:nvCxnSpPr>
        <p:spPr>
          <a:xfrm>
            <a:off x="4572000" y="925116"/>
            <a:ext cx="0" cy="3699272"/>
          </a:xfrm>
          <a:prstGeom prst="line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BDB01CD-2962-8340-88FB-839DBE47CB09}"/>
              </a:ext>
            </a:extLst>
          </p:cNvPr>
          <p:cNvCxnSpPr>
            <a:cxnSpLocks/>
          </p:cNvCxnSpPr>
          <p:nvPr userDrawn="1"/>
        </p:nvCxnSpPr>
        <p:spPr>
          <a:xfrm flipH="1">
            <a:off x="431802" y="2774752"/>
            <a:ext cx="8280399" cy="0"/>
          </a:xfrm>
          <a:prstGeom prst="line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1A6A8005-7996-1E40-9EA1-933A3B5C30FA}"/>
              </a:ext>
            </a:extLst>
          </p:cNvPr>
          <p:cNvSpPr/>
          <p:nvPr userDrawn="1"/>
        </p:nvSpPr>
        <p:spPr>
          <a:xfrm>
            <a:off x="4430815" y="2668863"/>
            <a:ext cx="282373" cy="2117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90A94CCC-95A0-1A46-97DB-01C300149D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Slide TITLE. ALL CAPS. TWO LINES max.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91EC1F1B-FF90-E74E-B72A-B7A125D22585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800" y="4650581"/>
            <a:ext cx="7440613" cy="379131"/>
          </a:xfrm>
        </p:spPr>
        <p:txBody>
          <a:bodyPr bIns="0" anchor="b"/>
          <a:lstStyle>
            <a:lvl1pPr marL="4763" indent="-1191">
              <a:spcBef>
                <a:spcPts val="56"/>
              </a:spcBef>
              <a:spcAft>
                <a:spcPts val="56"/>
              </a:spcAft>
              <a:buSzPct val="100000"/>
              <a:buFontTx/>
              <a:buNone/>
              <a:tabLst/>
              <a:defRPr sz="825" b="0">
                <a:solidFill>
                  <a:schemeClr val="tx1"/>
                </a:solidFill>
              </a:defRPr>
            </a:lvl1pPr>
            <a:lvl2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¹"/>
              <a:tabLst/>
              <a:defRPr sz="825" b="0" i="0">
                <a:solidFill>
                  <a:schemeClr val="tx1"/>
                </a:solidFill>
              </a:defRPr>
            </a:lvl2pPr>
            <a:lvl3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²"/>
              <a:tabLst/>
              <a:defRPr sz="825">
                <a:solidFill>
                  <a:schemeClr val="tx1"/>
                </a:solidFill>
              </a:defRPr>
            </a:lvl3pPr>
            <a:lvl4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³"/>
              <a:tabLst/>
              <a:defRPr sz="825">
                <a:solidFill>
                  <a:schemeClr val="tx1"/>
                </a:solidFill>
              </a:defRPr>
            </a:lvl4pPr>
            <a:lvl5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⁴"/>
              <a:tabLst/>
              <a:defRPr sz="825">
                <a:solidFill>
                  <a:schemeClr val="tx1"/>
                </a:solidFill>
              </a:defRPr>
            </a:lvl5pPr>
            <a:lvl6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⁵"/>
              <a:tabLst/>
              <a:defRPr sz="825">
                <a:solidFill>
                  <a:schemeClr val="tx1"/>
                </a:solidFill>
              </a:defRPr>
            </a:lvl6pPr>
            <a:lvl7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⁶"/>
              <a:tabLst/>
              <a:defRPr sz="825">
                <a:solidFill>
                  <a:schemeClr val="tx1"/>
                </a:solidFill>
              </a:defRPr>
            </a:lvl7pPr>
            <a:lvl8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⁷"/>
              <a:tabLst/>
              <a:defRPr sz="825">
                <a:solidFill>
                  <a:schemeClr val="tx1"/>
                </a:solidFill>
              </a:defRPr>
            </a:lvl8pPr>
            <a:lvl9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⁸"/>
              <a:tabLst/>
              <a:defRPr sz="825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/>
              <a:t>Footnotes – Levels 2-9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46CC54C-7B68-E241-9642-3F0AEBCE1D3E}"/>
              </a:ext>
            </a:extLst>
          </p:cNvPr>
          <p:cNvGrpSpPr/>
          <p:nvPr userDrawn="1"/>
        </p:nvGrpSpPr>
        <p:grpSpPr>
          <a:xfrm>
            <a:off x="9399182" y="-1"/>
            <a:ext cx="2874210" cy="5143501"/>
            <a:chOff x="9144000" y="-1"/>
            <a:chExt cx="2874210" cy="6858001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CAF3989-9001-1D42-BFD2-B3EE44E569C1}"/>
                </a:ext>
              </a:extLst>
            </p:cNvPr>
            <p:cNvSpPr/>
            <p:nvPr userDrawn="1"/>
          </p:nvSpPr>
          <p:spPr>
            <a:xfrm>
              <a:off x="9144000" y="-1"/>
              <a:ext cx="2798651" cy="6858001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050"/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A3F2572A-15DB-CA44-97F0-4402CF54CD81}"/>
                </a:ext>
              </a:extLst>
            </p:cNvPr>
            <p:cNvGrpSpPr/>
            <p:nvPr userDrawn="1"/>
          </p:nvGrpSpPr>
          <p:grpSpPr>
            <a:xfrm>
              <a:off x="9263395" y="150289"/>
              <a:ext cx="2754815" cy="6013825"/>
              <a:chOff x="9266651" y="185338"/>
              <a:chExt cx="2754815" cy="6013825"/>
            </a:xfrm>
          </p:grpSpPr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A831107F-3B71-A246-94F0-2CE3B86E6490}"/>
                  </a:ext>
                </a:extLst>
              </p:cNvPr>
              <p:cNvSpPr txBox="1"/>
              <p:nvPr userDrawn="1"/>
            </p:nvSpPr>
            <p:spPr>
              <a:xfrm>
                <a:off x="9303325" y="185338"/>
                <a:ext cx="1808187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sz="825">
                    <a:solidFill>
                      <a:schemeClr val="bg1"/>
                    </a:solidFill>
                  </a:rPr>
                  <a:t>HOW TO ADD A RANKING GRAPHIC</a:t>
                </a:r>
              </a:p>
            </p:txBody>
          </p: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9DCE2AC9-948B-6D42-B58B-27F86BD2882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303325" y="38795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FF9B6675-437C-2442-A0FD-A32F3ECBBE63}"/>
                  </a:ext>
                </a:extLst>
              </p:cNvPr>
              <p:cNvSpPr txBox="1"/>
              <p:nvPr userDrawn="1"/>
            </p:nvSpPr>
            <p:spPr>
              <a:xfrm>
                <a:off x="9431244" y="1246265"/>
                <a:ext cx="2297338" cy="28913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 b="1"/>
                  <a:t>Method 1: </a:t>
                </a:r>
                <a:r>
                  <a:rPr lang="en-US" sz="450" b="0"/>
                  <a:t>from file browser</a:t>
                </a:r>
              </a:p>
              <a:p>
                <a:pPr lvl="1">
                  <a:buNone/>
                </a:pPr>
                <a:r>
                  <a:rPr lang="en-US" sz="788"/>
                  <a:t>Drag the image onto the slide.</a:t>
                </a:r>
              </a:p>
            </p:txBody>
          </p:sp>
          <p:grpSp>
            <p:nvGrpSpPr>
              <p:cNvPr id="44" name="Group 43">
                <a:extLst>
                  <a:ext uri="{FF2B5EF4-FFF2-40B4-BE49-F238E27FC236}">
                    <a16:creationId xmlns:a16="http://schemas.microsoft.com/office/drawing/2014/main" id="{68EEA0A5-F3D7-6E42-8D40-78F80F4B8729}"/>
                  </a:ext>
                </a:extLst>
              </p:cNvPr>
              <p:cNvGrpSpPr/>
              <p:nvPr userDrawn="1"/>
            </p:nvGrpSpPr>
            <p:grpSpPr>
              <a:xfrm>
                <a:off x="9286315" y="4787848"/>
                <a:ext cx="2735151" cy="1411315"/>
                <a:chOff x="9296567" y="4910411"/>
                <a:chExt cx="2735151" cy="1411315"/>
              </a:xfrm>
            </p:grpSpPr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FFE7198E-18DB-3D4C-ACF1-59FA0D8A7324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141131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  <p:sp>
              <p:nvSpPr>
                <p:cNvPr id="47" name="TextBox 46">
                  <a:extLst>
                    <a:ext uri="{FF2B5EF4-FFF2-40B4-BE49-F238E27FC236}">
                      <a16:creationId xmlns:a16="http://schemas.microsoft.com/office/drawing/2014/main" id="{21063239-8381-314C-B8AB-56546C63F8AF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8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hange Image</a:t>
                  </a:r>
                </a:p>
              </p:txBody>
            </p:sp>
            <p:pic>
              <p:nvPicPr>
                <p:cNvPr id="48" name="Graphic 47">
                  <a:extLst>
                    <a:ext uri="{FF2B5EF4-FFF2-40B4-BE49-F238E27FC236}">
                      <a16:creationId xmlns:a16="http://schemas.microsoft.com/office/drawing/2014/main" id="{59CE261D-316E-0443-9C75-851826E0F947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49" name="TextBox 48">
                  <a:extLst>
                    <a:ext uri="{FF2B5EF4-FFF2-40B4-BE49-F238E27FC236}">
                      <a16:creationId xmlns:a16="http://schemas.microsoft.com/office/drawing/2014/main" id="{687D252E-574D-6641-B186-9B6BF591E53E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619194"/>
                  <a:ext cx="2422981" cy="37394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01204" lvl="1" indent="-98822" algn="l" defTabSz="6858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225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Deleting the image may bring the image placeholder to the top layer. Right-click on the placeholder and choose “Send to Back”.</a:t>
                  </a:r>
                </a:p>
              </p:txBody>
            </p:sp>
            <p:sp>
              <p:nvSpPr>
                <p:cNvPr id="50" name="TextBox 49">
                  <a:extLst>
                    <a:ext uri="{FF2B5EF4-FFF2-40B4-BE49-F238E27FC236}">
                      <a16:creationId xmlns:a16="http://schemas.microsoft.com/office/drawing/2014/main" id="{7DEC1CC5-BF48-CE46-B863-0760ACFFC917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300350"/>
                  <a:ext cx="2422981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685800" rtl="0" eaLnBrk="1" latinLnBrk="0" hangingPunct="1">
                    <a:spcBef>
                      <a:spcPts val="150"/>
                    </a:spcBef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First, delete the existing image to reset the photo placeholder functionality.</a:t>
                  </a:r>
                </a:p>
              </p:txBody>
            </p:sp>
            <p:sp>
              <p:nvSpPr>
                <p:cNvPr id="51" name="TextBox 50">
                  <a:extLst>
                    <a:ext uri="{FF2B5EF4-FFF2-40B4-BE49-F238E27FC236}">
                      <a16:creationId xmlns:a16="http://schemas.microsoft.com/office/drawing/2014/main" id="{3A57F9FD-D4F2-DA46-AD18-8A912DFB1910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068871"/>
                  <a:ext cx="2422981" cy="138500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685800" rtl="0" eaLnBrk="1" latinLnBrk="0" hangingPunct="1">
                    <a:spcBef>
                      <a:spcPts val="150"/>
                    </a:spcBef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You can now add a new image as normal.</a:t>
                  </a:r>
                </a:p>
              </p:txBody>
            </p:sp>
          </p:grpSp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AE16DB9C-E5B2-884A-9565-EEAF0C5CF9BF}"/>
                  </a:ext>
                </a:extLst>
              </p:cNvPr>
              <p:cNvGrpSpPr/>
              <p:nvPr userDrawn="1"/>
            </p:nvGrpSpPr>
            <p:grpSpPr>
              <a:xfrm>
                <a:off x="9286315" y="3431192"/>
                <a:ext cx="2735151" cy="1280928"/>
                <a:chOff x="9286315" y="6976989"/>
                <a:chExt cx="2735151" cy="1280928"/>
              </a:xfrm>
            </p:grpSpPr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25D76DD2-29C7-BD42-9BE9-1550F8B7BDF1}"/>
                    </a:ext>
                  </a:extLst>
                </p:cNvPr>
                <p:cNvSpPr/>
                <p:nvPr userDrawn="1"/>
              </p:nvSpPr>
              <p:spPr>
                <a:xfrm>
                  <a:off x="9286315" y="6976989"/>
                  <a:ext cx="2735151" cy="1280928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  <p:sp>
              <p:nvSpPr>
                <p:cNvPr id="40" name="TextBox 39">
                  <a:extLst>
                    <a:ext uri="{FF2B5EF4-FFF2-40B4-BE49-F238E27FC236}">
                      <a16:creationId xmlns:a16="http://schemas.microsoft.com/office/drawing/2014/main" id="{E7045288-2B1C-4240-9A09-B89800D81B9D}"/>
                    </a:ext>
                  </a:extLst>
                </p:cNvPr>
                <p:cNvSpPr txBox="1"/>
                <p:nvPr userDrawn="1"/>
              </p:nvSpPr>
              <p:spPr>
                <a:xfrm>
                  <a:off x="9652506" y="7105788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8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rop Image</a:t>
                  </a:r>
                </a:p>
              </p:txBody>
            </p:sp>
            <p:pic>
              <p:nvPicPr>
                <p:cNvPr id="41" name="Graphic 40">
                  <a:extLst>
                    <a:ext uri="{FF2B5EF4-FFF2-40B4-BE49-F238E27FC236}">
                      <a16:creationId xmlns:a16="http://schemas.microsoft.com/office/drawing/2014/main" id="{9C95FF09-8F95-C741-80C5-9454ECCF66FF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46538" y="7116071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42" name="TextBox 41">
                  <a:extLst>
                    <a:ext uri="{FF2B5EF4-FFF2-40B4-BE49-F238E27FC236}">
                      <a16:creationId xmlns:a16="http://schemas.microsoft.com/office/drawing/2014/main" id="{C04D2D0F-4866-1448-921A-43934368B081}"/>
                    </a:ext>
                  </a:extLst>
                </p:cNvPr>
                <p:cNvSpPr txBox="1"/>
                <p:nvPr userDrawn="1"/>
              </p:nvSpPr>
              <p:spPr>
                <a:xfrm>
                  <a:off x="9446538" y="7369972"/>
                  <a:ext cx="2384904" cy="777136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Right-click on the image.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Choose “Crop” from the menu. (       )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Adjust the size and position of the image.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Press Esc or click outside the image area to exit the cropping mode.</a:t>
                  </a:r>
                </a:p>
              </p:txBody>
            </p:sp>
            <p:pic>
              <p:nvPicPr>
                <p:cNvPr id="43" name="Picture 42">
                  <a:extLst>
                    <a:ext uri="{FF2B5EF4-FFF2-40B4-BE49-F238E27FC236}">
                      <a16:creationId xmlns:a16="http://schemas.microsoft.com/office/drawing/2014/main" id="{2DACD82A-9A31-2640-A95E-910937801137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 rotWithShape="1">
                <a:blip r:embed="rId3"/>
                <a:srcRect l="33684" t="12097" r="43371" b="20368"/>
                <a:stretch/>
              </p:blipFill>
              <p:spPr>
                <a:xfrm>
                  <a:off x="11243541" y="7454405"/>
                  <a:ext cx="136897" cy="213643"/>
                </a:xfrm>
                <a:prstGeom prst="rect">
                  <a:avLst/>
                </a:prstGeom>
                <a:ln w="19050">
                  <a:solidFill>
                    <a:schemeClr val="accent3">
                      <a:lumMod val="60000"/>
                      <a:lumOff val="40000"/>
                    </a:schemeClr>
                  </a:solidFill>
                </a:ln>
              </p:spPr>
            </p:pic>
          </p:grpSp>
          <p:grpSp>
            <p:nvGrpSpPr>
              <p:cNvPr id="31" name="Group 30">
                <a:extLst>
                  <a:ext uri="{FF2B5EF4-FFF2-40B4-BE49-F238E27FC236}">
                    <a16:creationId xmlns:a16="http://schemas.microsoft.com/office/drawing/2014/main" id="{143CC937-04D8-DE45-8D1A-A0DB7A99D293}"/>
                  </a:ext>
                </a:extLst>
              </p:cNvPr>
              <p:cNvGrpSpPr/>
              <p:nvPr userDrawn="1"/>
            </p:nvGrpSpPr>
            <p:grpSpPr>
              <a:xfrm>
                <a:off x="9266651" y="510458"/>
                <a:ext cx="2617883" cy="707288"/>
                <a:chOff x="12352022" y="513115"/>
                <a:chExt cx="2617883" cy="707288"/>
              </a:xfrm>
            </p:grpSpPr>
            <p:sp>
              <p:nvSpPr>
                <p:cNvPr id="36" name="TextBox 35">
                  <a:extLst>
                    <a:ext uri="{FF2B5EF4-FFF2-40B4-BE49-F238E27FC236}">
                      <a16:creationId xmlns:a16="http://schemas.microsoft.com/office/drawing/2014/main" id="{820E4047-347B-0646-A5C0-9C67844D04A0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375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37" name="TextBox 36">
                  <a:extLst>
                    <a:ext uri="{FF2B5EF4-FFF2-40B4-BE49-F238E27FC236}">
                      <a16:creationId xmlns:a16="http://schemas.microsoft.com/office/drawing/2014/main" id="{141E9D61-4264-1F40-8A29-25D967620479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1033696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375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2</a:t>
                  </a:r>
                </a:p>
              </p:txBody>
            </p:sp>
            <p:sp>
              <p:nvSpPr>
                <p:cNvPr id="38" name="TextBox 37">
                  <a:extLst>
                    <a:ext uri="{FF2B5EF4-FFF2-40B4-BE49-F238E27FC236}">
                      <a16:creationId xmlns:a16="http://schemas.microsoft.com/office/drawing/2014/main" id="{D0A5D692-BC3D-524B-9835-3D96650DE31A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453290" cy="70728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sz="788"/>
                    <a:t>Select and download images from the Marketing Resource Database.</a:t>
                  </a:r>
                </a:p>
                <a:p>
                  <a:pPr lvl="0"/>
                  <a:r>
                    <a:rPr lang="en-US" sz="788"/>
                    <a:t>Add the image to the placeholder.</a:t>
                  </a:r>
                </a:p>
              </p:txBody>
            </p:sp>
          </p:grp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3C323880-D720-CB4D-BE01-DE5BBD7897E2}"/>
                  </a:ext>
                </a:extLst>
              </p:cNvPr>
              <p:cNvSpPr txBox="1"/>
              <p:nvPr userDrawn="1"/>
            </p:nvSpPr>
            <p:spPr>
              <a:xfrm>
                <a:off x="9419085" y="1529570"/>
                <a:ext cx="2374733" cy="32316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/>
                  <a:t>Note: If there are multiple image placeholders on the slide, select the intended placeholder before dragging in the image to let PowerPoint know where you want it.</a:t>
                </a:r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9EF3C03E-D1A7-144E-BB81-4551B13F525D}"/>
                  </a:ext>
                </a:extLst>
              </p:cNvPr>
              <p:cNvSpPr txBox="1"/>
              <p:nvPr userDrawn="1"/>
            </p:nvSpPr>
            <p:spPr>
              <a:xfrm>
                <a:off x="9431244" y="1944827"/>
                <a:ext cx="2297338" cy="63145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/>
                  <a:t>Method 2: </a:t>
                </a:r>
                <a:r>
                  <a:rPr lang="en-US" sz="450" b="0"/>
                  <a:t>Paste from clipboard</a:t>
                </a:r>
              </a:p>
              <a:p>
                <a:pPr lvl="1">
                  <a:buNone/>
                </a:pPr>
                <a:r>
                  <a:rPr lang="en-US" sz="788"/>
                  <a:t>Select the image placeholder.</a:t>
                </a:r>
              </a:p>
              <a:p>
                <a:pPr lvl="1">
                  <a:buNone/>
                </a:pPr>
                <a:r>
                  <a:rPr lang="en-US" sz="788"/>
                  <a:t>Right-click or use keyboard shortcuts to paste the image.</a:t>
                </a: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E99FADFB-AEE1-B940-8414-BC0369A1F7EF}"/>
                  </a:ext>
                </a:extLst>
              </p:cNvPr>
              <p:cNvSpPr txBox="1"/>
              <p:nvPr userDrawn="1"/>
            </p:nvSpPr>
            <p:spPr>
              <a:xfrm>
                <a:off x="9431244" y="2664917"/>
                <a:ext cx="2297338" cy="4346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/>
                  <a:t>Method 3: </a:t>
                </a:r>
                <a:r>
                  <a:rPr lang="en-US" sz="450" b="0"/>
                  <a:t>Placeholder icon</a:t>
                </a:r>
              </a:p>
              <a:p>
                <a:pPr lvl="1">
                  <a:buNone/>
                </a:pPr>
                <a:r>
                  <a:rPr lang="en-US" sz="788"/>
                  <a:t>Click the image icon inside the placeholder to browse for an image.</a:t>
                </a: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DE441ADD-F33A-BB4A-B90B-1DE478BAD320}"/>
                  </a:ext>
                </a:extLst>
              </p:cNvPr>
              <p:cNvSpPr txBox="1"/>
              <p:nvPr userDrawn="1"/>
            </p:nvSpPr>
            <p:spPr>
              <a:xfrm>
                <a:off x="9419085" y="3095481"/>
                <a:ext cx="2374733" cy="21544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/>
                  <a:t>Note: This icon may be covered by another element.</a:t>
                </a:r>
                <a:br>
                  <a:rPr lang="en-US" sz="525"/>
                </a:br>
                <a:r>
                  <a:rPr lang="en-US" sz="525"/>
                  <a:t>In this case use one of the other methods.</a:t>
                </a:r>
              </a:p>
            </p:txBody>
          </p:sp>
        </p:grpSp>
      </p:grp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7736864-A696-CE41-ABC2-ABC572DF6E7C}"/>
              </a:ext>
            </a:extLst>
          </p:cNvPr>
          <p:cNvSpPr>
            <a:spLocks noGrp="1"/>
          </p:cNvSpPr>
          <p:nvPr>
            <p:ph type="dt" sz="half" idx="10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2336FBA-2F01-B14F-8747-8F105CF5439F}"/>
              </a:ext>
            </a:extLst>
          </p:cNvPr>
          <p:cNvSpPr>
            <a:spLocks noGrp="1"/>
          </p:cNvSpPr>
          <p:nvPr>
            <p:ph type="ftr" sz="quarter" idx="10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712BF78-99E1-2F48-8801-14B42F731A25}"/>
              </a:ext>
            </a:extLst>
          </p:cNvPr>
          <p:cNvSpPr>
            <a:spLocks noGrp="1"/>
          </p:cNvSpPr>
          <p:nvPr>
            <p:ph type="sldNum" sz="quarter" idx="106"/>
          </p:nvPr>
        </p:nvSpPr>
        <p:spPr/>
        <p:txBody>
          <a:bodyPr/>
          <a:lstStyle/>
          <a:p>
            <a:pPr marL="9525"/>
            <a:fld id="{078C017C-E1B9-8443-B047-B08AAA027B45}" type="slidenum">
              <a:rPr lang="en-US" smtClean="0"/>
              <a:pPr marL="9525"/>
              <a:t>‹#›</a:t>
            </a:fld>
            <a:endParaRPr lang="en-US"/>
          </a:p>
        </p:txBody>
      </p:sp>
      <p:sp>
        <p:nvSpPr>
          <p:cNvPr id="60" name="Picture Placeholder 59">
            <a:extLst>
              <a:ext uri="{FF2B5EF4-FFF2-40B4-BE49-F238E27FC236}">
                <a16:creationId xmlns:a16="http://schemas.microsoft.com/office/drawing/2014/main" id="{1B8EE01B-6230-DE4D-94BD-23EB640CF27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31783" y="704603"/>
            <a:ext cx="3681291" cy="2070149"/>
          </a:xfrm>
          <a:custGeom>
            <a:avLst/>
            <a:gdLst>
              <a:gd name="connsiteX0" fmla="*/ 0 w 3681291"/>
              <a:gd name="connsiteY0" fmla="*/ 2756057 h 2760199"/>
              <a:gd name="connsiteX1" fmla="*/ 4143 w 3681291"/>
              <a:gd name="connsiteY1" fmla="*/ 2756057 h 2760199"/>
              <a:gd name="connsiteX2" fmla="*/ 4143 w 3681291"/>
              <a:gd name="connsiteY2" fmla="*/ 2760199 h 2760199"/>
              <a:gd name="connsiteX3" fmla="*/ 0 w 3681291"/>
              <a:gd name="connsiteY3" fmla="*/ 2760199 h 2760199"/>
              <a:gd name="connsiteX4" fmla="*/ 0 w 3681291"/>
              <a:gd name="connsiteY4" fmla="*/ 440325 h 2760199"/>
              <a:gd name="connsiteX5" fmla="*/ 3681291 w 3681291"/>
              <a:gd name="connsiteY5" fmla="*/ 440325 h 2760199"/>
              <a:gd name="connsiteX6" fmla="*/ 3681291 w 3681291"/>
              <a:gd name="connsiteY6" fmla="*/ 2478925 h 2760199"/>
              <a:gd name="connsiteX7" fmla="*/ 0 w 3681291"/>
              <a:gd name="connsiteY7" fmla="*/ 2478925 h 2760199"/>
              <a:gd name="connsiteX8" fmla="*/ 0 w 3681291"/>
              <a:gd name="connsiteY8" fmla="*/ 0 h 2760199"/>
              <a:gd name="connsiteX9" fmla="*/ 4143 w 3681291"/>
              <a:gd name="connsiteY9" fmla="*/ 0 h 2760199"/>
              <a:gd name="connsiteX10" fmla="*/ 4143 w 3681291"/>
              <a:gd name="connsiteY10" fmla="*/ 4143 h 2760199"/>
              <a:gd name="connsiteX11" fmla="*/ 0 w 3681291"/>
              <a:gd name="connsiteY11" fmla="*/ 4143 h 2760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681291" h="2760199">
                <a:moveTo>
                  <a:pt x="0" y="2756057"/>
                </a:moveTo>
                <a:lnTo>
                  <a:pt x="4143" y="2756057"/>
                </a:lnTo>
                <a:lnTo>
                  <a:pt x="4143" y="2760199"/>
                </a:lnTo>
                <a:lnTo>
                  <a:pt x="0" y="2760199"/>
                </a:lnTo>
                <a:close/>
                <a:moveTo>
                  <a:pt x="0" y="440325"/>
                </a:moveTo>
                <a:lnTo>
                  <a:pt x="3681291" y="440325"/>
                </a:lnTo>
                <a:lnTo>
                  <a:pt x="3681291" y="2478925"/>
                </a:lnTo>
                <a:lnTo>
                  <a:pt x="0" y="2478925"/>
                </a:lnTo>
                <a:close/>
                <a:moveTo>
                  <a:pt x="0" y="0"/>
                </a:moveTo>
                <a:lnTo>
                  <a:pt x="4143" y="0"/>
                </a:lnTo>
                <a:lnTo>
                  <a:pt x="4143" y="4143"/>
                </a:lnTo>
                <a:lnTo>
                  <a:pt x="0" y="4143"/>
                </a:lnTo>
                <a:close/>
              </a:path>
            </a:pathLst>
          </a:custGeom>
          <a:solidFill>
            <a:srgbClr val="E8F3FD"/>
          </a:solidFill>
        </p:spPr>
        <p:txBody>
          <a:bodyPr wrap="square" bIns="900000" anchor="ctr">
            <a:noAutofit/>
          </a:bodyPr>
          <a:lstStyle>
            <a:lvl1pPr algn="ctr"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icon to add a pre-designed</a:t>
            </a:r>
            <a:br>
              <a:rPr lang="en-US"/>
            </a:br>
            <a:r>
              <a:rPr lang="en-US"/>
              <a:t>ranking graphic</a:t>
            </a:r>
          </a:p>
        </p:txBody>
      </p:sp>
      <p:sp>
        <p:nvSpPr>
          <p:cNvPr id="61" name="Picture Placeholder 60">
            <a:extLst>
              <a:ext uri="{FF2B5EF4-FFF2-40B4-BE49-F238E27FC236}">
                <a16:creationId xmlns:a16="http://schemas.microsoft.com/office/drawing/2014/main" id="{BF1E3154-23CD-9D4A-9429-B3D20217993C}"/>
              </a:ext>
            </a:extLst>
          </p:cNvPr>
          <p:cNvSpPr>
            <a:spLocks noGrp="1"/>
          </p:cNvSpPr>
          <p:nvPr>
            <p:ph type="pic" sz="quarter" idx="102" hasCustomPrompt="1"/>
          </p:nvPr>
        </p:nvSpPr>
        <p:spPr>
          <a:xfrm>
            <a:off x="4708375" y="704603"/>
            <a:ext cx="3681291" cy="2070149"/>
          </a:xfrm>
          <a:custGeom>
            <a:avLst/>
            <a:gdLst>
              <a:gd name="connsiteX0" fmla="*/ 0 w 3681291"/>
              <a:gd name="connsiteY0" fmla="*/ 2756057 h 2760199"/>
              <a:gd name="connsiteX1" fmla="*/ 4142 w 3681291"/>
              <a:gd name="connsiteY1" fmla="*/ 2756057 h 2760199"/>
              <a:gd name="connsiteX2" fmla="*/ 4142 w 3681291"/>
              <a:gd name="connsiteY2" fmla="*/ 2760199 h 2760199"/>
              <a:gd name="connsiteX3" fmla="*/ 0 w 3681291"/>
              <a:gd name="connsiteY3" fmla="*/ 2760199 h 2760199"/>
              <a:gd name="connsiteX4" fmla="*/ 0 w 3681291"/>
              <a:gd name="connsiteY4" fmla="*/ 440325 h 2760199"/>
              <a:gd name="connsiteX5" fmla="*/ 3681291 w 3681291"/>
              <a:gd name="connsiteY5" fmla="*/ 440325 h 2760199"/>
              <a:gd name="connsiteX6" fmla="*/ 3681291 w 3681291"/>
              <a:gd name="connsiteY6" fmla="*/ 2478925 h 2760199"/>
              <a:gd name="connsiteX7" fmla="*/ 0 w 3681291"/>
              <a:gd name="connsiteY7" fmla="*/ 2478925 h 2760199"/>
              <a:gd name="connsiteX8" fmla="*/ 0 w 3681291"/>
              <a:gd name="connsiteY8" fmla="*/ 0 h 2760199"/>
              <a:gd name="connsiteX9" fmla="*/ 4142 w 3681291"/>
              <a:gd name="connsiteY9" fmla="*/ 0 h 2760199"/>
              <a:gd name="connsiteX10" fmla="*/ 4142 w 3681291"/>
              <a:gd name="connsiteY10" fmla="*/ 4143 h 2760199"/>
              <a:gd name="connsiteX11" fmla="*/ 0 w 3681291"/>
              <a:gd name="connsiteY11" fmla="*/ 4143 h 2760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681291" h="2760199">
                <a:moveTo>
                  <a:pt x="0" y="2756057"/>
                </a:moveTo>
                <a:lnTo>
                  <a:pt x="4142" y="2756057"/>
                </a:lnTo>
                <a:lnTo>
                  <a:pt x="4142" y="2760199"/>
                </a:lnTo>
                <a:lnTo>
                  <a:pt x="0" y="2760199"/>
                </a:lnTo>
                <a:close/>
                <a:moveTo>
                  <a:pt x="0" y="440325"/>
                </a:moveTo>
                <a:lnTo>
                  <a:pt x="3681291" y="440325"/>
                </a:lnTo>
                <a:lnTo>
                  <a:pt x="3681291" y="2478925"/>
                </a:lnTo>
                <a:lnTo>
                  <a:pt x="0" y="2478925"/>
                </a:lnTo>
                <a:close/>
                <a:moveTo>
                  <a:pt x="0" y="0"/>
                </a:moveTo>
                <a:lnTo>
                  <a:pt x="4142" y="0"/>
                </a:lnTo>
                <a:lnTo>
                  <a:pt x="4142" y="4143"/>
                </a:lnTo>
                <a:lnTo>
                  <a:pt x="0" y="4143"/>
                </a:lnTo>
                <a:close/>
              </a:path>
            </a:pathLst>
          </a:custGeom>
          <a:solidFill>
            <a:srgbClr val="E8F3FD"/>
          </a:solidFill>
        </p:spPr>
        <p:txBody>
          <a:bodyPr wrap="square" bIns="900000" anchor="ctr">
            <a:noAutofit/>
          </a:bodyPr>
          <a:lstStyle>
            <a:lvl1pPr algn="ctr"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icon to add a pre-designed</a:t>
            </a:r>
            <a:br>
              <a:rPr lang="en-US"/>
            </a:br>
            <a:r>
              <a:rPr lang="en-US"/>
              <a:t>ranking graphic</a:t>
            </a:r>
          </a:p>
        </p:txBody>
      </p:sp>
      <p:sp>
        <p:nvSpPr>
          <p:cNvPr id="62" name="Picture Placeholder 61">
            <a:extLst>
              <a:ext uri="{FF2B5EF4-FFF2-40B4-BE49-F238E27FC236}">
                <a16:creationId xmlns:a16="http://schemas.microsoft.com/office/drawing/2014/main" id="{FF6A229A-95CC-4546-92E9-8BEC486139C2}"/>
              </a:ext>
            </a:extLst>
          </p:cNvPr>
          <p:cNvSpPr>
            <a:spLocks noGrp="1"/>
          </p:cNvSpPr>
          <p:nvPr>
            <p:ph type="pic" sz="quarter" idx="101" hasCustomPrompt="1"/>
          </p:nvPr>
        </p:nvSpPr>
        <p:spPr>
          <a:xfrm>
            <a:off x="431783" y="2552937"/>
            <a:ext cx="3681291" cy="2070149"/>
          </a:xfrm>
          <a:custGeom>
            <a:avLst/>
            <a:gdLst>
              <a:gd name="connsiteX0" fmla="*/ 0 w 3681291"/>
              <a:gd name="connsiteY0" fmla="*/ 2756057 h 2760199"/>
              <a:gd name="connsiteX1" fmla="*/ 4143 w 3681291"/>
              <a:gd name="connsiteY1" fmla="*/ 2756057 h 2760199"/>
              <a:gd name="connsiteX2" fmla="*/ 4143 w 3681291"/>
              <a:gd name="connsiteY2" fmla="*/ 2760199 h 2760199"/>
              <a:gd name="connsiteX3" fmla="*/ 0 w 3681291"/>
              <a:gd name="connsiteY3" fmla="*/ 2760199 h 2760199"/>
              <a:gd name="connsiteX4" fmla="*/ 0 w 3681291"/>
              <a:gd name="connsiteY4" fmla="*/ 440325 h 2760199"/>
              <a:gd name="connsiteX5" fmla="*/ 3681291 w 3681291"/>
              <a:gd name="connsiteY5" fmla="*/ 440325 h 2760199"/>
              <a:gd name="connsiteX6" fmla="*/ 3681291 w 3681291"/>
              <a:gd name="connsiteY6" fmla="*/ 2478925 h 2760199"/>
              <a:gd name="connsiteX7" fmla="*/ 0 w 3681291"/>
              <a:gd name="connsiteY7" fmla="*/ 2478925 h 2760199"/>
              <a:gd name="connsiteX8" fmla="*/ 0 w 3681291"/>
              <a:gd name="connsiteY8" fmla="*/ 0 h 2760199"/>
              <a:gd name="connsiteX9" fmla="*/ 4143 w 3681291"/>
              <a:gd name="connsiteY9" fmla="*/ 0 h 2760199"/>
              <a:gd name="connsiteX10" fmla="*/ 4143 w 3681291"/>
              <a:gd name="connsiteY10" fmla="*/ 4142 h 2760199"/>
              <a:gd name="connsiteX11" fmla="*/ 0 w 3681291"/>
              <a:gd name="connsiteY11" fmla="*/ 4142 h 2760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681291" h="2760199">
                <a:moveTo>
                  <a:pt x="0" y="2756057"/>
                </a:moveTo>
                <a:lnTo>
                  <a:pt x="4143" y="2756057"/>
                </a:lnTo>
                <a:lnTo>
                  <a:pt x="4143" y="2760199"/>
                </a:lnTo>
                <a:lnTo>
                  <a:pt x="0" y="2760199"/>
                </a:lnTo>
                <a:close/>
                <a:moveTo>
                  <a:pt x="0" y="440325"/>
                </a:moveTo>
                <a:lnTo>
                  <a:pt x="3681291" y="440325"/>
                </a:lnTo>
                <a:lnTo>
                  <a:pt x="3681291" y="2478925"/>
                </a:lnTo>
                <a:lnTo>
                  <a:pt x="0" y="2478925"/>
                </a:lnTo>
                <a:close/>
                <a:moveTo>
                  <a:pt x="0" y="0"/>
                </a:moveTo>
                <a:lnTo>
                  <a:pt x="4143" y="0"/>
                </a:lnTo>
                <a:lnTo>
                  <a:pt x="4143" y="4142"/>
                </a:lnTo>
                <a:lnTo>
                  <a:pt x="0" y="4142"/>
                </a:lnTo>
                <a:close/>
              </a:path>
            </a:pathLst>
          </a:custGeom>
          <a:solidFill>
            <a:srgbClr val="E8F3FD"/>
          </a:solidFill>
        </p:spPr>
        <p:txBody>
          <a:bodyPr wrap="square" bIns="900000" anchor="ctr">
            <a:noAutofit/>
          </a:bodyPr>
          <a:lstStyle>
            <a:lvl1pPr algn="ctr"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icon to add a pre-designed</a:t>
            </a:r>
            <a:br>
              <a:rPr lang="en-US"/>
            </a:br>
            <a:r>
              <a:rPr lang="en-US"/>
              <a:t>ranking graphic</a:t>
            </a:r>
          </a:p>
        </p:txBody>
      </p:sp>
      <p:sp>
        <p:nvSpPr>
          <p:cNvPr id="63" name="Picture Placeholder 62">
            <a:extLst>
              <a:ext uri="{FF2B5EF4-FFF2-40B4-BE49-F238E27FC236}">
                <a16:creationId xmlns:a16="http://schemas.microsoft.com/office/drawing/2014/main" id="{E1B6409D-D1DD-2941-8A39-63C9D178D519}"/>
              </a:ext>
            </a:extLst>
          </p:cNvPr>
          <p:cNvSpPr>
            <a:spLocks noGrp="1"/>
          </p:cNvSpPr>
          <p:nvPr>
            <p:ph type="pic" sz="quarter" idx="103" hasCustomPrompt="1"/>
          </p:nvPr>
        </p:nvSpPr>
        <p:spPr>
          <a:xfrm>
            <a:off x="4708375" y="2552937"/>
            <a:ext cx="3681291" cy="2070149"/>
          </a:xfrm>
          <a:custGeom>
            <a:avLst/>
            <a:gdLst>
              <a:gd name="connsiteX0" fmla="*/ 0 w 3681291"/>
              <a:gd name="connsiteY0" fmla="*/ 2756057 h 2760199"/>
              <a:gd name="connsiteX1" fmla="*/ 4142 w 3681291"/>
              <a:gd name="connsiteY1" fmla="*/ 2756057 h 2760199"/>
              <a:gd name="connsiteX2" fmla="*/ 4142 w 3681291"/>
              <a:gd name="connsiteY2" fmla="*/ 2760199 h 2760199"/>
              <a:gd name="connsiteX3" fmla="*/ 0 w 3681291"/>
              <a:gd name="connsiteY3" fmla="*/ 2760199 h 2760199"/>
              <a:gd name="connsiteX4" fmla="*/ 0 w 3681291"/>
              <a:gd name="connsiteY4" fmla="*/ 440325 h 2760199"/>
              <a:gd name="connsiteX5" fmla="*/ 3681291 w 3681291"/>
              <a:gd name="connsiteY5" fmla="*/ 440325 h 2760199"/>
              <a:gd name="connsiteX6" fmla="*/ 3681291 w 3681291"/>
              <a:gd name="connsiteY6" fmla="*/ 2478925 h 2760199"/>
              <a:gd name="connsiteX7" fmla="*/ 0 w 3681291"/>
              <a:gd name="connsiteY7" fmla="*/ 2478925 h 2760199"/>
              <a:gd name="connsiteX8" fmla="*/ 0 w 3681291"/>
              <a:gd name="connsiteY8" fmla="*/ 0 h 2760199"/>
              <a:gd name="connsiteX9" fmla="*/ 4142 w 3681291"/>
              <a:gd name="connsiteY9" fmla="*/ 0 h 2760199"/>
              <a:gd name="connsiteX10" fmla="*/ 4142 w 3681291"/>
              <a:gd name="connsiteY10" fmla="*/ 4142 h 2760199"/>
              <a:gd name="connsiteX11" fmla="*/ 0 w 3681291"/>
              <a:gd name="connsiteY11" fmla="*/ 4142 h 2760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681291" h="2760199">
                <a:moveTo>
                  <a:pt x="0" y="2756057"/>
                </a:moveTo>
                <a:lnTo>
                  <a:pt x="4142" y="2756057"/>
                </a:lnTo>
                <a:lnTo>
                  <a:pt x="4142" y="2760199"/>
                </a:lnTo>
                <a:lnTo>
                  <a:pt x="0" y="2760199"/>
                </a:lnTo>
                <a:close/>
                <a:moveTo>
                  <a:pt x="0" y="440325"/>
                </a:moveTo>
                <a:lnTo>
                  <a:pt x="3681291" y="440325"/>
                </a:lnTo>
                <a:lnTo>
                  <a:pt x="3681291" y="2478925"/>
                </a:lnTo>
                <a:lnTo>
                  <a:pt x="0" y="2478925"/>
                </a:lnTo>
                <a:close/>
                <a:moveTo>
                  <a:pt x="0" y="0"/>
                </a:moveTo>
                <a:lnTo>
                  <a:pt x="4142" y="0"/>
                </a:lnTo>
                <a:lnTo>
                  <a:pt x="4142" y="4142"/>
                </a:lnTo>
                <a:lnTo>
                  <a:pt x="0" y="4142"/>
                </a:lnTo>
                <a:close/>
              </a:path>
            </a:pathLst>
          </a:custGeom>
          <a:solidFill>
            <a:srgbClr val="E8F3FD"/>
          </a:solidFill>
        </p:spPr>
        <p:txBody>
          <a:bodyPr wrap="square" bIns="900000" anchor="ctr">
            <a:noAutofit/>
          </a:bodyPr>
          <a:lstStyle>
            <a:lvl1pPr algn="ctr"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icon to add a pre-designed</a:t>
            </a:r>
            <a:br>
              <a:rPr lang="en-US"/>
            </a:br>
            <a:r>
              <a:rPr lang="en-US"/>
              <a:t>ranking graphic</a:t>
            </a:r>
          </a:p>
        </p:txBody>
      </p:sp>
    </p:spTree>
    <p:extLst>
      <p:ext uri="{BB962C8B-B14F-4D97-AF65-F5344CB8AC3E}">
        <p14:creationId xmlns:p14="http://schemas.microsoft.com/office/powerpoint/2010/main" val="276166273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/ Supporting Graphic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A3E7C59C-7AB2-FD4B-9D3E-CA7E0D8CB2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Slide TITLE. ALL CAPS. TWO LINES max.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986F40DB-9C90-0445-8B56-2AB71F39075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03522" y="2369570"/>
            <a:ext cx="4008678" cy="2254818"/>
          </a:xfrm>
          <a:solidFill>
            <a:srgbClr val="E8F3FD"/>
          </a:solidFill>
        </p:spPr>
        <p:txBody>
          <a:bodyPr anchor="ctr"/>
          <a:lstStyle>
            <a:lvl1pPr algn="ctr"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icon to add a supporting</a:t>
            </a:r>
            <a:br>
              <a:rPr lang="en-US"/>
            </a:br>
            <a:r>
              <a:rPr lang="en-US"/>
              <a:t>graphic from the MRD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C191A018-C105-424B-88DC-E4B2664039C3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800" y="4650581"/>
            <a:ext cx="7440613" cy="379131"/>
          </a:xfrm>
        </p:spPr>
        <p:txBody>
          <a:bodyPr bIns="0" anchor="b"/>
          <a:lstStyle>
            <a:lvl1pPr marL="4763" indent="-1191">
              <a:spcBef>
                <a:spcPts val="56"/>
              </a:spcBef>
              <a:spcAft>
                <a:spcPts val="56"/>
              </a:spcAft>
              <a:buSzPct val="100000"/>
              <a:buFontTx/>
              <a:buNone/>
              <a:tabLst/>
              <a:defRPr sz="825" b="0">
                <a:solidFill>
                  <a:schemeClr val="tx1"/>
                </a:solidFill>
              </a:defRPr>
            </a:lvl1pPr>
            <a:lvl2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¹"/>
              <a:tabLst/>
              <a:defRPr sz="825" b="0" i="0">
                <a:solidFill>
                  <a:schemeClr val="tx1"/>
                </a:solidFill>
              </a:defRPr>
            </a:lvl2pPr>
            <a:lvl3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²"/>
              <a:tabLst/>
              <a:defRPr sz="825">
                <a:solidFill>
                  <a:schemeClr val="tx1"/>
                </a:solidFill>
              </a:defRPr>
            </a:lvl3pPr>
            <a:lvl4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³"/>
              <a:tabLst/>
              <a:defRPr sz="825">
                <a:solidFill>
                  <a:schemeClr val="tx1"/>
                </a:solidFill>
              </a:defRPr>
            </a:lvl4pPr>
            <a:lvl5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⁴"/>
              <a:tabLst/>
              <a:defRPr sz="825">
                <a:solidFill>
                  <a:schemeClr val="tx1"/>
                </a:solidFill>
              </a:defRPr>
            </a:lvl5pPr>
            <a:lvl6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⁵"/>
              <a:tabLst/>
              <a:defRPr sz="825">
                <a:solidFill>
                  <a:schemeClr val="tx1"/>
                </a:solidFill>
              </a:defRPr>
            </a:lvl6pPr>
            <a:lvl7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⁶"/>
              <a:tabLst/>
              <a:defRPr sz="825">
                <a:solidFill>
                  <a:schemeClr val="tx1"/>
                </a:solidFill>
              </a:defRPr>
            </a:lvl7pPr>
            <a:lvl8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⁷"/>
              <a:tabLst/>
              <a:defRPr sz="825">
                <a:solidFill>
                  <a:schemeClr val="tx1"/>
                </a:solidFill>
              </a:defRPr>
            </a:lvl8pPr>
            <a:lvl9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⁸"/>
              <a:tabLst/>
              <a:defRPr sz="825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/>
              <a:t>Footnotes – Levels 2-9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E70A2B7-CE2A-ED43-A309-9210649F358A}"/>
              </a:ext>
            </a:extLst>
          </p:cNvPr>
          <p:cNvSpPr>
            <a:spLocks noGrp="1"/>
          </p:cNvSpPr>
          <p:nvPr userDrawn="1">
            <p:ph type="dt" sz="half" idx="10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CD578981-DF62-9545-86D9-D47CA9B9AE76}"/>
              </a:ext>
            </a:extLst>
          </p:cNvPr>
          <p:cNvSpPr>
            <a:spLocks noGrp="1"/>
          </p:cNvSpPr>
          <p:nvPr userDrawn="1">
            <p:ph type="ftr" sz="quarter" idx="10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5" name="Slide Number Placeholder 34">
            <a:extLst>
              <a:ext uri="{FF2B5EF4-FFF2-40B4-BE49-F238E27FC236}">
                <a16:creationId xmlns:a16="http://schemas.microsoft.com/office/drawing/2014/main" id="{375449F1-602A-F648-BB75-81B7431F974E}"/>
              </a:ext>
            </a:extLst>
          </p:cNvPr>
          <p:cNvSpPr>
            <a:spLocks noGrp="1"/>
          </p:cNvSpPr>
          <p:nvPr userDrawn="1">
            <p:ph type="sldNum" sz="quarter" idx="108"/>
          </p:nvPr>
        </p:nvSpPr>
        <p:spPr/>
        <p:txBody>
          <a:bodyPr/>
          <a:lstStyle/>
          <a:p>
            <a:pPr marL="9525"/>
            <a:fld id="{078C017C-E1B9-8443-B047-B08AAA027B45}" type="slidenum">
              <a:rPr lang="en-US" smtClean="0"/>
              <a:pPr marL="9525"/>
              <a:t>‹#›</a:t>
            </a:fld>
            <a:endParaRPr lang="en-US"/>
          </a:p>
        </p:txBody>
      </p:sp>
      <p:sp>
        <p:nvSpPr>
          <p:cNvPr id="52" name="Text Placeholder 51">
            <a:extLst>
              <a:ext uri="{FF2B5EF4-FFF2-40B4-BE49-F238E27FC236}">
                <a16:creationId xmlns:a16="http://schemas.microsoft.com/office/drawing/2014/main" id="{32E619A7-2AA9-834A-95F7-C8972C8CA24E}"/>
              </a:ext>
            </a:extLst>
          </p:cNvPr>
          <p:cNvSpPr>
            <a:spLocks noGrp="1"/>
          </p:cNvSpPr>
          <p:nvPr>
            <p:ph type="body" sz="quarter" idx="109"/>
          </p:nvPr>
        </p:nvSpPr>
        <p:spPr>
          <a:xfrm>
            <a:off x="431800" y="925117"/>
            <a:ext cx="4010400" cy="36992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3" name="Text Placeholder 51">
            <a:extLst>
              <a:ext uri="{FF2B5EF4-FFF2-40B4-BE49-F238E27FC236}">
                <a16:creationId xmlns:a16="http://schemas.microsoft.com/office/drawing/2014/main" id="{B3C16F4A-5C29-7D42-B44A-AE0870C22033}"/>
              </a:ext>
            </a:extLst>
          </p:cNvPr>
          <p:cNvSpPr>
            <a:spLocks noGrp="1"/>
          </p:cNvSpPr>
          <p:nvPr>
            <p:ph type="body" sz="quarter" idx="110"/>
          </p:nvPr>
        </p:nvSpPr>
        <p:spPr>
          <a:xfrm>
            <a:off x="4701800" y="925116"/>
            <a:ext cx="4010400" cy="129892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439DA4F8-9BFA-1543-833F-C395E53F03C5}"/>
              </a:ext>
            </a:extLst>
          </p:cNvPr>
          <p:cNvGrpSpPr/>
          <p:nvPr userDrawn="1"/>
        </p:nvGrpSpPr>
        <p:grpSpPr>
          <a:xfrm>
            <a:off x="9399182" y="-1"/>
            <a:ext cx="2974470" cy="7327054"/>
            <a:chOff x="9399182" y="-2"/>
            <a:chExt cx="2974470" cy="9769405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6B93FAD8-1ABE-8A4B-99DB-5688A1F2FCF4}"/>
                </a:ext>
              </a:extLst>
            </p:cNvPr>
            <p:cNvSpPr/>
            <p:nvPr userDrawn="1"/>
          </p:nvSpPr>
          <p:spPr>
            <a:xfrm>
              <a:off x="9399182" y="-2"/>
              <a:ext cx="2798651" cy="965503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050"/>
            </a:p>
          </p:txBody>
        </p:sp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9A844FD7-28C9-684C-8754-5CC8523344A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41694"/>
            <a:stretch/>
          </p:blipFill>
          <p:spPr>
            <a:xfrm>
              <a:off x="9558506" y="1322104"/>
              <a:ext cx="2639328" cy="995540"/>
            </a:xfrm>
            <a:prstGeom prst="rect">
              <a:avLst/>
            </a:prstGeom>
          </p:spPr>
        </p:pic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755AFA76-AD18-3D47-851A-F91F6F1DD6C4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C097B3FB-898A-AC42-B3E4-F5A08355AA01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124" name="TextBox 123">
                <a:extLst>
                  <a:ext uri="{FF2B5EF4-FFF2-40B4-BE49-F238E27FC236}">
                    <a16:creationId xmlns:a16="http://schemas.microsoft.com/office/drawing/2014/main" id="{B57B4B0D-B8A6-3741-B898-3B5B9621F809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125" name="Picture 124">
                <a:extLst>
                  <a:ext uri="{FF2B5EF4-FFF2-40B4-BE49-F238E27FC236}">
                    <a16:creationId xmlns:a16="http://schemas.microsoft.com/office/drawing/2014/main" id="{E334168C-A1EA-0045-904E-AD3D885667B5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6AC4EB5C-A373-3142-A895-73AFE767A8C7}"/>
                </a:ext>
              </a:extLst>
            </p:cNvPr>
            <p:cNvGrpSpPr/>
            <p:nvPr userDrawn="1"/>
          </p:nvGrpSpPr>
          <p:grpSpPr>
            <a:xfrm>
              <a:off x="9521833" y="3755578"/>
              <a:ext cx="2754815" cy="6013825"/>
              <a:chOff x="9521833" y="2566288"/>
              <a:chExt cx="2754815" cy="6013825"/>
            </a:xfrm>
          </p:grpSpPr>
          <p:sp>
            <p:nvSpPr>
              <p:cNvPr id="68" name="TextBox 67">
                <a:extLst>
                  <a:ext uri="{FF2B5EF4-FFF2-40B4-BE49-F238E27FC236}">
                    <a16:creationId xmlns:a16="http://schemas.microsoft.com/office/drawing/2014/main" id="{CEA72FE0-5163-5647-91EF-188D43828BD3}"/>
                  </a:ext>
                </a:extLst>
              </p:cNvPr>
              <p:cNvSpPr txBox="1"/>
              <p:nvPr userDrawn="1"/>
            </p:nvSpPr>
            <p:spPr>
              <a:xfrm>
                <a:off x="9558507" y="2566288"/>
                <a:ext cx="1231106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sz="825">
                    <a:solidFill>
                      <a:schemeClr val="bg1"/>
                    </a:solidFill>
                  </a:rPr>
                  <a:t>HOW TO ADD AN IMAGE</a:t>
                </a:r>
              </a:p>
            </p:txBody>
          </p:sp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23870F40-EB02-D74F-9098-6F2F12C985C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558507" y="276890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8AE3F8FE-C399-5943-9055-76BEAA6F1E25}"/>
                  </a:ext>
                </a:extLst>
              </p:cNvPr>
              <p:cNvSpPr txBox="1"/>
              <p:nvPr userDrawn="1"/>
            </p:nvSpPr>
            <p:spPr>
              <a:xfrm>
                <a:off x="9686426" y="3627215"/>
                <a:ext cx="2297338" cy="28913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 b="1"/>
                  <a:t>Method 1: </a:t>
                </a:r>
                <a:r>
                  <a:rPr lang="en-US" sz="450" b="0"/>
                  <a:t>from file browser</a:t>
                </a:r>
              </a:p>
              <a:p>
                <a:pPr lvl="1">
                  <a:buNone/>
                </a:pPr>
                <a:r>
                  <a:rPr lang="en-US" sz="788"/>
                  <a:t>Drag the image onto the slide.</a:t>
                </a:r>
              </a:p>
            </p:txBody>
          </p:sp>
          <p:grpSp>
            <p:nvGrpSpPr>
              <p:cNvPr id="71" name="Group 70">
                <a:extLst>
                  <a:ext uri="{FF2B5EF4-FFF2-40B4-BE49-F238E27FC236}">
                    <a16:creationId xmlns:a16="http://schemas.microsoft.com/office/drawing/2014/main" id="{4F7E5367-61BA-0844-A18D-6E243A611B23}"/>
                  </a:ext>
                </a:extLst>
              </p:cNvPr>
              <p:cNvGrpSpPr/>
              <p:nvPr userDrawn="1"/>
            </p:nvGrpSpPr>
            <p:grpSpPr>
              <a:xfrm>
                <a:off x="9541497" y="7168798"/>
                <a:ext cx="2735151" cy="1411315"/>
                <a:chOff x="9296567" y="4910411"/>
                <a:chExt cx="2735151" cy="1411315"/>
              </a:xfrm>
            </p:grpSpPr>
            <p:sp>
              <p:nvSpPr>
                <p:cNvPr id="86" name="Rectangle 85">
                  <a:extLst>
                    <a:ext uri="{FF2B5EF4-FFF2-40B4-BE49-F238E27FC236}">
                      <a16:creationId xmlns:a16="http://schemas.microsoft.com/office/drawing/2014/main" id="{B7AB5EF7-7C57-6842-8895-9E22B85B7ACE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141131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  <p:sp>
              <p:nvSpPr>
                <p:cNvPr id="118" name="TextBox 117">
                  <a:extLst>
                    <a:ext uri="{FF2B5EF4-FFF2-40B4-BE49-F238E27FC236}">
                      <a16:creationId xmlns:a16="http://schemas.microsoft.com/office/drawing/2014/main" id="{73AAC846-7BFB-DA44-8D2C-ECB3087FB0D7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8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hange Image</a:t>
                  </a:r>
                </a:p>
              </p:txBody>
            </p:sp>
            <p:pic>
              <p:nvPicPr>
                <p:cNvPr id="119" name="Graphic 118">
                  <a:extLst>
                    <a:ext uri="{FF2B5EF4-FFF2-40B4-BE49-F238E27FC236}">
                      <a16:creationId xmlns:a16="http://schemas.microsoft.com/office/drawing/2014/main" id="{3D419284-D2BF-524C-9A3C-343AEBFCB80E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120" name="TextBox 119">
                  <a:extLst>
                    <a:ext uri="{FF2B5EF4-FFF2-40B4-BE49-F238E27FC236}">
                      <a16:creationId xmlns:a16="http://schemas.microsoft.com/office/drawing/2014/main" id="{ACB24C4B-2C93-3D41-91B0-90484A6DE11E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619194"/>
                  <a:ext cx="2422981" cy="37394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01204" lvl="1" indent="-98822" algn="l" defTabSz="6858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225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Deleting the image may bring the image placeholder to the top layer. Right-click on the placeholder and choose “Send to Back”.</a:t>
                  </a:r>
                </a:p>
              </p:txBody>
            </p:sp>
            <p:sp>
              <p:nvSpPr>
                <p:cNvPr id="121" name="TextBox 120">
                  <a:extLst>
                    <a:ext uri="{FF2B5EF4-FFF2-40B4-BE49-F238E27FC236}">
                      <a16:creationId xmlns:a16="http://schemas.microsoft.com/office/drawing/2014/main" id="{6DC0F23D-3334-F945-BE8F-138CCFB269C5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300350"/>
                  <a:ext cx="2422981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685800" rtl="0" eaLnBrk="1" latinLnBrk="0" hangingPunct="1">
                    <a:spcBef>
                      <a:spcPts val="150"/>
                    </a:spcBef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First, delete the existing image to reset the photo placeholder functionality.</a:t>
                  </a:r>
                </a:p>
              </p:txBody>
            </p:sp>
            <p:sp>
              <p:nvSpPr>
                <p:cNvPr id="122" name="TextBox 121">
                  <a:extLst>
                    <a:ext uri="{FF2B5EF4-FFF2-40B4-BE49-F238E27FC236}">
                      <a16:creationId xmlns:a16="http://schemas.microsoft.com/office/drawing/2014/main" id="{DF879D9E-3B5F-5346-BC23-2A7421B948CB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068871"/>
                  <a:ext cx="2422981" cy="138500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685800" rtl="0" eaLnBrk="1" latinLnBrk="0" hangingPunct="1">
                    <a:spcBef>
                      <a:spcPts val="150"/>
                    </a:spcBef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You can now add a new image as normal.</a:t>
                  </a:r>
                </a:p>
              </p:txBody>
            </p:sp>
          </p:grpSp>
          <p:grpSp>
            <p:nvGrpSpPr>
              <p:cNvPr id="72" name="Group 71">
                <a:extLst>
                  <a:ext uri="{FF2B5EF4-FFF2-40B4-BE49-F238E27FC236}">
                    <a16:creationId xmlns:a16="http://schemas.microsoft.com/office/drawing/2014/main" id="{806D7B6A-4525-CB4E-BEDE-27DFFFC9F273}"/>
                  </a:ext>
                </a:extLst>
              </p:cNvPr>
              <p:cNvGrpSpPr/>
              <p:nvPr userDrawn="1"/>
            </p:nvGrpSpPr>
            <p:grpSpPr>
              <a:xfrm>
                <a:off x="9541497" y="5812142"/>
                <a:ext cx="2735151" cy="1280928"/>
                <a:chOff x="9286315" y="6976989"/>
                <a:chExt cx="2735151" cy="1280928"/>
              </a:xfrm>
            </p:grpSpPr>
            <p:sp>
              <p:nvSpPr>
                <p:cNvPr id="81" name="Rectangle 80">
                  <a:extLst>
                    <a:ext uri="{FF2B5EF4-FFF2-40B4-BE49-F238E27FC236}">
                      <a16:creationId xmlns:a16="http://schemas.microsoft.com/office/drawing/2014/main" id="{3112B5BF-3EA7-EA4E-9AAA-8D3A2CCACF6E}"/>
                    </a:ext>
                  </a:extLst>
                </p:cNvPr>
                <p:cNvSpPr/>
                <p:nvPr userDrawn="1"/>
              </p:nvSpPr>
              <p:spPr>
                <a:xfrm>
                  <a:off x="9286315" y="6976989"/>
                  <a:ext cx="2735151" cy="1280928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  <p:sp>
              <p:nvSpPr>
                <p:cNvPr id="82" name="TextBox 81">
                  <a:extLst>
                    <a:ext uri="{FF2B5EF4-FFF2-40B4-BE49-F238E27FC236}">
                      <a16:creationId xmlns:a16="http://schemas.microsoft.com/office/drawing/2014/main" id="{86F17A0C-8BDE-2B4F-8AFF-BF237CA89922}"/>
                    </a:ext>
                  </a:extLst>
                </p:cNvPr>
                <p:cNvSpPr txBox="1"/>
                <p:nvPr userDrawn="1"/>
              </p:nvSpPr>
              <p:spPr>
                <a:xfrm>
                  <a:off x="9652506" y="7105788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8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rop Image</a:t>
                  </a:r>
                </a:p>
              </p:txBody>
            </p:sp>
            <p:pic>
              <p:nvPicPr>
                <p:cNvPr id="83" name="Graphic 82">
                  <a:extLst>
                    <a:ext uri="{FF2B5EF4-FFF2-40B4-BE49-F238E27FC236}">
                      <a16:creationId xmlns:a16="http://schemas.microsoft.com/office/drawing/2014/main" id="{E28C0A14-C0E0-DB4A-8A0E-0D823458A515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46538" y="7116071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84" name="TextBox 83">
                  <a:extLst>
                    <a:ext uri="{FF2B5EF4-FFF2-40B4-BE49-F238E27FC236}">
                      <a16:creationId xmlns:a16="http://schemas.microsoft.com/office/drawing/2014/main" id="{4FEAEE44-7C52-1F4B-A920-A8BD040EFC7B}"/>
                    </a:ext>
                  </a:extLst>
                </p:cNvPr>
                <p:cNvSpPr txBox="1"/>
                <p:nvPr userDrawn="1"/>
              </p:nvSpPr>
              <p:spPr>
                <a:xfrm>
                  <a:off x="9446538" y="7369972"/>
                  <a:ext cx="2384904" cy="777136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Right-click on the image.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Choose “Crop” from the menu. (       )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Adjust the size and position of the image.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Press Esc or click outside the image area to exit the cropping mode.</a:t>
                  </a:r>
                </a:p>
              </p:txBody>
            </p:sp>
            <p:pic>
              <p:nvPicPr>
                <p:cNvPr id="85" name="Picture 84">
                  <a:extLst>
                    <a:ext uri="{FF2B5EF4-FFF2-40B4-BE49-F238E27FC236}">
                      <a16:creationId xmlns:a16="http://schemas.microsoft.com/office/drawing/2014/main" id="{61D39635-4EFC-EB4F-A621-556285D7CB32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 rotWithShape="1">
                <a:blip r:embed="rId5"/>
                <a:srcRect l="33684" t="12097" r="43371" b="20368"/>
                <a:stretch/>
              </p:blipFill>
              <p:spPr>
                <a:xfrm>
                  <a:off x="11243541" y="7454405"/>
                  <a:ext cx="136897" cy="213643"/>
                </a:xfrm>
                <a:prstGeom prst="rect">
                  <a:avLst/>
                </a:prstGeom>
                <a:ln w="19050">
                  <a:solidFill>
                    <a:schemeClr val="accent3">
                      <a:lumMod val="60000"/>
                      <a:lumOff val="40000"/>
                    </a:schemeClr>
                  </a:solidFill>
                </a:ln>
              </p:spPr>
            </p:pic>
          </p:grpSp>
          <p:grpSp>
            <p:nvGrpSpPr>
              <p:cNvPr id="73" name="Group 72">
                <a:extLst>
                  <a:ext uri="{FF2B5EF4-FFF2-40B4-BE49-F238E27FC236}">
                    <a16:creationId xmlns:a16="http://schemas.microsoft.com/office/drawing/2014/main" id="{CCE30F03-6ECE-1648-965A-6C4E47AAC40C}"/>
                  </a:ext>
                </a:extLst>
              </p:cNvPr>
              <p:cNvGrpSpPr/>
              <p:nvPr userDrawn="1"/>
            </p:nvGrpSpPr>
            <p:grpSpPr>
              <a:xfrm>
                <a:off x="9521833" y="2891408"/>
                <a:ext cx="2617883" cy="707288"/>
                <a:chOff x="12352022" y="513115"/>
                <a:chExt cx="2617883" cy="707288"/>
              </a:xfrm>
            </p:grpSpPr>
            <p:sp>
              <p:nvSpPr>
                <p:cNvPr id="78" name="TextBox 77">
                  <a:extLst>
                    <a:ext uri="{FF2B5EF4-FFF2-40B4-BE49-F238E27FC236}">
                      <a16:creationId xmlns:a16="http://schemas.microsoft.com/office/drawing/2014/main" id="{1BFE1CF6-1371-7949-8C81-E85AE3364C65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375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79" name="TextBox 78">
                  <a:extLst>
                    <a:ext uri="{FF2B5EF4-FFF2-40B4-BE49-F238E27FC236}">
                      <a16:creationId xmlns:a16="http://schemas.microsoft.com/office/drawing/2014/main" id="{E7065FCA-7D52-954D-951B-AFFF617AC363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1033696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375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2</a:t>
                  </a:r>
                </a:p>
              </p:txBody>
            </p:sp>
            <p:sp>
              <p:nvSpPr>
                <p:cNvPr id="80" name="TextBox 79">
                  <a:extLst>
                    <a:ext uri="{FF2B5EF4-FFF2-40B4-BE49-F238E27FC236}">
                      <a16:creationId xmlns:a16="http://schemas.microsoft.com/office/drawing/2014/main" id="{9F81720C-5B88-6747-92DE-B4CC8D593A59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453290" cy="70728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sz="788"/>
                    <a:t>Select and download images from the Marketing Resource Database.</a:t>
                  </a:r>
                </a:p>
                <a:p>
                  <a:pPr lvl="0"/>
                  <a:r>
                    <a:rPr lang="en-US" sz="788"/>
                    <a:t>Add the image to the placeholder.</a:t>
                  </a:r>
                </a:p>
              </p:txBody>
            </p:sp>
          </p:grpSp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C66E677C-F59F-234E-94B8-5E68549A3A91}"/>
                  </a:ext>
                </a:extLst>
              </p:cNvPr>
              <p:cNvSpPr txBox="1"/>
              <p:nvPr userDrawn="1"/>
            </p:nvSpPr>
            <p:spPr>
              <a:xfrm>
                <a:off x="9674267" y="3910520"/>
                <a:ext cx="2374733" cy="32316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/>
                  <a:t>Note: If there are multiple image placeholders on the slide, select the intended placeholder before dragging in the image to let PowerPoint know where you want it.</a:t>
                </a:r>
              </a:p>
            </p:txBody>
          </p:sp>
          <p:sp>
            <p:nvSpPr>
              <p:cNvPr id="75" name="TextBox 74">
                <a:extLst>
                  <a:ext uri="{FF2B5EF4-FFF2-40B4-BE49-F238E27FC236}">
                    <a16:creationId xmlns:a16="http://schemas.microsoft.com/office/drawing/2014/main" id="{CA900B32-800E-3A4E-AD5E-D6F78E897FB7}"/>
                  </a:ext>
                </a:extLst>
              </p:cNvPr>
              <p:cNvSpPr txBox="1"/>
              <p:nvPr userDrawn="1"/>
            </p:nvSpPr>
            <p:spPr>
              <a:xfrm>
                <a:off x="9686426" y="4325777"/>
                <a:ext cx="2297338" cy="63145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/>
                  <a:t>Method 2: </a:t>
                </a:r>
                <a:r>
                  <a:rPr lang="en-US" sz="450" b="0"/>
                  <a:t>Paste from clipboard</a:t>
                </a:r>
              </a:p>
              <a:p>
                <a:pPr lvl="1">
                  <a:buNone/>
                </a:pPr>
                <a:r>
                  <a:rPr lang="en-US" sz="788"/>
                  <a:t>Select the image placeholder.</a:t>
                </a:r>
              </a:p>
              <a:p>
                <a:pPr lvl="1">
                  <a:buNone/>
                </a:pPr>
                <a:r>
                  <a:rPr lang="en-US" sz="788"/>
                  <a:t>Right-click or use keyboard shortcuts to paste the image.</a:t>
                </a:r>
              </a:p>
            </p:txBody>
          </p:sp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4C3215A6-2653-8046-96BD-835DEB1396EC}"/>
                  </a:ext>
                </a:extLst>
              </p:cNvPr>
              <p:cNvSpPr txBox="1"/>
              <p:nvPr userDrawn="1"/>
            </p:nvSpPr>
            <p:spPr>
              <a:xfrm>
                <a:off x="9686426" y="5045867"/>
                <a:ext cx="2297338" cy="4346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/>
                  <a:t>Method 3: </a:t>
                </a:r>
                <a:r>
                  <a:rPr lang="en-US" sz="450" b="0"/>
                  <a:t>Placeholder icon</a:t>
                </a:r>
              </a:p>
              <a:p>
                <a:pPr lvl="1">
                  <a:buNone/>
                </a:pPr>
                <a:r>
                  <a:rPr lang="en-US" sz="788"/>
                  <a:t>Click the image icon inside the placeholder to browse for an image.</a:t>
                </a:r>
              </a:p>
            </p:txBody>
          </p:sp>
          <p:sp>
            <p:nvSpPr>
              <p:cNvPr id="77" name="TextBox 76">
                <a:extLst>
                  <a:ext uri="{FF2B5EF4-FFF2-40B4-BE49-F238E27FC236}">
                    <a16:creationId xmlns:a16="http://schemas.microsoft.com/office/drawing/2014/main" id="{4C82AA2D-B8C0-024B-860E-F3632B97576C}"/>
                  </a:ext>
                </a:extLst>
              </p:cNvPr>
              <p:cNvSpPr txBox="1"/>
              <p:nvPr userDrawn="1"/>
            </p:nvSpPr>
            <p:spPr>
              <a:xfrm>
                <a:off x="9674267" y="5476431"/>
                <a:ext cx="2374733" cy="21544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/>
                  <a:t>Note: This icon may be covered by another element.</a:t>
                </a:r>
                <a:br>
                  <a:rPr lang="en-US" sz="525"/>
                </a:br>
                <a:r>
                  <a:rPr lang="en-US" sz="525"/>
                  <a:t>In this case use one of the other methods.</a:t>
                </a:r>
              </a:p>
            </p:txBody>
          </p:sp>
        </p:grp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370B81F6-838F-D747-95BA-4C229DAF5126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1670329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sz="825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CB220E15-3482-4F41-A26F-2953EA355B4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515E1C38-696D-EF44-A4BC-68688B6A2140}"/>
                </a:ext>
              </a:extLst>
            </p:cNvPr>
            <p:cNvGrpSpPr/>
            <p:nvPr userDrawn="1"/>
          </p:nvGrpSpPr>
          <p:grpSpPr>
            <a:xfrm>
              <a:off x="9554253" y="2414886"/>
              <a:ext cx="2819399" cy="1181890"/>
              <a:chOff x="9541498" y="3352649"/>
              <a:chExt cx="2819399" cy="1181890"/>
            </a:xfrm>
          </p:grpSpPr>
          <p:grpSp>
            <p:nvGrpSpPr>
              <p:cNvPr id="61" name="Group 60">
                <a:extLst>
                  <a:ext uri="{FF2B5EF4-FFF2-40B4-BE49-F238E27FC236}">
                    <a16:creationId xmlns:a16="http://schemas.microsoft.com/office/drawing/2014/main" id="{BA17E685-1C3A-5D40-866A-F707A720ED89}"/>
                  </a:ext>
                </a:extLst>
              </p:cNvPr>
              <p:cNvGrpSpPr/>
              <p:nvPr userDrawn="1"/>
            </p:nvGrpSpPr>
            <p:grpSpPr>
              <a:xfrm>
                <a:off x="9541498" y="3352649"/>
                <a:ext cx="2735150" cy="1181890"/>
                <a:chOff x="9541498" y="3751132"/>
                <a:chExt cx="2735150" cy="1181890"/>
              </a:xfrm>
            </p:grpSpPr>
            <p:grpSp>
              <p:nvGrpSpPr>
                <p:cNvPr id="63" name="Group 62">
                  <a:extLst>
                    <a:ext uri="{FF2B5EF4-FFF2-40B4-BE49-F238E27FC236}">
                      <a16:creationId xmlns:a16="http://schemas.microsoft.com/office/drawing/2014/main" id="{708B5411-EB9C-DE44-A78A-CB78C658CE4F}"/>
                    </a:ext>
                  </a:extLst>
                </p:cNvPr>
                <p:cNvGrpSpPr/>
                <p:nvPr userDrawn="1"/>
              </p:nvGrpSpPr>
              <p:grpSpPr>
                <a:xfrm>
                  <a:off x="9541498" y="3751132"/>
                  <a:ext cx="2735150" cy="1181890"/>
                  <a:chOff x="9296568" y="4910411"/>
                  <a:chExt cx="2735150" cy="1181890"/>
                </a:xfrm>
              </p:grpSpPr>
              <p:sp>
                <p:nvSpPr>
                  <p:cNvPr id="65" name="Rectangle 64">
                    <a:extLst>
                      <a:ext uri="{FF2B5EF4-FFF2-40B4-BE49-F238E27FC236}">
                        <a16:creationId xmlns:a16="http://schemas.microsoft.com/office/drawing/2014/main" id="{100AB9A3-51FF-BC40-B7CC-8EE421C3F661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9296568" y="4910411"/>
                    <a:ext cx="2735150" cy="1181890"/>
                  </a:xfrm>
                  <a:prstGeom prst="rect">
                    <a:avLst/>
                  </a:prstGeom>
                  <a:solidFill>
                    <a:srgbClr val="FFFADF"/>
                  </a:solidFill>
                  <a:ln w="25400">
                    <a:solidFill>
                      <a:schemeClr val="tx1">
                        <a:lumMod val="65000"/>
                        <a:lumOff val="3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50"/>
                  </a:p>
                </p:txBody>
              </p:sp>
              <p:sp>
                <p:nvSpPr>
                  <p:cNvPr id="66" name="TextBox 65">
                    <a:extLst>
                      <a:ext uri="{FF2B5EF4-FFF2-40B4-BE49-F238E27FC236}">
                        <a16:creationId xmlns:a16="http://schemas.microsoft.com/office/drawing/2014/main" id="{2C58CAD7-CFE6-3E47-9821-B56722BF0476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662758" y="5046087"/>
                    <a:ext cx="2211394" cy="16927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 algn="l"/>
                    <a:r>
                      <a:rPr lang="en-US" sz="825">
                        <a:solidFill>
                          <a:schemeClr val="accent2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Numbered lists</a:t>
                    </a:r>
                  </a:p>
                </p:txBody>
              </p:sp>
              <p:sp>
                <p:nvSpPr>
                  <p:cNvPr id="67" name="TextBox 66">
                    <a:extLst>
                      <a:ext uri="{FF2B5EF4-FFF2-40B4-BE49-F238E27FC236}">
                        <a16:creationId xmlns:a16="http://schemas.microsoft.com/office/drawing/2014/main" id="{27700D65-D0AA-CC46-A945-F26784AD6A6A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471806" y="5300349"/>
                    <a:ext cx="964050" cy="55399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>
                      <a:spcBef>
                        <a:spcPts val="150"/>
                      </a:spcBef>
                    </a:pPr>
                    <a:r>
                      <a:rPr lang="en-US" sz="675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For instruction on formatting numbered lists, see the most up-to-date Asset File.</a:t>
                    </a:r>
                  </a:p>
                </p:txBody>
              </p:sp>
            </p:grpSp>
            <p:pic>
              <p:nvPicPr>
                <p:cNvPr id="64" name="Graphic 63">
                  <a:extLst>
                    <a:ext uri="{FF2B5EF4-FFF2-40B4-BE49-F238E27FC236}">
                      <a16:creationId xmlns:a16="http://schemas.microsoft.com/office/drawing/2014/main" id="{C2A770D0-9E7E-A948-806C-6BFD3E5A41B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686425" y="3891259"/>
                  <a:ext cx="170340" cy="170340"/>
                </a:xfrm>
                <a:prstGeom prst="rect">
                  <a:avLst/>
                </a:prstGeom>
              </p:spPr>
            </p:pic>
          </p:grpSp>
          <p:pic>
            <p:nvPicPr>
              <p:cNvPr id="62" name="Picture 61">
                <a:extLst>
                  <a:ext uri="{FF2B5EF4-FFF2-40B4-BE49-F238E27FC236}">
                    <a16:creationId xmlns:a16="http://schemas.microsoft.com/office/drawing/2014/main" id="{8385943A-95B3-1445-B5C9-27F30D8DF83D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7"/>
              <a:srcRect r="30584"/>
              <a:stretch/>
            </p:blipFill>
            <p:spPr>
              <a:xfrm>
                <a:off x="10767220" y="3758285"/>
                <a:ext cx="1593677" cy="684608"/>
              </a:xfrm>
              <a:prstGeom prst="rect">
                <a:avLst/>
              </a:prstGeom>
              <a:solidFill>
                <a:srgbClr val="FFFADF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94401049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/ Supporting Graphic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A3E7C59C-7AB2-FD4B-9D3E-CA7E0D8CB2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Slide TITLE. ALL CAPS. TWO LINES max.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986F40DB-9C90-0445-8B56-2AB71F39075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33522" y="925116"/>
            <a:ext cx="4008678" cy="2254818"/>
          </a:xfrm>
          <a:solidFill>
            <a:srgbClr val="E8F3FD"/>
          </a:solidFill>
        </p:spPr>
        <p:txBody>
          <a:bodyPr anchor="ctr"/>
          <a:lstStyle>
            <a:lvl1pPr algn="ctr"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icon to add a supporting</a:t>
            </a:r>
            <a:br>
              <a:rPr lang="en-US"/>
            </a:br>
            <a:r>
              <a:rPr lang="en-US"/>
              <a:t>graphic from the MRD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8A77B1E8-8952-D848-91B2-927E1D27FF9C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800" y="4650581"/>
            <a:ext cx="7440613" cy="379131"/>
          </a:xfrm>
        </p:spPr>
        <p:txBody>
          <a:bodyPr bIns="0" anchor="b"/>
          <a:lstStyle>
            <a:lvl1pPr marL="4763" indent="-1191">
              <a:spcBef>
                <a:spcPts val="56"/>
              </a:spcBef>
              <a:spcAft>
                <a:spcPts val="56"/>
              </a:spcAft>
              <a:buSzPct val="100000"/>
              <a:buFontTx/>
              <a:buNone/>
              <a:tabLst/>
              <a:defRPr sz="825" b="0">
                <a:solidFill>
                  <a:schemeClr val="tx1"/>
                </a:solidFill>
              </a:defRPr>
            </a:lvl1pPr>
            <a:lvl2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¹"/>
              <a:tabLst/>
              <a:defRPr sz="825" b="0" i="0">
                <a:solidFill>
                  <a:schemeClr val="tx1"/>
                </a:solidFill>
              </a:defRPr>
            </a:lvl2pPr>
            <a:lvl3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²"/>
              <a:tabLst/>
              <a:defRPr sz="825">
                <a:solidFill>
                  <a:schemeClr val="tx1"/>
                </a:solidFill>
              </a:defRPr>
            </a:lvl3pPr>
            <a:lvl4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³"/>
              <a:tabLst/>
              <a:defRPr sz="825">
                <a:solidFill>
                  <a:schemeClr val="tx1"/>
                </a:solidFill>
              </a:defRPr>
            </a:lvl4pPr>
            <a:lvl5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⁴"/>
              <a:tabLst/>
              <a:defRPr sz="825">
                <a:solidFill>
                  <a:schemeClr val="tx1"/>
                </a:solidFill>
              </a:defRPr>
            </a:lvl5pPr>
            <a:lvl6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⁵"/>
              <a:tabLst/>
              <a:defRPr sz="825">
                <a:solidFill>
                  <a:schemeClr val="tx1"/>
                </a:solidFill>
              </a:defRPr>
            </a:lvl6pPr>
            <a:lvl7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⁶"/>
              <a:tabLst/>
              <a:defRPr sz="825">
                <a:solidFill>
                  <a:schemeClr val="tx1"/>
                </a:solidFill>
              </a:defRPr>
            </a:lvl7pPr>
            <a:lvl8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⁷"/>
              <a:tabLst/>
              <a:defRPr sz="825">
                <a:solidFill>
                  <a:schemeClr val="tx1"/>
                </a:solidFill>
              </a:defRPr>
            </a:lvl8pPr>
            <a:lvl9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⁸"/>
              <a:tabLst/>
              <a:defRPr sz="825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/>
              <a:t>Footnotes – Levels 2-9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245AA9-9EB0-A44D-9F6A-AE5544DD7AF4}"/>
              </a:ext>
            </a:extLst>
          </p:cNvPr>
          <p:cNvSpPr>
            <a:spLocks noGrp="1"/>
          </p:cNvSpPr>
          <p:nvPr>
            <p:ph type="dt" sz="half" idx="10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076AD30-9E9D-AD46-8DB1-E1FA38235D98}"/>
              </a:ext>
            </a:extLst>
          </p:cNvPr>
          <p:cNvSpPr>
            <a:spLocks noGrp="1"/>
          </p:cNvSpPr>
          <p:nvPr>
            <p:ph type="ftr" sz="quarter" idx="10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41D4FA9-B8EC-024E-9A3B-D9D5C8888BDC}"/>
              </a:ext>
            </a:extLst>
          </p:cNvPr>
          <p:cNvSpPr>
            <a:spLocks noGrp="1"/>
          </p:cNvSpPr>
          <p:nvPr>
            <p:ph type="sldNum" sz="quarter" idx="108"/>
          </p:nvPr>
        </p:nvSpPr>
        <p:spPr/>
        <p:txBody>
          <a:bodyPr/>
          <a:lstStyle/>
          <a:p>
            <a:pPr marL="9525"/>
            <a:fld id="{078C017C-E1B9-8443-B047-B08AAA027B45}" type="slidenum">
              <a:rPr lang="en-US" smtClean="0"/>
              <a:pPr marL="9525"/>
              <a:t>‹#›</a:t>
            </a:fld>
            <a:endParaRPr lang="en-US"/>
          </a:p>
        </p:txBody>
      </p:sp>
      <p:sp>
        <p:nvSpPr>
          <p:cNvPr id="83" name="Text Placeholder 51">
            <a:extLst>
              <a:ext uri="{FF2B5EF4-FFF2-40B4-BE49-F238E27FC236}">
                <a16:creationId xmlns:a16="http://schemas.microsoft.com/office/drawing/2014/main" id="{9F65596F-ECB2-1345-91E2-F5F3E3B039BA}"/>
              </a:ext>
            </a:extLst>
          </p:cNvPr>
          <p:cNvSpPr>
            <a:spLocks noGrp="1"/>
          </p:cNvSpPr>
          <p:nvPr>
            <p:ph type="body" sz="quarter" idx="109"/>
          </p:nvPr>
        </p:nvSpPr>
        <p:spPr>
          <a:xfrm>
            <a:off x="431800" y="3320041"/>
            <a:ext cx="4010400" cy="1304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4" name="Text Placeholder 51">
            <a:extLst>
              <a:ext uri="{FF2B5EF4-FFF2-40B4-BE49-F238E27FC236}">
                <a16:creationId xmlns:a16="http://schemas.microsoft.com/office/drawing/2014/main" id="{7E8C46CA-959B-CA4A-8775-B431C35E84F3}"/>
              </a:ext>
            </a:extLst>
          </p:cNvPr>
          <p:cNvSpPr>
            <a:spLocks noGrp="1"/>
          </p:cNvSpPr>
          <p:nvPr>
            <p:ph type="body" sz="quarter" idx="110"/>
          </p:nvPr>
        </p:nvSpPr>
        <p:spPr>
          <a:xfrm>
            <a:off x="4701800" y="925116"/>
            <a:ext cx="4010400" cy="36992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BC6A50FF-7566-1649-8705-A39247ECBA70}"/>
              </a:ext>
            </a:extLst>
          </p:cNvPr>
          <p:cNvGrpSpPr/>
          <p:nvPr userDrawn="1"/>
        </p:nvGrpSpPr>
        <p:grpSpPr>
          <a:xfrm>
            <a:off x="9399182" y="-1"/>
            <a:ext cx="2974470" cy="7327054"/>
            <a:chOff x="9399182" y="-2"/>
            <a:chExt cx="2974470" cy="9769405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A5924230-3214-F841-925E-C150247BC60C}"/>
                </a:ext>
              </a:extLst>
            </p:cNvPr>
            <p:cNvSpPr/>
            <p:nvPr userDrawn="1"/>
          </p:nvSpPr>
          <p:spPr>
            <a:xfrm>
              <a:off x="9399182" y="-2"/>
              <a:ext cx="2798651" cy="965503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050"/>
            </a:p>
          </p:txBody>
        </p:sp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F7C92D88-EA4F-DF4B-B033-7E4AA28E420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41694"/>
            <a:stretch/>
          </p:blipFill>
          <p:spPr>
            <a:xfrm>
              <a:off x="9558506" y="1322104"/>
              <a:ext cx="2639328" cy="995540"/>
            </a:xfrm>
            <a:prstGeom prst="rect">
              <a:avLst/>
            </a:prstGeom>
          </p:spPr>
        </p:pic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EA037373-1C4C-FB46-A237-6166750D09BA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6A89438A-C37A-8241-BE0E-FCBC1E6AC75D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124" name="TextBox 123">
                <a:extLst>
                  <a:ext uri="{FF2B5EF4-FFF2-40B4-BE49-F238E27FC236}">
                    <a16:creationId xmlns:a16="http://schemas.microsoft.com/office/drawing/2014/main" id="{150A96AB-ACCE-A84E-9E34-865BB0CDBC63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125" name="Picture 124">
                <a:extLst>
                  <a:ext uri="{FF2B5EF4-FFF2-40B4-BE49-F238E27FC236}">
                    <a16:creationId xmlns:a16="http://schemas.microsoft.com/office/drawing/2014/main" id="{80A686FA-35D4-E54F-84D1-E5A1C088C2E4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5B49B299-27B8-0543-B955-B39AD77B717C}"/>
                </a:ext>
              </a:extLst>
            </p:cNvPr>
            <p:cNvGrpSpPr/>
            <p:nvPr userDrawn="1"/>
          </p:nvGrpSpPr>
          <p:grpSpPr>
            <a:xfrm>
              <a:off x="9521833" y="3755578"/>
              <a:ext cx="2754815" cy="6013825"/>
              <a:chOff x="9521833" y="2566288"/>
              <a:chExt cx="2754815" cy="6013825"/>
            </a:xfrm>
          </p:grpSpPr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2AF2070A-EFB0-8148-9A83-076562E3FA5D}"/>
                  </a:ext>
                </a:extLst>
              </p:cNvPr>
              <p:cNvSpPr txBox="1"/>
              <p:nvPr userDrawn="1"/>
            </p:nvSpPr>
            <p:spPr>
              <a:xfrm>
                <a:off x="9558507" y="2566288"/>
                <a:ext cx="1231106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sz="825">
                    <a:solidFill>
                      <a:schemeClr val="bg1"/>
                    </a:solidFill>
                  </a:rPr>
                  <a:t>HOW TO ADD AN IMAGE</a:t>
                </a:r>
              </a:p>
            </p:txBody>
          </p:sp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BFFB8F6D-33C7-B84A-8C53-1C8BCABB335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558507" y="276890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442299A1-A12A-4648-BADF-C112B5112970}"/>
                  </a:ext>
                </a:extLst>
              </p:cNvPr>
              <p:cNvSpPr txBox="1"/>
              <p:nvPr userDrawn="1"/>
            </p:nvSpPr>
            <p:spPr>
              <a:xfrm>
                <a:off x="9686426" y="3627215"/>
                <a:ext cx="2297338" cy="28913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 b="1"/>
                  <a:t>Method 1: </a:t>
                </a:r>
                <a:r>
                  <a:rPr lang="en-US" sz="450" b="0"/>
                  <a:t>from file browser</a:t>
                </a:r>
              </a:p>
              <a:p>
                <a:pPr lvl="1">
                  <a:buNone/>
                </a:pPr>
                <a:r>
                  <a:rPr lang="en-US" sz="788"/>
                  <a:t>Drag the image onto the slide.</a:t>
                </a:r>
              </a:p>
            </p:txBody>
          </p:sp>
          <p:grpSp>
            <p:nvGrpSpPr>
              <p:cNvPr id="67" name="Group 66">
                <a:extLst>
                  <a:ext uri="{FF2B5EF4-FFF2-40B4-BE49-F238E27FC236}">
                    <a16:creationId xmlns:a16="http://schemas.microsoft.com/office/drawing/2014/main" id="{FB2A614A-0DFB-1746-9449-BC673274DC69}"/>
                  </a:ext>
                </a:extLst>
              </p:cNvPr>
              <p:cNvGrpSpPr/>
              <p:nvPr userDrawn="1"/>
            </p:nvGrpSpPr>
            <p:grpSpPr>
              <a:xfrm>
                <a:off x="9541497" y="7168798"/>
                <a:ext cx="2735151" cy="1411315"/>
                <a:chOff x="9296567" y="4910411"/>
                <a:chExt cx="2735151" cy="1411315"/>
              </a:xfrm>
            </p:grpSpPr>
            <p:sp>
              <p:nvSpPr>
                <p:cNvPr id="82" name="Rectangle 81">
                  <a:extLst>
                    <a:ext uri="{FF2B5EF4-FFF2-40B4-BE49-F238E27FC236}">
                      <a16:creationId xmlns:a16="http://schemas.microsoft.com/office/drawing/2014/main" id="{08B2DC79-72E8-F448-B26F-22C25E78DE4E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141131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  <p:sp>
              <p:nvSpPr>
                <p:cNvPr id="118" name="TextBox 117">
                  <a:extLst>
                    <a:ext uri="{FF2B5EF4-FFF2-40B4-BE49-F238E27FC236}">
                      <a16:creationId xmlns:a16="http://schemas.microsoft.com/office/drawing/2014/main" id="{A012B685-7A1B-EE4A-B48C-476DD149037F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8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hange Image</a:t>
                  </a:r>
                </a:p>
              </p:txBody>
            </p:sp>
            <p:pic>
              <p:nvPicPr>
                <p:cNvPr id="119" name="Graphic 118">
                  <a:extLst>
                    <a:ext uri="{FF2B5EF4-FFF2-40B4-BE49-F238E27FC236}">
                      <a16:creationId xmlns:a16="http://schemas.microsoft.com/office/drawing/2014/main" id="{E42684EA-260D-FE4C-9DB5-ABC6A5EA89AE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120" name="TextBox 119">
                  <a:extLst>
                    <a:ext uri="{FF2B5EF4-FFF2-40B4-BE49-F238E27FC236}">
                      <a16:creationId xmlns:a16="http://schemas.microsoft.com/office/drawing/2014/main" id="{229045D4-3E64-B747-9B77-8324211D1AB5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619194"/>
                  <a:ext cx="2422981" cy="37394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01204" lvl="1" indent="-98822" algn="l" defTabSz="6858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225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Deleting the image may bring the image placeholder to the top layer. Right-click on the placeholder and choose “Send to Back”.</a:t>
                  </a:r>
                </a:p>
              </p:txBody>
            </p:sp>
            <p:sp>
              <p:nvSpPr>
                <p:cNvPr id="121" name="TextBox 120">
                  <a:extLst>
                    <a:ext uri="{FF2B5EF4-FFF2-40B4-BE49-F238E27FC236}">
                      <a16:creationId xmlns:a16="http://schemas.microsoft.com/office/drawing/2014/main" id="{7C8C5E78-2D68-0F4A-9771-9A181870404F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300350"/>
                  <a:ext cx="2422981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685800" rtl="0" eaLnBrk="1" latinLnBrk="0" hangingPunct="1">
                    <a:spcBef>
                      <a:spcPts val="150"/>
                    </a:spcBef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First, delete the existing image to reset the photo placeholder functionality.</a:t>
                  </a:r>
                </a:p>
              </p:txBody>
            </p:sp>
            <p:sp>
              <p:nvSpPr>
                <p:cNvPr id="122" name="TextBox 121">
                  <a:extLst>
                    <a:ext uri="{FF2B5EF4-FFF2-40B4-BE49-F238E27FC236}">
                      <a16:creationId xmlns:a16="http://schemas.microsoft.com/office/drawing/2014/main" id="{72ACF7AE-340C-034B-A293-B81D7EDAC4B4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068871"/>
                  <a:ext cx="2422981" cy="138500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685800" rtl="0" eaLnBrk="1" latinLnBrk="0" hangingPunct="1">
                    <a:spcBef>
                      <a:spcPts val="150"/>
                    </a:spcBef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You can now add a new image as normal.</a:t>
                  </a:r>
                </a:p>
              </p:txBody>
            </p:sp>
          </p:grpSp>
          <p:grpSp>
            <p:nvGrpSpPr>
              <p:cNvPr id="68" name="Group 67">
                <a:extLst>
                  <a:ext uri="{FF2B5EF4-FFF2-40B4-BE49-F238E27FC236}">
                    <a16:creationId xmlns:a16="http://schemas.microsoft.com/office/drawing/2014/main" id="{9D428D69-5C21-954F-AAA0-6C95377428A6}"/>
                  </a:ext>
                </a:extLst>
              </p:cNvPr>
              <p:cNvGrpSpPr/>
              <p:nvPr userDrawn="1"/>
            </p:nvGrpSpPr>
            <p:grpSpPr>
              <a:xfrm>
                <a:off x="9541497" y="5812142"/>
                <a:ext cx="2735151" cy="1280928"/>
                <a:chOff x="9286315" y="6976989"/>
                <a:chExt cx="2735151" cy="1280928"/>
              </a:xfrm>
            </p:grpSpPr>
            <p:sp>
              <p:nvSpPr>
                <p:cNvPr id="77" name="Rectangle 76">
                  <a:extLst>
                    <a:ext uri="{FF2B5EF4-FFF2-40B4-BE49-F238E27FC236}">
                      <a16:creationId xmlns:a16="http://schemas.microsoft.com/office/drawing/2014/main" id="{D2A8D114-EB36-D047-9E19-6917F77AB8AC}"/>
                    </a:ext>
                  </a:extLst>
                </p:cNvPr>
                <p:cNvSpPr/>
                <p:nvPr userDrawn="1"/>
              </p:nvSpPr>
              <p:spPr>
                <a:xfrm>
                  <a:off x="9286315" y="6976989"/>
                  <a:ext cx="2735151" cy="1280928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  <p:sp>
              <p:nvSpPr>
                <p:cNvPr id="78" name="TextBox 77">
                  <a:extLst>
                    <a:ext uri="{FF2B5EF4-FFF2-40B4-BE49-F238E27FC236}">
                      <a16:creationId xmlns:a16="http://schemas.microsoft.com/office/drawing/2014/main" id="{DE249B37-1CBD-DE4C-B078-D171107C8DFB}"/>
                    </a:ext>
                  </a:extLst>
                </p:cNvPr>
                <p:cNvSpPr txBox="1"/>
                <p:nvPr userDrawn="1"/>
              </p:nvSpPr>
              <p:spPr>
                <a:xfrm>
                  <a:off x="9652506" y="7105788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8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rop Image</a:t>
                  </a:r>
                </a:p>
              </p:txBody>
            </p:sp>
            <p:pic>
              <p:nvPicPr>
                <p:cNvPr id="79" name="Graphic 78">
                  <a:extLst>
                    <a:ext uri="{FF2B5EF4-FFF2-40B4-BE49-F238E27FC236}">
                      <a16:creationId xmlns:a16="http://schemas.microsoft.com/office/drawing/2014/main" id="{D9DC4789-EC3A-3C48-88CF-5B84FF620F3E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46538" y="7116071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80" name="TextBox 79">
                  <a:extLst>
                    <a:ext uri="{FF2B5EF4-FFF2-40B4-BE49-F238E27FC236}">
                      <a16:creationId xmlns:a16="http://schemas.microsoft.com/office/drawing/2014/main" id="{BC49CB42-C3B5-5841-B879-851F9C7EEA36}"/>
                    </a:ext>
                  </a:extLst>
                </p:cNvPr>
                <p:cNvSpPr txBox="1"/>
                <p:nvPr userDrawn="1"/>
              </p:nvSpPr>
              <p:spPr>
                <a:xfrm>
                  <a:off x="9446538" y="7369972"/>
                  <a:ext cx="2384904" cy="777136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Right-click on the image.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Choose “Crop” from the menu. (       )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Adjust the size and position of the image.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Press Esc or click outside the image area to exit the cropping mode.</a:t>
                  </a:r>
                </a:p>
              </p:txBody>
            </p:sp>
            <p:pic>
              <p:nvPicPr>
                <p:cNvPr id="81" name="Picture 80">
                  <a:extLst>
                    <a:ext uri="{FF2B5EF4-FFF2-40B4-BE49-F238E27FC236}">
                      <a16:creationId xmlns:a16="http://schemas.microsoft.com/office/drawing/2014/main" id="{628F206A-7D04-EF40-9861-84678517D248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 rotWithShape="1">
                <a:blip r:embed="rId5"/>
                <a:srcRect l="33684" t="12097" r="43371" b="20368"/>
                <a:stretch/>
              </p:blipFill>
              <p:spPr>
                <a:xfrm>
                  <a:off x="11243541" y="7454405"/>
                  <a:ext cx="136897" cy="213643"/>
                </a:xfrm>
                <a:prstGeom prst="rect">
                  <a:avLst/>
                </a:prstGeom>
                <a:ln w="19050">
                  <a:solidFill>
                    <a:schemeClr val="accent3">
                      <a:lumMod val="60000"/>
                      <a:lumOff val="40000"/>
                    </a:schemeClr>
                  </a:solidFill>
                </a:ln>
              </p:spPr>
            </p:pic>
          </p:grpSp>
          <p:grpSp>
            <p:nvGrpSpPr>
              <p:cNvPr id="69" name="Group 68">
                <a:extLst>
                  <a:ext uri="{FF2B5EF4-FFF2-40B4-BE49-F238E27FC236}">
                    <a16:creationId xmlns:a16="http://schemas.microsoft.com/office/drawing/2014/main" id="{A490542C-8DFC-5548-AE6A-63B1D2808097}"/>
                  </a:ext>
                </a:extLst>
              </p:cNvPr>
              <p:cNvGrpSpPr/>
              <p:nvPr userDrawn="1"/>
            </p:nvGrpSpPr>
            <p:grpSpPr>
              <a:xfrm>
                <a:off x="9521833" y="2891408"/>
                <a:ext cx="2617883" cy="707288"/>
                <a:chOff x="12352022" y="513115"/>
                <a:chExt cx="2617883" cy="707288"/>
              </a:xfrm>
            </p:grpSpPr>
            <p:sp>
              <p:nvSpPr>
                <p:cNvPr id="74" name="TextBox 73">
                  <a:extLst>
                    <a:ext uri="{FF2B5EF4-FFF2-40B4-BE49-F238E27FC236}">
                      <a16:creationId xmlns:a16="http://schemas.microsoft.com/office/drawing/2014/main" id="{0FAFBA51-3305-F345-92BD-B46BA279BA27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375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75" name="TextBox 74">
                  <a:extLst>
                    <a:ext uri="{FF2B5EF4-FFF2-40B4-BE49-F238E27FC236}">
                      <a16:creationId xmlns:a16="http://schemas.microsoft.com/office/drawing/2014/main" id="{768B0866-9666-5048-A6BD-3E4EE1D31D82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1033696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375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2</a:t>
                  </a:r>
                </a:p>
              </p:txBody>
            </p:sp>
            <p:sp>
              <p:nvSpPr>
                <p:cNvPr id="76" name="TextBox 75">
                  <a:extLst>
                    <a:ext uri="{FF2B5EF4-FFF2-40B4-BE49-F238E27FC236}">
                      <a16:creationId xmlns:a16="http://schemas.microsoft.com/office/drawing/2014/main" id="{2FDB09E1-182B-8C41-A90D-675C6F64D427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453290" cy="70728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sz="788"/>
                    <a:t>Select and download images from the Marketing Resource Database.</a:t>
                  </a:r>
                </a:p>
                <a:p>
                  <a:pPr lvl="0"/>
                  <a:r>
                    <a:rPr lang="en-US" sz="788"/>
                    <a:t>Add the image to the placeholder.</a:t>
                  </a:r>
                </a:p>
              </p:txBody>
            </p:sp>
          </p:grpSp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D485FD98-7EF6-A54D-9C57-9E702C04A959}"/>
                  </a:ext>
                </a:extLst>
              </p:cNvPr>
              <p:cNvSpPr txBox="1"/>
              <p:nvPr userDrawn="1"/>
            </p:nvSpPr>
            <p:spPr>
              <a:xfrm>
                <a:off x="9674267" y="3910520"/>
                <a:ext cx="2374733" cy="32316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/>
                  <a:t>Note: If there are multiple image placeholders on the slide, select the intended placeholder before dragging in the image to let PowerPoint know where you want it.</a:t>
                </a:r>
              </a:p>
            </p:txBody>
          </p:sp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87E809D7-903C-6E4C-9509-800D999D8BEB}"/>
                  </a:ext>
                </a:extLst>
              </p:cNvPr>
              <p:cNvSpPr txBox="1"/>
              <p:nvPr userDrawn="1"/>
            </p:nvSpPr>
            <p:spPr>
              <a:xfrm>
                <a:off x="9686426" y="4325777"/>
                <a:ext cx="2297338" cy="63145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/>
                  <a:t>Method 2: </a:t>
                </a:r>
                <a:r>
                  <a:rPr lang="en-US" sz="450" b="0"/>
                  <a:t>Paste from clipboard</a:t>
                </a:r>
              </a:p>
              <a:p>
                <a:pPr lvl="1">
                  <a:buNone/>
                </a:pPr>
                <a:r>
                  <a:rPr lang="en-US" sz="788"/>
                  <a:t>Select the image placeholder.</a:t>
                </a:r>
              </a:p>
              <a:p>
                <a:pPr lvl="1">
                  <a:buNone/>
                </a:pPr>
                <a:r>
                  <a:rPr lang="en-US" sz="788"/>
                  <a:t>Right-click or use keyboard shortcuts to paste the image.</a:t>
                </a:r>
              </a:p>
            </p:txBody>
          </p:sp>
          <p:sp>
            <p:nvSpPr>
              <p:cNvPr id="72" name="TextBox 71">
                <a:extLst>
                  <a:ext uri="{FF2B5EF4-FFF2-40B4-BE49-F238E27FC236}">
                    <a16:creationId xmlns:a16="http://schemas.microsoft.com/office/drawing/2014/main" id="{7653C300-7116-984F-AC25-FE91A768367E}"/>
                  </a:ext>
                </a:extLst>
              </p:cNvPr>
              <p:cNvSpPr txBox="1"/>
              <p:nvPr userDrawn="1"/>
            </p:nvSpPr>
            <p:spPr>
              <a:xfrm>
                <a:off x="9686426" y="5045867"/>
                <a:ext cx="2297338" cy="4346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/>
                  <a:t>Method 3: </a:t>
                </a:r>
                <a:r>
                  <a:rPr lang="en-US" sz="450" b="0"/>
                  <a:t>Placeholder icon</a:t>
                </a:r>
              </a:p>
              <a:p>
                <a:pPr lvl="1">
                  <a:buNone/>
                </a:pPr>
                <a:r>
                  <a:rPr lang="en-US" sz="788"/>
                  <a:t>Click the image icon inside the placeholder to browse for an image.</a:t>
                </a:r>
              </a:p>
            </p:txBody>
          </p:sp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348DD668-2F25-B14F-B0EB-7BBC3FE735D6}"/>
                  </a:ext>
                </a:extLst>
              </p:cNvPr>
              <p:cNvSpPr txBox="1"/>
              <p:nvPr userDrawn="1"/>
            </p:nvSpPr>
            <p:spPr>
              <a:xfrm>
                <a:off x="9674267" y="5476431"/>
                <a:ext cx="2374733" cy="21544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/>
                  <a:t>Note: This icon may be covered by another element.</a:t>
                </a:r>
                <a:br>
                  <a:rPr lang="en-US" sz="525"/>
                </a:br>
                <a:r>
                  <a:rPr lang="en-US" sz="525"/>
                  <a:t>In this case use one of the other methods.</a:t>
                </a:r>
              </a:p>
            </p:txBody>
          </p:sp>
        </p:grp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A38C3867-F18E-4D46-9E21-2FC7FF845627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1670329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sz="825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DD4325D9-7389-094C-A2CF-5C5323B3520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EEAA9040-CF51-8F4A-A448-164422E39F10}"/>
                </a:ext>
              </a:extLst>
            </p:cNvPr>
            <p:cNvGrpSpPr/>
            <p:nvPr userDrawn="1"/>
          </p:nvGrpSpPr>
          <p:grpSpPr>
            <a:xfrm>
              <a:off x="9554253" y="2414886"/>
              <a:ext cx="2819399" cy="1181890"/>
              <a:chOff x="9541498" y="3352649"/>
              <a:chExt cx="2819399" cy="1181890"/>
            </a:xfrm>
          </p:grpSpPr>
          <p:grpSp>
            <p:nvGrpSpPr>
              <p:cNvPr id="57" name="Group 56">
                <a:extLst>
                  <a:ext uri="{FF2B5EF4-FFF2-40B4-BE49-F238E27FC236}">
                    <a16:creationId xmlns:a16="http://schemas.microsoft.com/office/drawing/2014/main" id="{71989BAA-BA51-5B43-B478-80240E70B031}"/>
                  </a:ext>
                </a:extLst>
              </p:cNvPr>
              <p:cNvGrpSpPr/>
              <p:nvPr userDrawn="1"/>
            </p:nvGrpSpPr>
            <p:grpSpPr>
              <a:xfrm>
                <a:off x="9541498" y="3352649"/>
                <a:ext cx="2735150" cy="1181890"/>
                <a:chOff x="9541498" y="3751132"/>
                <a:chExt cx="2735150" cy="1181890"/>
              </a:xfrm>
            </p:grpSpPr>
            <p:grpSp>
              <p:nvGrpSpPr>
                <p:cNvPr id="59" name="Group 58">
                  <a:extLst>
                    <a:ext uri="{FF2B5EF4-FFF2-40B4-BE49-F238E27FC236}">
                      <a16:creationId xmlns:a16="http://schemas.microsoft.com/office/drawing/2014/main" id="{1F0DB689-2380-EE49-8628-14383AA33533}"/>
                    </a:ext>
                  </a:extLst>
                </p:cNvPr>
                <p:cNvGrpSpPr/>
                <p:nvPr userDrawn="1"/>
              </p:nvGrpSpPr>
              <p:grpSpPr>
                <a:xfrm>
                  <a:off x="9541498" y="3751132"/>
                  <a:ext cx="2735150" cy="1181890"/>
                  <a:chOff x="9296568" y="4910411"/>
                  <a:chExt cx="2735150" cy="1181890"/>
                </a:xfrm>
              </p:grpSpPr>
              <p:sp>
                <p:nvSpPr>
                  <p:cNvPr id="61" name="Rectangle 60">
                    <a:extLst>
                      <a:ext uri="{FF2B5EF4-FFF2-40B4-BE49-F238E27FC236}">
                        <a16:creationId xmlns:a16="http://schemas.microsoft.com/office/drawing/2014/main" id="{0C31B8AD-3259-0E4D-B7B9-A1BED543161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9296568" y="4910411"/>
                    <a:ext cx="2735150" cy="1181890"/>
                  </a:xfrm>
                  <a:prstGeom prst="rect">
                    <a:avLst/>
                  </a:prstGeom>
                  <a:solidFill>
                    <a:srgbClr val="FFFADF"/>
                  </a:solidFill>
                  <a:ln w="25400">
                    <a:solidFill>
                      <a:schemeClr val="tx1">
                        <a:lumMod val="65000"/>
                        <a:lumOff val="3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50"/>
                  </a:p>
                </p:txBody>
              </p:sp>
              <p:sp>
                <p:nvSpPr>
                  <p:cNvPr id="62" name="TextBox 61">
                    <a:extLst>
                      <a:ext uri="{FF2B5EF4-FFF2-40B4-BE49-F238E27FC236}">
                        <a16:creationId xmlns:a16="http://schemas.microsoft.com/office/drawing/2014/main" id="{79D5AE7D-A300-E04A-8178-CEFBFD6B3695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662758" y="5046087"/>
                    <a:ext cx="2211394" cy="16927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 algn="l"/>
                    <a:r>
                      <a:rPr lang="en-US" sz="825">
                        <a:solidFill>
                          <a:schemeClr val="accent2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Numbered lists</a:t>
                    </a:r>
                  </a:p>
                </p:txBody>
              </p:sp>
              <p:sp>
                <p:nvSpPr>
                  <p:cNvPr id="63" name="TextBox 62">
                    <a:extLst>
                      <a:ext uri="{FF2B5EF4-FFF2-40B4-BE49-F238E27FC236}">
                        <a16:creationId xmlns:a16="http://schemas.microsoft.com/office/drawing/2014/main" id="{71453D1D-E082-484F-B617-10330BB9C893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471806" y="5300349"/>
                    <a:ext cx="964050" cy="55399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>
                      <a:spcBef>
                        <a:spcPts val="150"/>
                      </a:spcBef>
                    </a:pPr>
                    <a:r>
                      <a:rPr lang="en-US" sz="675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For instruction on formatting numbered lists, see the most up-to-date Asset File.</a:t>
                    </a:r>
                  </a:p>
                </p:txBody>
              </p:sp>
            </p:grpSp>
            <p:pic>
              <p:nvPicPr>
                <p:cNvPr id="60" name="Graphic 59">
                  <a:extLst>
                    <a:ext uri="{FF2B5EF4-FFF2-40B4-BE49-F238E27FC236}">
                      <a16:creationId xmlns:a16="http://schemas.microsoft.com/office/drawing/2014/main" id="{0BFB961E-6B44-4A41-8979-B6EDBFAAEB3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686425" y="3891259"/>
                  <a:ext cx="170340" cy="170340"/>
                </a:xfrm>
                <a:prstGeom prst="rect">
                  <a:avLst/>
                </a:prstGeom>
              </p:spPr>
            </p:pic>
          </p:grpSp>
          <p:pic>
            <p:nvPicPr>
              <p:cNvPr id="58" name="Picture 57">
                <a:extLst>
                  <a:ext uri="{FF2B5EF4-FFF2-40B4-BE49-F238E27FC236}">
                    <a16:creationId xmlns:a16="http://schemas.microsoft.com/office/drawing/2014/main" id="{983E9B20-7313-604E-8431-234F059880A1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7"/>
              <a:srcRect r="30584"/>
              <a:stretch/>
            </p:blipFill>
            <p:spPr>
              <a:xfrm>
                <a:off x="10767220" y="3758285"/>
                <a:ext cx="1593677" cy="684608"/>
              </a:xfrm>
              <a:prstGeom prst="rect">
                <a:avLst/>
              </a:prstGeom>
              <a:solidFill>
                <a:srgbClr val="FFFADF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25194636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8A1E5E-5092-C14B-BCA7-1CE9980DAC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Slide TITLE. ALL CAPS. TWO LINES max.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36AF8DC8-87FB-C141-8D83-20DF12993AF5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800" y="4650581"/>
            <a:ext cx="7440613" cy="379131"/>
          </a:xfrm>
        </p:spPr>
        <p:txBody>
          <a:bodyPr bIns="0" anchor="b"/>
          <a:lstStyle>
            <a:lvl1pPr marL="4763" indent="-1191">
              <a:spcBef>
                <a:spcPts val="56"/>
              </a:spcBef>
              <a:spcAft>
                <a:spcPts val="56"/>
              </a:spcAft>
              <a:buSzPct val="100000"/>
              <a:buFontTx/>
              <a:buNone/>
              <a:tabLst/>
              <a:defRPr sz="825" b="0">
                <a:solidFill>
                  <a:schemeClr val="tx1"/>
                </a:solidFill>
              </a:defRPr>
            </a:lvl1pPr>
            <a:lvl2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¹"/>
              <a:tabLst/>
              <a:defRPr sz="825" b="0" i="0">
                <a:solidFill>
                  <a:schemeClr val="tx1"/>
                </a:solidFill>
              </a:defRPr>
            </a:lvl2pPr>
            <a:lvl3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²"/>
              <a:tabLst/>
              <a:defRPr sz="825">
                <a:solidFill>
                  <a:schemeClr val="tx1"/>
                </a:solidFill>
              </a:defRPr>
            </a:lvl3pPr>
            <a:lvl4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³"/>
              <a:tabLst/>
              <a:defRPr sz="825">
                <a:solidFill>
                  <a:schemeClr val="tx1"/>
                </a:solidFill>
              </a:defRPr>
            </a:lvl4pPr>
            <a:lvl5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⁴"/>
              <a:tabLst/>
              <a:defRPr sz="825">
                <a:solidFill>
                  <a:schemeClr val="tx1"/>
                </a:solidFill>
              </a:defRPr>
            </a:lvl5pPr>
            <a:lvl6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⁵"/>
              <a:tabLst/>
              <a:defRPr sz="825">
                <a:solidFill>
                  <a:schemeClr val="tx1"/>
                </a:solidFill>
              </a:defRPr>
            </a:lvl6pPr>
            <a:lvl7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⁶"/>
              <a:tabLst/>
              <a:defRPr sz="825">
                <a:solidFill>
                  <a:schemeClr val="tx1"/>
                </a:solidFill>
              </a:defRPr>
            </a:lvl7pPr>
            <a:lvl8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⁷"/>
              <a:tabLst/>
              <a:defRPr sz="825">
                <a:solidFill>
                  <a:schemeClr val="tx1"/>
                </a:solidFill>
              </a:defRPr>
            </a:lvl8pPr>
            <a:lvl9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⁸"/>
              <a:tabLst/>
              <a:defRPr sz="825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/>
              <a:t>Footnotes – Levels 2-9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F932E4D-3BB6-F145-B5C5-AD97EAF75D44}"/>
              </a:ext>
            </a:extLst>
          </p:cNvPr>
          <p:cNvSpPr>
            <a:spLocks noGrp="1"/>
          </p:cNvSpPr>
          <p:nvPr>
            <p:ph type="dt" sz="half" idx="100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17286FE-76E3-3247-ACB0-061B0414E37F}"/>
              </a:ext>
            </a:extLst>
          </p:cNvPr>
          <p:cNvSpPr>
            <a:spLocks noGrp="1"/>
          </p:cNvSpPr>
          <p:nvPr>
            <p:ph type="ftr" sz="quarter" idx="100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67E789D-6D1E-A34E-82C5-72E722D0C6B6}"/>
              </a:ext>
            </a:extLst>
          </p:cNvPr>
          <p:cNvSpPr>
            <a:spLocks noGrp="1"/>
          </p:cNvSpPr>
          <p:nvPr>
            <p:ph type="sldNum" sz="quarter" idx="1003"/>
          </p:nvPr>
        </p:nvSpPr>
        <p:spPr/>
        <p:txBody>
          <a:bodyPr/>
          <a:lstStyle/>
          <a:p>
            <a:pPr marL="9525"/>
            <a:fld id="{078C017C-E1B9-8443-B047-B08AAA027B45}" type="slidenum">
              <a:rPr lang="en-US" smtClean="0"/>
              <a:pPr marL="9525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799413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notes Append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73A7EDA7-F3CC-FE4B-8FF2-546BF052CA2D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783" y="925116"/>
            <a:ext cx="8280399" cy="3699272"/>
          </a:xfrm>
        </p:spPr>
        <p:txBody>
          <a:bodyPr bIns="0" anchor="t"/>
          <a:lstStyle>
            <a:lvl1pPr marL="4763" indent="-1191">
              <a:spcBef>
                <a:spcPts val="450"/>
              </a:spcBef>
              <a:spcAft>
                <a:spcPts val="56"/>
              </a:spcAft>
              <a:buSzPct val="100000"/>
              <a:buFontTx/>
              <a:buNone/>
              <a:tabLst/>
              <a:defRPr sz="825" b="1">
                <a:solidFill>
                  <a:schemeClr val="tx1"/>
                </a:solidFill>
              </a:defRPr>
            </a:lvl1pPr>
            <a:lvl2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¹"/>
              <a:tabLst/>
              <a:defRPr sz="825" b="0" i="0">
                <a:solidFill>
                  <a:schemeClr val="tx1"/>
                </a:solidFill>
              </a:defRPr>
            </a:lvl2pPr>
            <a:lvl3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²"/>
              <a:tabLst/>
              <a:defRPr sz="825">
                <a:solidFill>
                  <a:schemeClr val="tx1"/>
                </a:solidFill>
              </a:defRPr>
            </a:lvl3pPr>
            <a:lvl4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³"/>
              <a:tabLst/>
              <a:defRPr sz="825">
                <a:solidFill>
                  <a:schemeClr val="tx1"/>
                </a:solidFill>
              </a:defRPr>
            </a:lvl4pPr>
            <a:lvl5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⁴"/>
              <a:tabLst/>
              <a:defRPr sz="825">
                <a:solidFill>
                  <a:schemeClr val="tx1"/>
                </a:solidFill>
              </a:defRPr>
            </a:lvl5pPr>
            <a:lvl6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⁵"/>
              <a:tabLst/>
              <a:defRPr sz="825">
                <a:solidFill>
                  <a:schemeClr val="tx1"/>
                </a:solidFill>
              </a:defRPr>
            </a:lvl6pPr>
            <a:lvl7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⁶"/>
              <a:tabLst/>
              <a:defRPr sz="825">
                <a:solidFill>
                  <a:schemeClr val="tx1"/>
                </a:solidFill>
              </a:defRPr>
            </a:lvl7pPr>
            <a:lvl8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⁷"/>
              <a:tabLst/>
              <a:defRPr sz="825">
                <a:solidFill>
                  <a:schemeClr val="tx1"/>
                </a:solidFill>
              </a:defRPr>
            </a:lvl8pPr>
            <a:lvl9pPr marL="41672" indent="-38100">
              <a:spcBef>
                <a:spcPts val="56"/>
              </a:spcBef>
              <a:spcAft>
                <a:spcPts val="56"/>
              </a:spcAft>
              <a:buSzPct val="100000"/>
              <a:buFont typeface="System Font Regular"/>
              <a:buChar char="⁸"/>
              <a:tabLst/>
              <a:defRPr sz="825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add page reference. Paste in overflow footnotes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sz="1050">
              <a:latin typeface="Arial" charset="0"/>
              <a:cs typeface="Arial" charset="0"/>
            </a:endParaRPr>
          </a:p>
          <a:p>
            <a:pPr lvl="5"/>
            <a:r>
              <a:rPr lang="en-US">
                <a:latin typeface="Arial" charset="0"/>
                <a:cs typeface="Arial" charset="0"/>
              </a:rPr>
              <a:t>Sixth level</a:t>
            </a:r>
          </a:p>
          <a:p>
            <a:pPr lvl="6"/>
            <a:r>
              <a:rPr lang="en-US">
                <a:latin typeface="Arial" charset="0"/>
                <a:cs typeface="Arial" charset="0"/>
              </a:rPr>
              <a:t>Seventh level</a:t>
            </a:r>
          </a:p>
          <a:p>
            <a:pPr lvl="7"/>
            <a:r>
              <a:rPr lang="en-US">
                <a:latin typeface="Arial" charset="0"/>
                <a:cs typeface="Arial" charset="0"/>
              </a:rPr>
              <a:t>Eighth level</a:t>
            </a:r>
          </a:p>
          <a:p>
            <a:pPr lvl="8"/>
            <a:r>
              <a:rPr lang="en-US">
                <a:latin typeface="Arial" charset="0"/>
                <a:cs typeface="Arial" charset="0"/>
              </a:rPr>
              <a:t>Ninth level</a:t>
            </a:r>
            <a:endParaRPr lang="en-US"/>
          </a:p>
        </p:txBody>
      </p:sp>
      <p:sp>
        <p:nvSpPr>
          <p:cNvPr id="11" name="Title 8">
            <a:extLst>
              <a:ext uri="{FF2B5EF4-FFF2-40B4-BE49-F238E27FC236}">
                <a16:creationId xmlns:a16="http://schemas.microsoft.com/office/drawing/2014/main" id="{39E817B6-FF8C-0842-B1E7-3F8A6FA8F66D}"/>
              </a:ext>
            </a:extLst>
          </p:cNvPr>
          <p:cNvSpPr txBox="1">
            <a:spLocks/>
          </p:cNvSpPr>
          <p:nvPr userDrawn="1"/>
        </p:nvSpPr>
        <p:spPr>
          <a:xfrm>
            <a:off x="431800" y="317278"/>
            <a:ext cx="8280400" cy="42554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900" b="1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425"/>
              <a:t>Appendi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EB956B6-5A6C-5D48-9F0C-B94F649F8BBE}"/>
              </a:ext>
            </a:extLst>
          </p:cNvPr>
          <p:cNvSpPr>
            <a:spLocks noGrp="1"/>
          </p:cNvSpPr>
          <p:nvPr>
            <p:ph type="dt" sz="half" idx="10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5529702-1F3A-4D45-95E7-B4EE450AA0E0}"/>
              </a:ext>
            </a:extLst>
          </p:cNvPr>
          <p:cNvSpPr>
            <a:spLocks noGrp="1"/>
          </p:cNvSpPr>
          <p:nvPr>
            <p:ph type="ftr" sz="quarter" idx="10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AF6F60A-A028-CA43-9F6E-24A771157036}"/>
              </a:ext>
            </a:extLst>
          </p:cNvPr>
          <p:cNvSpPr>
            <a:spLocks noGrp="1"/>
          </p:cNvSpPr>
          <p:nvPr>
            <p:ph type="sldNum" sz="quarter" idx="103"/>
          </p:nvPr>
        </p:nvSpPr>
        <p:spPr/>
        <p:txBody>
          <a:bodyPr/>
          <a:lstStyle/>
          <a:p>
            <a:pPr marL="9525"/>
            <a:fld id="{078C017C-E1B9-8443-B047-B08AAA027B45}" type="slidenum">
              <a:rPr lang="en-US" smtClean="0"/>
              <a:pPr marL="9525"/>
              <a:t>‹#›</a:t>
            </a:fld>
            <a:endParaRPr lang="en-US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104D1EDF-2467-804A-B15C-D4504AFFEBB6}"/>
              </a:ext>
            </a:extLst>
          </p:cNvPr>
          <p:cNvGrpSpPr/>
          <p:nvPr userDrawn="1"/>
        </p:nvGrpSpPr>
        <p:grpSpPr>
          <a:xfrm>
            <a:off x="9399183" y="-1"/>
            <a:ext cx="2961715" cy="5143501"/>
            <a:chOff x="9399182" y="-1"/>
            <a:chExt cx="2961715" cy="6858001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450A66C-4EFE-574E-8105-8F19294291C0}"/>
                </a:ext>
              </a:extLst>
            </p:cNvPr>
            <p:cNvSpPr/>
            <p:nvPr userDrawn="1"/>
          </p:nvSpPr>
          <p:spPr>
            <a:xfrm>
              <a:off x="9399182" y="-1"/>
              <a:ext cx="2798651" cy="6858001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050"/>
            </a:p>
          </p:txBody>
        </p:sp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8CFE866E-1B7C-B841-9874-F39026C7B1D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l="-1" t="-1" r="57393" b="1331"/>
            <a:stretch/>
          </p:blipFill>
          <p:spPr>
            <a:xfrm>
              <a:off x="9558505" y="1322104"/>
              <a:ext cx="2631977" cy="1346819"/>
            </a:xfrm>
            <a:prstGeom prst="rect">
              <a:avLst/>
            </a:prstGeom>
          </p:spPr>
        </p:pic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FFEF678-A102-7F4F-AA3B-CD00034E1645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5897A035-D50A-9E4B-AC4B-7F127F053054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80017FBF-C159-274E-A045-C7FE28DD4891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44" name="Picture 43">
                <a:extLst>
                  <a:ext uri="{FF2B5EF4-FFF2-40B4-BE49-F238E27FC236}">
                    <a16:creationId xmlns:a16="http://schemas.microsoft.com/office/drawing/2014/main" id="{E92D98F1-AA3C-ED4D-9D08-7B7F95CAA93F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63F2733A-C19B-3340-8146-DE69DD441B5E}"/>
                </a:ext>
              </a:extLst>
            </p:cNvPr>
            <p:cNvGrpSpPr/>
            <p:nvPr userDrawn="1"/>
          </p:nvGrpSpPr>
          <p:grpSpPr>
            <a:xfrm>
              <a:off x="9558507" y="1119891"/>
              <a:ext cx="2639328" cy="202617"/>
              <a:chOff x="9303325" y="149270"/>
              <a:chExt cx="2639328" cy="202617"/>
            </a:xfrm>
          </p:grpSpPr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C79CF978-B72A-C545-9B0B-E904D2B4E054}"/>
                  </a:ext>
                </a:extLst>
              </p:cNvPr>
              <p:cNvSpPr txBox="1"/>
              <p:nvPr userDrawn="1"/>
            </p:nvSpPr>
            <p:spPr>
              <a:xfrm>
                <a:off x="9303325" y="149270"/>
                <a:ext cx="1670329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sz="825">
                    <a:solidFill>
                      <a:schemeClr val="bg1"/>
                    </a:solidFill>
                  </a:rPr>
                  <a:t>TEXT FORMATS IN THIS LAYOUT</a:t>
                </a:r>
              </a:p>
            </p:txBody>
          </p: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526A15D-C3EF-0040-8B4F-8F84446E57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303325" y="351887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04308951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+A (Photo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58A4F191-2C43-004D-A488-5B9444E0A67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000" cy="5143500"/>
          </a:xfrm>
          <a:custGeom>
            <a:avLst/>
            <a:gdLst>
              <a:gd name="connsiteX0" fmla="*/ 8545319 w 9144000"/>
              <a:gd name="connsiteY0" fmla="*/ 6577274 h 6858000"/>
              <a:gd name="connsiteX1" fmla="*/ 8554629 w 9144000"/>
              <a:gd name="connsiteY1" fmla="*/ 6577274 h 6858000"/>
              <a:gd name="connsiteX2" fmla="*/ 8572755 w 9144000"/>
              <a:gd name="connsiteY2" fmla="*/ 6592563 h 6858000"/>
              <a:gd name="connsiteX3" fmla="*/ 8552839 w 9144000"/>
              <a:gd name="connsiteY3" fmla="*/ 6608586 h 6858000"/>
              <a:gd name="connsiteX4" fmla="*/ 8552839 w 9144000"/>
              <a:gd name="connsiteY4" fmla="*/ 6608473 h 6858000"/>
              <a:gd name="connsiteX5" fmla="*/ 8545319 w 9144000"/>
              <a:gd name="connsiteY5" fmla="*/ 6608473 h 6858000"/>
              <a:gd name="connsiteX6" fmla="*/ 8440530 w 9144000"/>
              <a:gd name="connsiteY6" fmla="*/ 6576164 h 6858000"/>
              <a:gd name="connsiteX7" fmla="*/ 8450868 w 9144000"/>
              <a:gd name="connsiteY7" fmla="*/ 6576164 h 6858000"/>
              <a:gd name="connsiteX8" fmla="*/ 8486565 w 9144000"/>
              <a:gd name="connsiteY8" fmla="*/ 6607213 h 6858000"/>
              <a:gd name="connsiteX9" fmla="*/ 8452486 w 9144000"/>
              <a:gd name="connsiteY9" fmla="*/ 6640294 h 6858000"/>
              <a:gd name="connsiteX10" fmla="*/ 8440530 w 9144000"/>
              <a:gd name="connsiteY10" fmla="*/ 6640294 h 6858000"/>
              <a:gd name="connsiteX11" fmla="*/ 8359311 w 9144000"/>
              <a:gd name="connsiteY11" fmla="*/ 6554744 h 6858000"/>
              <a:gd name="connsiteX12" fmla="*/ 8357845 w 9144000"/>
              <a:gd name="connsiteY12" fmla="*/ 6557847 h 6858000"/>
              <a:gd name="connsiteX13" fmla="*/ 8338064 w 9144000"/>
              <a:gd name="connsiteY13" fmla="*/ 6599653 h 6858000"/>
              <a:gd name="connsiteX14" fmla="*/ 8338064 w 9144000"/>
              <a:gd name="connsiteY14" fmla="*/ 6661564 h 6858000"/>
              <a:gd name="connsiteX15" fmla="*/ 8406527 w 9144000"/>
              <a:gd name="connsiteY15" fmla="*/ 6661564 h 6858000"/>
              <a:gd name="connsiteX16" fmla="*/ 8406527 w 9144000"/>
              <a:gd name="connsiteY16" fmla="*/ 6638977 h 6858000"/>
              <a:gd name="connsiteX17" fmla="*/ 8363157 w 9144000"/>
              <a:gd name="connsiteY17" fmla="*/ 6638977 h 6858000"/>
              <a:gd name="connsiteX18" fmla="*/ 8363157 w 9144000"/>
              <a:gd name="connsiteY18" fmla="*/ 6618140 h 6858000"/>
              <a:gd name="connsiteX19" fmla="*/ 8402681 w 9144000"/>
              <a:gd name="connsiteY19" fmla="*/ 6618140 h 6858000"/>
              <a:gd name="connsiteX20" fmla="*/ 8402681 w 9144000"/>
              <a:gd name="connsiteY20" fmla="*/ 6596569 h 6858000"/>
              <a:gd name="connsiteX21" fmla="*/ 8363157 w 9144000"/>
              <a:gd name="connsiteY21" fmla="*/ 6596569 h 6858000"/>
              <a:gd name="connsiteX22" fmla="*/ 8363157 w 9144000"/>
              <a:gd name="connsiteY22" fmla="*/ 6577481 h 6858000"/>
              <a:gd name="connsiteX23" fmla="*/ 8406527 w 9144000"/>
              <a:gd name="connsiteY23" fmla="*/ 6577481 h 6858000"/>
              <a:gd name="connsiteX24" fmla="*/ 8406527 w 9144000"/>
              <a:gd name="connsiteY24" fmla="*/ 6554744 h 6858000"/>
              <a:gd name="connsiteX25" fmla="*/ 8245574 w 9144000"/>
              <a:gd name="connsiteY25" fmla="*/ 6554725 h 6858000"/>
              <a:gd name="connsiteX26" fmla="*/ 8262081 w 9144000"/>
              <a:gd name="connsiteY26" fmla="*/ 6589122 h 6858000"/>
              <a:gd name="connsiteX27" fmla="*/ 8288525 w 9144000"/>
              <a:gd name="connsiteY27" fmla="*/ 6589122 h 6858000"/>
              <a:gd name="connsiteX28" fmla="*/ 8273961 w 9144000"/>
              <a:gd name="connsiteY28" fmla="*/ 6554725 h 6858000"/>
              <a:gd name="connsiteX29" fmla="*/ 8520245 w 9144000"/>
              <a:gd name="connsiteY29" fmla="*/ 6554706 h 6858000"/>
              <a:gd name="connsiteX30" fmla="*/ 8520245 w 9144000"/>
              <a:gd name="connsiteY30" fmla="*/ 6661563 h 6858000"/>
              <a:gd name="connsiteX31" fmla="*/ 8545319 w 9144000"/>
              <a:gd name="connsiteY31" fmla="*/ 6661563 h 6858000"/>
              <a:gd name="connsiteX32" fmla="*/ 8545319 w 9144000"/>
              <a:gd name="connsiteY32" fmla="*/ 6629931 h 6858000"/>
              <a:gd name="connsiteX33" fmla="*/ 8554629 w 9144000"/>
              <a:gd name="connsiteY33" fmla="*/ 6629931 h 6858000"/>
              <a:gd name="connsiteX34" fmla="*/ 8598419 w 9144000"/>
              <a:gd name="connsiteY34" fmla="*/ 6592018 h 6858000"/>
              <a:gd name="connsiteX35" fmla="*/ 8550345 w 9144000"/>
              <a:gd name="connsiteY35" fmla="*/ 6554706 h 6858000"/>
              <a:gd name="connsiteX36" fmla="*/ 8415494 w 9144000"/>
              <a:gd name="connsiteY36" fmla="*/ 6554706 h 6858000"/>
              <a:gd name="connsiteX37" fmla="*/ 8415494 w 9144000"/>
              <a:gd name="connsiteY37" fmla="*/ 6661469 h 6858000"/>
              <a:gd name="connsiteX38" fmla="*/ 8448545 w 9144000"/>
              <a:gd name="connsiteY38" fmla="*/ 6661582 h 6858000"/>
              <a:gd name="connsiteX39" fmla="*/ 8513277 w 9144000"/>
              <a:gd name="connsiteY39" fmla="*/ 6607213 h 6858000"/>
              <a:gd name="connsiteX40" fmla="*/ 8447460 w 9144000"/>
              <a:gd name="connsiteY40" fmla="*/ 6554744 h 6858000"/>
              <a:gd name="connsiteX41" fmla="*/ 8447498 w 9144000"/>
              <a:gd name="connsiteY41" fmla="*/ 6554706 h 6858000"/>
              <a:gd name="connsiteX42" fmla="*/ 8415494 w 9144000"/>
              <a:gd name="connsiteY42" fmla="*/ 6554706 h 6858000"/>
              <a:gd name="connsiteX43" fmla="*/ 8323899 w 9144000"/>
              <a:gd name="connsiteY43" fmla="*/ 6554706 h 6858000"/>
              <a:gd name="connsiteX44" fmla="*/ 8298692 w 9144000"/>
              <a:gd name="connsiteY44" fmla="*/ 6612648 h 6858000"/>
              <a:gd name="connsiteX45" fmla="*/ 8291857 w 9144000"/>
              <a:gd name="connsiteY45" fmla="*/ 6596644 h 6858000"/>
              <a:gd name="connsiteX46" fmla="*/ 8265622 w 9144000"/>
              <a:gd name="connsiteY46" fmla="*/ 6596644 h 6858000"/>
              <a:gd name="connsiteX47" fmla="*/ 8296941 w 9144000"/>
              <a:gd name="connsiteY47" fmla="*/ 6661977 h 6858000"/>
              <a:gd name="connsiteX48" fmla="*/ 8299854 w 9144000"/>
              <a:gd name="connsiteY48" fmla="*/ 6661977 h 6858000"/>
              <a:gd name="connsiteX49" fmla="*/ 8350592 w 9144000"/>
              <a:gd name="connsiteY49" fmla="*/ 6554706 h 6858000"/>
              <a:gd name="connsiteX50" fmla="*/ 8704281 w 9144000"/>
              <a:gd name="connsiteY50" fmla="*/ 6516147 h 6858000"/>
              <a:gd name="connsiteX51" fmla="*/ 8704281 w 9144000"/>
              <a:gd name="connsiteY51" fmla="*/ 6690772 h 6858000"/>
              <a:gd name="connsiteX52" fmla="*/ 8723670 w 9144000"/>
              <a:gd name="connsiteY52" fmla="*/ 6690772 h 6858000"/>
              <a:gd name="connsiteX53" fmla="*/ 8723670 w 9144000"/>
              <a:gd name="connsiteY53" fmla="*/ 6516147 h 6858000"/>
              <a:gd name="connsiteX54" fmla="*/ 0 w 9144000"/>
              <a:gd name="connsiteY54" fmla="*/ 0 h 6858000"/>
              <a:gd name="connsiteX55" fmla="*/ 9144000 w 9144000"/>
              <a:gd name="connsiteY55" fmla="*/ 0 h 6858000"/>
              <a:gd name="connsiteX56" fmla="*/ 9144000 w 9144000"/>
              <a:gd name="connsiteY56" fmla="*/ 6858000 h 6858000"/>
              <a:gd name="connsiteX57" fmla="*/ 0 w 9144000"/>
              <a:gd name="connsiteY5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9144000" h="6858000">
                <a:moveTo>
                  <a:pt x="8545319" y="6577274"/>
                </a:moveTo>
                <a:lnTo>
                  <a:pt x="8554629" y="6577274"/>
                </a:lnTo>
                <a:cubicBezTo>
                  <a:pt x="8567005" y="6577274"/>
                  <a:pt x="8572755" y="6583969"/>
                  <a:pt x="8572755" y="6592563"/>
                </a:cubicBezTo>
                <a:cubicBezTo>
                  <a:pt x="8572755" y="6602907"/>
                  <a:pt x="8566129" y="6608586"/>
                  <a:pt x="8552839" y="6608586"/>
                </a:cubicBezTo>
                <a:lnTo>
                  <a:pt x="8552839" y="6608473"/>
                </a:lnTo>
                <a:lnTo>
                  <a:pt x="8545319" y="6608473"/>
                </a:lnTo>
                <a:close/>
                <a:moveTo>
                  <a:pt x="8440530" y="6576164"/>
                </a:moveTo>
                <a:lnTo>
                  <a:pt x="8450868" y="6576164"/>
                </a:lnTo>
                <a:cubicBezTo>
                  <a:pt x="8474171" y="6576164"/>
                  <a:pt x="8486565" y="6587824"/>
                  <a:pt x="8486565" y="6607213"/>
                </a:cubicBezTo>
                <a:cubicBezTo>
                  <a:pt x="8486565" y="6627186"/>
                  <a:pt x="8476094" y="6640294"/>
                  <a:pt x="8452486" y="6640294"/>
                </a:cubicBezTo>
                <a:lnTo>
                  <a:pt x="8440530" y="6640294"/>
                </a:lnTo>
                <a:close/>
                <a:moveTo>
                  <a:pt x="8359311" y="6554744"/>
                </a:moveTo>
                <a:lnTo>
                  <a:pt x="8357845" y="6557847"/>
                </a:lnTo>
                <a:lnTo>
                  <a:pt x="8338064" y="6599653"/>
                </a:lnTo>
                <a:lnTo>
                  <a:pt x="8338064" y="6661564"/>
                </a:lnTo>
                <a:lnTo>
                  <a:pt x="8406527" y="6661564"/>
                </a:lnTo>
                <a:lnTo>
                  <a:pt x="8406527" y="6638977"/>
                </a:lnTo>
                <a:lnTo>
                  <a:pt x="8363157" y="6638977"/>
                </a:lnTo>
                <a:lnTo>
                  <a:pt x="8363157" y="6618140"/>
                </a:lnTo>
                <a:lnTo>
                  <a:pt x="8402681" y="6618140"/>
                </a:lnTo>
                <a:lnTo>
                  <a:pt x="8402681" y="6596569"/>
                </a:lnTo>
                <a:lnTo>
                  <a:pt x="8363157" y="6596569"/>
                </a:lnTo>
                <a:lnTo>
                  <a:pt x="8363157" y="6577481"/>
                </a:lnTo>
                <a:lnTo>
                  <a:pt x="8406527" y="6577481"/>
                </a:lnTo>
                <a:lnTo>
                  <a:pt x="8406527" y="6554744"/>
                </a:lnTo>
                <a:close/>
                <a:moveTo>
                  <a:pt x="8245574" y="6554725"/>
                </a:moveTo>
                <a:lnTo>
                  <a:pt x="8262081" y="6589122"/>
                </a:lnTo>
                <a:lnTo>
                  <a:pt x="8288525" y="6589122"/>
                </a:lnTo>
                <a:lnTo>
                  <a:pt x="8273961" y="6554725"/>
                </a:lnTo>
                <a:close/>
                <a:moveTo>
                  <a:pt x="8520245" y="6554706"/>
                </a:moveTo>
                <a:lnTo>
                  <a:pt x="8520245" y="6661563"/>
                </a:lnTo>
                <a:lnTo>
                  <a:pt x="8545319" y="6661563"/>
                </a:lnTo>
                <a:lnTo>
                  <a:pt x="8545319" y="6629931"/>
                </a:lnTo>
                <a:lnTo>
                  <a:pt x="8554629" y="6629931"/>
                </a:lnTo>
                <a:cubicBezTo>
                  <a:pt x="8583188" y="6629931"/>
                  <a:pt x="8598419" y="6614040"/>
                  <a:pt x="8598419" y="6592018"/>
                </a:cubicBezTo>
                <a:cubicBezTo>
                  <a:pt x="8598438" y="6570485"/>
                  <a:pt x="8581627" y="6554706"/>
                  <a:pt x="8550345" y="6554706"/>
                </a:cubicBezTo>
                <a:close/>
                <a:moveTo>
                  <a:pt x="8415494" y="6554706"/>
                </a:moveTo>
                <a:lnTo>
                  <a:pt x="8415494" y="6661469"/>
                </a:lnTo>
                <a:cubicBezTo>
                  <a:pt x="8415494" y="6661469"/>
                  <a:pt x="8435865" y="6661582"/>
                  <a:pt x="8448545" y="6661582"/>
                </a:cubicBezTo>
                <a:cubicBezTo>
                  <a:pt x="8493381" y="6661582"/>
                  <a:pt x="8513277" y="6638695"/>
                  <a:pt x="8513277" y="6607213"/>
                </a:cubicBezTo>
                <a:cubicBezTo>
                  <a:pt x="8513277" y="6577123"/>
                  <a:pt x="8492334" y="6554744"/>
                  <a:pt x="8447460" y="6554744"/>
                </a:cubicBezTo>
                <a:lnTo>
                  <a:pt x="8447498" y="6554706"/>
                </a:lnTo>
                <a:cubicBezTo>
                  <a:pt x="8436741" y="6554706"/>
                  <a:pt x="8415494" y="6554706"/>
                  <a:pt x="8415494" y="6554706"/>
                </a:cubicBezTo>
                <a:close/>
                <a:moveTo>
                  <a:pt x="8323899" y="6554706"/>
                </a:moveTo>
                <a:lnTo>
                  <a:pt x="8298692" y="6612648"/>
                </a:lnTo>
                <a:lnTo>
                  <a:pt x="8291857" y="6596644"/>
                </a:lnTo>
                <a:lnTo>
                  <a:pt x="8265622" y="6596644"/>
                </a:lnTo>
                <a:lnTo>
                  <a:pt x="8296941" y="6661977"/>
                </a:lnTo>
                <a:lnTo>
                  <a:pt x="8299854" y="6661977"/>
                </a:lnTo>
                <a:lnTo>
                  <a:pt x="8350592" y="6554706"/>
                </a:lnTo>
                <a:close/>
                <a:moveTo>
                  <a:pt x="8704281" y="6516147"/>
                </a:moveTo>
                <a:lnTo>
                  <a:pt x="8704281" y="6690772"/>
                </a:lnTo>
                <a:lnTo>
                  <a:pt x="8723670" y="6690772"/>
                </a:lnTo>
                <a:lnTo>
                  <a:pt x="8723670" y="6516147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2"/>
          </a:solidFill>
          <a:ln>
            <a:solidFill>
              <a:srgbClr val="003865">
                <a:shade val="50000"/>
                <a:alpha val="0"/>
              </a:srgbClr>
            </a:solidFill>
          </a:ln>
        </p:spPr>
        <p:txBody>
          <a:bodyPr wrap="square" rIns="43200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Drag image onto slide to add photo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44084FA-14AD-964B-87DF-2AC4D0E255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" y="1"/>
            <a:ext cx="7217021" cy="5143500"/>
          </a:xfrm>
          <a:custGeom>
            <a:avLst/>
            <a:gdLst>
              <a:gd name="connsiteX0" fmla="*/ 0 w 7217021"/>
              <a:gd name="connsiteY0" fmla="*/ 0 h 6858000"/>
              <a:gd name="connsiteX1" fmla="*/ 3962555 w 7217021"/>
              <a:gd name="connsiteY1" fmla="*/ 0 h 6858000"/>
              <a:gd name="connsiteX2" fmla="*/ 7217021 w 7217021"/>
              <a:gd name="connsiteY2" fmla="*/ 6858000 h 6858000"/>
              <a:gd name="connsiteX3" fmla="*/ 0 w 721702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17021" h="6858000">
                <a:moveTo>
                  <a:pt x="0" y="0"/>
                </a:moveTo>
                <a:lnTo>
                  <a:pt x="3962555" y="0"/>
                </a:lnTo>
                <a:lnTo>
                  <a:pt x="7217021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3000">
                <a:schemeClr val="accent1"/>
              </a:gs>
              <a:gs pos="97000">
                <a:schemeClr val="accent1">
                  <a:alpha val="80000"/>
                </a:schemeClr>
              </a:gs>
            </a:gsLst>
            <a:lin ang="5400000" scaled="0"/>
          </a:gradFill>
          <a:ln>
            <a:solidFill>
              <a:srgbClr val="003865">
                <a:shade val="50000"/>
                <a:alpha val="0"/>
              </a:srgbClr>
            </a:solidFill>
          </a:ln>
        </p:spPr>
        <p:txBody>
          <a:bodyPr wrap="square" lIns="432000" tIns="0" rIns="2160000" bIns="0" anchor="ctr">
            <a:noAutofit/>
          </a:bodyPr>
          <a:lstStyle>
            <a:lvl1pPr marL="15479" indent="0">
              <a:spcAft>
                <a:spcPts val="225"/>
              </a:spcAft>
              <a:buNone/>
              <a:tabLst/>
              <a:defRPr sz="4950" b="1">
                <a:solidFill>
                  <a:schemeClr val="bg1"/>
                </a:solidFill>
              </a:defRPr>
            </a:lvl1pPr>
            <a:lvl2pPr marL="15479" indent="0">
              <a:spcAft>
                <a:spcPts val="150"/>
              </a:spcAft>
              <a:buNone/>
              <a:tabLst/>
              <a:defRPr sz="1050">
                <a:solidFill>
                  <a:schemeClr val="bg1"/>
                </a:solidFill>
              </a:defRPr>
            </a:lvl2pPr>
            <a:lvl3pPr marL="15479" indent="0">
              <a:spcAft>
                <a:spcPts val="150"/>
              </a:spcAft>
              <a:buFont typeface="Wingdings" pitchFamily="2" charset="2"/>
              <a:buNone/>
              <a:tabLst/>
              <a:defRPr sz="1050">
                <a:solidFill>
                  <a:schemeClr val="bg1"/>
                </a:solidFill>
              </a:defRPr>
            </a:lvl3pPr>
            <a:lvl4pPr marL="15479" indent="0">
              <a:spcAft>
                <a:spcPts val="150"/>
              </a:spcAft>
              <a:buFont typeface="System Font Regular"/>
              <a:buNone/>
              <a:tabLst/>
              <a:defRPr sz="1050">
                <a:solidFill>
                  <a:schemeClr val="bg1"/>
                </a:solidFill>
              </a:defRPr>
            </a:lvl4pPr>
            <a:lvl5pPr marL="15479" indent="0">
              <a:spcAft>
                <a:spcPts val="150"/>
              </a:spcAft>
              <a:buNone/>
              <a:tabLst/>
              <a:defRPr sz="1050">
                <a:solidFill>
                  <a:schemeClr val="bg1"/>
                </a:solidFill>
              </a:defRPr>
            </a:lvl5pPr>
            <a:lvl6pPr marL="15479" indent="0">
              <a:buNone/>
              <a:tabLst/>
              <a:defRPr>
                <a:solidFill>
                  <a:schemeClr val="bg1"/>
                </a:solidFill>
              </a:defRPr>
            </a:lvl6pPr>
            <a:lvl7pPr marL="15479" indent="0">
              <a:buNone/>
              <a:tabLst/>
              <a:defRPr>
                <a:solidFill>
                  <a:schemeClr val="bg1"/>
                </a:solidFill>
              </a:defRPr>
            </a:lvl7pPr>
            <a:lvl8pPr marL="15479" indent="0">
              <a:buNone/>
              <a:tabLst/>
              <a:defRPr>
                <a:solidFill>
                  <a:schemeClr val="bg1"/>
                </a:solidFill>
              </a:defRPr>
            </a:lvl8pPr>
            <a:lvl9pPr marL="15479" indent="0">
              <a:buNone/>
              <a:tabLst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Q&amp;A message</a:t>
            </a:r>
          </a:p>
          <a:p>
            <a:pPr lvl="1"/>
            <a:r>
              <a:rPr lang="en-US"/>
              <a:t>Second level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0A982D0-E4B8-1041-813F-BDDC3436A88D}"/>
              </a:ext>
            </a:extLst>
          </p:cNvPr>
          <p:cNvGrpSpPr/>
          <p:nvPr userDrawn="1"/>
        </p:nvGrpSpPr>
        <p:grpSpPr>
          <a:xfrm>
            <a:off x="-256964" y="1822278"/>
            <a:ext cx="251461" cy="1498945"/>
            <a:chOff x="-256404" y="360363"/>
            <a:chExt cx="251461" cy="692152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C83CFF79-5962-9D49-8E42-F2AF4C267204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A6F525C6-8B46-4140-AF00-48FB794ECB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A604655F-D15F-D843-AA38-CAA6FDF115A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43ACDE28-DF49-C14A-B556-C3FBEB96DDEA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</p:grp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509205E5-0F35-EB40-8B2F-8E547892AACD}"/>
                </a:ext>
              </a:extLst>
            </p:cNvPr>
            <p:cNvSpPr txBox="1"/>
            <p:nvPr userDrawn="1"/>
          </p:nvSpPr>
          <p:spPr>
            <a:xfrm rot="16200000">
              <a:off x="-245027" y="662666"/>
              <a:ext cx="228722" cy="80791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Q&amp;A MESSAGE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18A15BD-A596-E247-85A4-DD939638C5D3}"/>
              </a:ext>
            </a:extLst>
          </p:cNvPr>
          <p:cNvGrpSpPr/>
          <p:nvPr userDrawn="1"/>
        </p:nvGrpSpPr>
        <p:grpSpPr>
          <a:xfrm>
            <a:off x="9399183" y="0"/>
            <a:ext cx="2961715" cy="6219875"/>
            <a:chOff x="9399182" y="0"/>
            <a:chExt cx="2961715" cy="8293166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3484143C-DF42-9845-8B4E-6EE9192D37DA}"/>
                </a:ext>
              </a:extLst>
            </p:cNvPr>
            <p:cNvSpPr/>
            <p:nvPr userDrawn="1"/>
          </p:nvSpPr>
          <p:spPr>
            <a:xfrm>
              <a:off x="9399182" y="0"/>
              <a:ext cx="2798651" cy="812636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050"/>
            </a:p>
          </p:txBody>
        </p:sp>
        <p:pic>
          <p:nvPicPr>
            <p:cNvPr id="68" name="Picture 67">
              <a:extLst>
                <a:ext uri="{FF2B5EF4-FFF2-40B4-BE49-F238E27FC236}">
                  <a16:creationId xmlns:a16="http://schemas.microsoft.com/office/drawing/2014/main" id="{DC6F3D09-77E6-DD4A-B8C1-57D3B5AF851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31332"/>
            <a:stretch/>
          </p:blipFill>
          <p:spPr>
            <a:xfrm>
              <a:off x="9558506" y="1334591"/>
              <a:ext cx="2639325" cy="793238"/>
            </a:xfrm>
            <a:prstGeom prst="rect">
              <a:avLst/>
            </a:prstGeom>
          </p:spPr>
        </p:pic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6FAA681A-5A01-3546-8044-1C8ECB661A3E}"/>
                </a:ext>
              </a:extLst>
            </p:cNvPr>
            <p:cNvSpPr/>
            <p:nvPr userDrawn="1"/>
          </p:nvSpPr>
          <p:spPr>
            <a:xfrm>
              <a:off x="9541497" y="162442"/>
              <a:ext cx="2819400" cy="814510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/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94D0CDE4-38A0-8B46-802A-EFEB782422E0}"/>
                </a:ext>
              </a:extLst>
            </p:cNvPr>
            <p:cNvSpPr txBox="1"/>
            <p:nvPr userDrawn="1"/>
          </p:nvSpPr>
          <p:spPr>
            <a:xfrm>
              <a:off x="10147060" y="306441"/>
              <a:ext cx="2129588" cy="50783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algn="l"/>
              <a:r>
                <a:rPr lang="en-US" sz="8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Access programmed text formats by using the ‘Indent More’ button to change the indent level.</a:t>
              </a:r>
            </a:p>
          </p:txBody>
        </p:sp>
        <p:pic>
          <p:nvPicPr>
            <p:cNvPr id="59" name="Picture 58">
              <a:extLst>
                <a:ext uri="{FF2B5EF4-FFF2-40B4-BE49-F238E27FC236}">
                  <a16:creationId xmlns:a16="http://schemas.microsoft.com/office/drawing/2014/main" id="{F1F33519-662F-9A45-B84A-EC851E12109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8882" t="5165" r="-1"/>
            <a:stretch/>
          </p:blipFill>
          <p:spPr>
            <a:xfrm>
              <a:off x="9694938" y="411250"/>
              <a:ext cx="324017" cy="289055"/>
            </a:xfrm>
            <a:prstGeom prst="roundRect">
              <a:avLst/>
            </a:prstGeom>
          </p:spPr>
        </p:pic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991FADFC-F7F0-CE43-B65A-8A3CF7063BA7}"/>
                </a:ext>
              </a:extLst>
            </p:cNvPr>
            <p:cNvGrpSpPr/>
            <p:nvPr userDrawn="1"/>
          </p:nvGrpSpPr>
          <p:grpSpPr>
            <a:xfrm>
              <a:off x="9521833" y="2279341"/>
              <a:ext cx="2754815" cy="6013825"/>
              <a:chOff x="9521833" y="2429703"/>
              <a:chExt cx="2754815" cy="6013825"/>
            </a:xfrm>
          </p:grpSpPr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50000E5F-473E-B14E-9172-0C267CD0D2E3}"/>
                  </a:ext>
                </a:extLst>
              </p:cNvPr>
              <p:cNvSpPr txBox="1"/>
              <p:nvPr userDrawn="1"/>
            </p:nvSpPr>
            <p:spPr>
              <a:xfrm>
                <a:off x="9558507" y="2429703"/>
                <a:ext cx="1231106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sz="825">
                    <a:solidFill>
                      <a:schemeClr val="bg1"/>
                    </a:solidFill>
                  </a:rPr>
                  <a:t>HOW TO ADD AN IMAGE</a:t>
                </a:r>
              </a:p>
            </p:txBody>
          </p: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4E62F4DD-8AD3-2F43-B8DF-8C54ABD90DF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558507" y="2632320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C363D809-5FFE-3D42-B068-23D851F092D9}"/>
                  </a:ext>
                </a:extLst>
              </p:cNvPr>
              <p:cNvSpPr txBox="1"/>
              <p:nvPr userDrawn="1"/>
            </p:nvSpPr>
            <p:spPr>
              <a:xfrm>
                <a:off x="9686426" y="3490630"/>
                <a:ext cx="2297338" cy="28913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 b="1"/>
                  <a:t>Method 1: </a:t>
                </a:r>
                <a:r>
                  <a:rPr lang="en-US" sz="450" b="0"/>
                  <a:t>from file browser</a:t>
                </a:r>
              </a:p>
              <a:p>
                <a:pPr lvl="1">
                  <a:buNone/>
                </a:pPr>
                <a:r>
                  <a:rPr lang="en-US" sz="788"/>
                  <a:t>Drag the image onto the slide.</a:t>
                </a:r>
              </a:p>
            </p:txBody>
          </p:sp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AB47AC43-F715-C242-B27E-A04E6F462262}"/>
                  </a:ext>
                </a:extLst>
              </p:cNvPr>
              <p:cNvSpPr/>
              <p:nvPr userDrawn="1"/>
            </p:nvSpPr>
            <p:spPr>
              <a:xfrm>
                <a:off x="9541497" y="7032213"/>
                <a:ext cx="2735151" cy="1411315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148CB54C-821A-5D43-9B80-B00746C05FDA}"/>
                  </a:ext>
                </a:extLst>
              </p:cNvPr>
              <p:cNvSpPr txBox="1"/>
              <p:nvPr userDrawn="1"/>
            </p:nvSpPr>
            <p:spPr>
              <a:xfrm>
                <a:off x="9907688" y="7161013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Change Image</a:t>
                </a:r>
              </a:p>
            </p:txBody>
          </p:sp>
          <p:pic>
            <p:nvPicPr>
              <p:cNvPr id="53" name="Graphic 52">
                <a:extLst>
                  <a:ext uri="{FF2B5EF4-FFF2-40B4-BE49-F238E27FC236}">
                    <a16:creationId xmlns:a16="http://schemas.microsoft.com/office/drawing/2014/main" id="{2504B4CD-2C7F-1246-A54A-8E3EBAAD534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9701720" y="7171296"/>
                <a:ext cx="155227" cy="155227"/>
              </a:xfrm>
              <a:prstGeom prst="rect">
                <a:avLst/>
              </a:prstGeom>
            </p:spPr>
          </p:pic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62BFE2AB-0056-4F46-9E47-AE686B26A8F3}"/>
                  </a:ext>
                </a:extLst>
              </p:cNvPr>
              <p:cNvSpPr txBox="1"/>
              <p:nvPr userDrawn="1"/>
            </p:nvSpPr>
            <p:spPr>
              <a:xfrm>
                <a:off x="9716735" y="7740996"/>
                <a:ext cx="2422981" cy="373948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101204" lvl="1" indent="-98822" algn="l" defTabSz="685800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225"/>
                  </a:spcAft>
                  <a:buFont typeface="Wingdings" pitchFamily="2" charset="2"/>
                  <a:buChar char="§"/>
                  <a:tabLst/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Deleting the image may bring the image placeholder to the top layer. Right-click on the placeholder and choose “Send to Back”.</a:t>
                </a:r>
              </a:p>
            </p:txBody>
          </p: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89249B47-877A-7F4B-81CF-E1915A134B07}"/>
                  </a:ext>
                </a:extLst>
              </p:cNvPr>
              <p:cNvSpPr txBox="1"/>
              <p:nvPr userDrawn="1"/>
            </p:nvSpPr>
            <p:spPr>
              <a:xfrm>
                <a:off x="9716735" y="7422152"/>
                <a:ext cx="2422981" cy="2769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685800" rtl="0" eaLnBrk="1" latinLnBrk="0" hangingPunct="1">
                  <a:spcBef>
                    <a:spcPts val="150"/>
                  </a:spcBef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First, delete the existing image to reset the photo placeholder functionality.</a:t>
                </a:r>
              </a:p>
            </p:txBody>
          </p:sp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25B3D92B-ADE7-4F4A-97DB-1DFE94A4713A}"/>
                  </a:ext>
                </a:extLst>
              </p:cNvPr>
              <p:cNvSpPr txBox="1"/>
              <p:nvPr userDrawn="1"/>
            </p:nvSpPr>
            <p:spPr>
              <a:xfrm>
                <a:off x="9716735" y="8190673"/>
                <a:ext cx="2422981" cy="13850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685800" rtl="0" eaLnBrk="1" latinLnBrk="0" hangingPunct="1">
                  <a:spcBef>
                    <a:spcPts val="150"/>
                  </a:spcBef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You can now add a new image as normal.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27DA6595-306D-0A4B-AE99-BA22D473E46C}"/>
                  </a:ext>
                </a:extLst>
              </p:cNvPr>
              <p:cNvSpPr/>
              <p:nvPr userDrawn="1"/>
            </p:nvSpPr>
            <p:spPr>
              <a:xfrm>
                <a:off x="9541497" y="5675557"/>
                <a:ext cx="2735151" cy="1280928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EF7C1405-EF07-DF44-B3F2-FD2C93E0BA8B}"/>
                  </a:ext>
                </a:extLst>
              </p:cNvPr>
              <p:cNvSpPr txBox="1"/>
              <p:nvPr userDrawn="1"/>
            </p:nvSpPr>
            <p:spPr>
              <a:xfrm>
                <a:off x="9907688" y="5804356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Crop Image</a:t>
                </a:r>
              </a:p>
            </p:txBody>
          </p:sp>
          <p:pic>
            <p:nvPicPr>
              <p:cNvPr id="46" name="Graphic 45">
                <a:extLst>
                  <a:ext uri="{FF2B5EF4-FFF2-40B4-BE49-F238E27FC236}">
                    <a16:creationId xmlns:a16="http://schemas.microsoft.com/office/drawing/2014/main" id="{98B75E83-A291-C749-8530-D0134288939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9701720" y="5814639"/>
                <a:ext cx="155227" cy="155227"/>
              </a:xfrm>
              <a:prstGeom prst="rect">
                <a:avLst/>
              </a:prstGeom>
            </p:spPr>
          </p:pic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49043FBC-99A8-904D-B1DC-ED8D203DAF7E}"/>
                  </a:ext>
                </a:extLst>
              </p:cNvPr>
              <p:cNvSpPr txBox="1"/>
              <p:nvPr userDrawn="1"/>
            </p:nvSpPr>
            <p:spPr>
              <a:xfrm>
                <a:off x="9701720" y="6068540"/>
                <a:ext cx="2384904" cy="777136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Right-click on the image.</a:t>
                </a:r>
              </a:p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Choose “Crop” from the menu. (       )</a:t>
                </a:r>
              </a:p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Adjust the size and position of the image.</a:t>
                </a:r>
              </a:p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Press Esc or click outside the image area to exit the cropping mode.</a:t>
                </a:r>
              </a:p>
            </p:txBody>
          </p:sp>
          <p:pic>
            <p:nvPicPr>
              <p:cNvPr id="48" name="Picture 47">
                <a:extLst>
                  <a:ext uri="{FF2B5EF4-FFF2-40B4-BE49-F238E27FC236}">
                    <a16:creationId xmlns:a16="http://schemas.microsoft.com/office/drawing/2014/main" id="{94798B0E-910D-4A4C-9F6F-4AAF72D24DFC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5"/>
              <a:srcRect l="33684" t="12097" r="43371" b="20368"/>
              <a:stretch/>
            </p:blipFill>
            <p:spPr>
              <a:xfrm>
                <a:off x="11498723" y="6152973"/>
                <a:ext cx="136897" cy="213643"/>
              </a:xfrm>
              <a:prstGeom prst="rect">
                <a:avLst/>
              </a:prstGeom>
              <a:ln w="19050"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</p:pic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52BC29DD-C20C-EA42-8872-8414ACCDD374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9521833" y="2779850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375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1</a:t>
                </a:r>
              </a:p>
            </p:txBody>
          </p: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95A41E19-A5FB-2D4D-8D95-130C7BA64B44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9521833" y="3275404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375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2</a:t>
                </a:r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B4A2419C-7501-4D49-A0B2-08128721E5B0}"/>
                  </a:ext>
                </a:extLst>
              </p:cNvPr>
              <p:cNvSpPr txBox="1"/>
              <p:nvPr userDrawn="1"/>
            </p:nvSpPr>
            <p:spPr>
              <a:xfrm>
                <a:off x="9686426" y="2754823"/>
                <a:ext cx="2453290" cy="707288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0"/>
                <a:r>
                  <a:rPr lang="en-US" sz="788"/>
                  <a:t>Select and download images from the Marketing Resource Database.</a:t>
                </a:r>
              </a:p>
              <a:p>
                <a:pPr lvl="0"/>
                <a:r>
                  <a:rPr lang="en-US" sz="788"/>
                  <a:t>Add the image to the placeholder.</a:t>
                </a:r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5506C958-AF2C-9943-9FB4-E2A3C7843CB1}"/>
                  </a:ext>
                </a:extLst>
              </p:cNvPr>
              <p:cNvSpPr txBox="1"/>
              <p:nvPr userDrawn="1"/>
            </p:nvSpPr>
            <p:spPr>
              <a:xfrm>
                <a:off x="9674267" y="3773935"/>
                <a:ext cx="2374733" cy="32316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/>
                  <a:t>Note: If there are multiple image placeholders on the slide, select the intended placeholder before dragging in the image to let PowerPoint know where you want it.</a:t>
                </a: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C706E14D-CD4C-A845-9F04-15216A850EFD}"/>
                  </a:ext>
                </a:extLst>
              </p:cNvPr>
              <p:cNvSpPr txBox="1"/>
              <p:nvPr userDrawn="1"/>
            </p:nvSpPr>
            <p:spPr>
              <a:xfrm>
                <a:off x="9686426" y="4189192"/>
                <a:ext cx="2297338" cy="63145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/>
                  <a:t>Method 2: </a:t>
                </a:r>
                <a:r>
                  <a:rPr lang="en-US" sz="450" b="0"/>
                  <a:t>Paste from clipboard</a:t>
                </a:r>
              </a:p>
              <a:p>
                <a:pPr lvl="1">
                  <a:buNone/>
                </a:pPr>
                <a:r>
                  <a:rPr lang="en-US" sz="788"/>
                  <a:t>Select the image placeholder. </a:t>
                </a:r>
              </a:p>
              <a:p>
                <a:pPr lvl="1">
                  <a:buNone/>
                </a:pPr>
                <a:r>
                  <a:rPr lang="en-US" sz="788"/>
                  <a:t>Right-click or use keyboard shortcuts to paste the image.</a:t>
                </a: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781F2FB8-3E34-904B-A499-11E8E7059B83}"/>
                  </a:ext>
                </a:extLst>
              </p:cNvPr>
              <p:cNvSpPr txBox="1"/>
              <p:nvPr userDrawn="1"/>
            </p:nvSpPr>
            <p:spPr>
              <a:xfrm>
                <a:off x="9686426" y="4909282"/>
                <a:ext cx="2297338" cy="4346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/>
                  <a:t>Method 3: </a:t>
                </a:r>
                <a:r>
                  <a:rPr lang="en-US" sz="450" b="0"/>
                  <a:t>Placeholder icon</a:t>
                </a:r>
              </a:p>
              <a:p>
                <a:pPr lvl="1">
                  <a:buNone/>
                </a:pPr>
                <a:r>
                  <a:rPr lang="en-US" sz="788"/>
                  <a:t>Click the image icon inside the placeholder to browse for an image.</a:t>
                </a:r>
              </a:p>
            </p:txBody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E470A557-B8E0-3A45-9AF0-EA49D8E444DD}"/>
                  </a:ext>
                </a:extLst>
              </p:cNvPr>
              <p:cNvSpPr txBox="1"/>
              <p:nvPr userDrawn="1"/>
            </p:nvSpPr>
            <p:spPr>
              <a:xfrm>
                <a:off x="9674267" y="5339846"/>
                <a:ext cx="2374733" cy="21544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/>
                  <a:t>Note: This icon may be covered by another element. </a:t>
                </a:r>
                <a:br>
                  <a:rPr lang="en-US" sz="525"/>
                </a:br>
                <a:r>
                  <a:rPr lang="en-US" sz="525"/>
                  <a:t>In this case use one of the other methods.</a:t>
                </a:r>
              </a:p>
            </p:txBody>
          </p:sp>
        </p:grp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E6CC4D87-33F0-FC4F-BA5B-B1A92EB4BE71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1670329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sz="825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E1268B1E-F62E-304A-B81F-61E2F75FA67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AE87001B-4793-B648-AA15-C4839E720D70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7359337" y="4650581"/>
            <a:ext cx="1343822" cy="114262"/>
          </a:xfrm>
          <a:effectLst/>
        </p:spPr>
        <p:txBody>
          <a:bodyPr wrap="square" anchor="b">
            <a:sp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 b="0">
                <a:solidFill>
                  <a:schemeClr val="bg1"/>
                </a:solidFill>
                <a:effectLst/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photo caption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39E4D18-9C18-1044-90FB-55BA101FB9A6}"/>
              </a:ext>
            </a:extLst>
          </p:cNvPr>
          <p:cNvSpPr>
            <a:spLocks noGrp="1"/>
          </p:cNvSpPr>
          <p:nvPr userDrawn="1"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A6F3FDB-CFE4-E643-8F66-62F5B43DC7E7}"/>
              </a:ext>
            </a:extLst>
          </p:cNvPr>
          <p:cNvSpPr>
            <a:spLocks noGrp="1"/>
          </p:cNvSpPr>
          <p:nvPr userDrawn="1"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B21BDA-AD36-4743-9F8E-0A4C0BC0DD64}"/>
              </a:ext>
            </a:extLst>
          </p:cNvPr>
          <p:cNvSpPr>
            <a:spLocks noGrp="1"/>
          </p:cNvSpPr>
          <p:nvPr userDrawn="1">
            <p:ph type="sldNum" sz="quarter" idx="18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9525"/>
            <a:fld id="{078C017C-E1B9-8443-B047-B08AAA027B45}" type="slidenum">
              <a:rPr lang="en-US" smtClean="0"/>
              <a:pPr marL="9525"/>
              <a:t>‹#›</a:t>
            </a:fld>
            <a:endParaRPr lang="en-US"/>
          </a:p>
        </p:txBody>
      </p:sp>
      <p:grpSp>
        <p:nvGrpSpPr>
          <p:cNvPr id="96" name="Group 95">
            <a:extLst>
              <a:ext uri="{FF2B5EF4-FFF2-40B4-BE49-F238E27FC236}">
                <a16:creationId xmlns:a16="http://schemas.microsoft.com/office/drawing/2014/main" id="{673DA702-693D-CC41-B851-ADCA7E442CAD}"/>
              </a:ext>
            </a:extLst>
          </p:cNvPr>
          <p:cNvGrpSpPr/>
          <p:nvPr userDrawn="1"/>
        </p:nvGrpSpPr>
        <p:grpSpPr>
          <a:xfrm>
            <a:off x="431241" y="-185200"/>
            <a:ext cx="8280400" cy="5510478"/>
            <a:chOff x="431240" y="-246933"/>
            <a:chExt cx="8280400" cy="7347304"/>
          </a:xfrm>
        </p:grpSpPr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68E21C45-C896-3A4E-9AC2-0B2E1C68424D}"/>
                </a:ext>
              </a:extLst>
            </p:cNvPr>
            <p:cNvGrpSpPr/>
            <p:nvPr userDrawn="1"/>
          </p:nvGrpSpPr>
          <p:grpSpPr>
            <a:xfrm>
              <a:off x="431242" y="6864579"/>
              <a:ext cx="8280398" cy="235792"/>
              <a:chOff x="431801" y="-235792"/>
              <a:chExt cx="4400550" cy="235792"/>
            </a:xfrm>
          </p:grpSpPr>
          <p:cxnSp>
            <p:nvCxnSpPr>
              <p:cNvPr id="106" name="Straight Connector 105">
                <a:extLst>
                  <a:ext uri="{FF2B5EF4-FFF2-40B4-BE49-F238E27FC236}">
                    <a16:creationId xmlns:a16="http://schemas.microsoft.com/office/drawing/2014/main" id="{E11C4987-4F88-FA4D-9044-5BEA5CD0FD7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>
                <a:extLst>
                  <a:ext uri="{FF2B5EF4-FFF2-40B4-BE49-F238E27FC236}">
                    <a16:creationId xmlns:a16="http://schemas.microsoft.com/office/drawing/2014/main" id="{CFAFED8F-4D61-3A4C-B900-C1AFD574285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0F0D3C41-93FC-C045-9185-5A21C57F01F2}"/>
                </a:ext>
              </a:extLst>
            </p:cNvPr>
            <p:cNvGrpSpPr/>
            <p:nvPr userDrawn="1"/>
          </p:nvGrpSpPr>
          <p:grpSpPr>
            <a:xfrm>
              <a:off x="431240" y="-246933"/>
              <a:ext cx="8280400" cy="235792"/>
              <a:chOff x="431800" y="-240735"/>
              <a:chExt cx="8280400" cy="235792"/>
            </a:xfrm>
          </p:grpSpPr>
          <p:grpSp>
            <p:nvGrpSpPr>
              <p:cNvPr id="99" name="Group 98">
                <a:extLst>
                  <a:ext uri="{FF2B5EF4-FFF2-40B4-BE49-F238E27FC236}">
                    <a16:creationId xmlns:a16="http://schemas.microsoft.com/office/drawing/2014/main" id="{1D065C1D-41DC-ED41-AC5F-9B220460AFDF}"/>
                  </a:ext>
                </a:extLst>
              </p:cNvPr>
              <p:cNvGrpSpPr/>
              <p:nvPr userDrawn="1"/>
            </p:nvGrpSpPr>
            <p:grpSpPr>
              <a:xfrm>
                <a:off x="431800" y="-240735"/>
                <a:ext cx="8280400" cy="235792"/>
                <a:chOff x="431800" y="-235792"/>
                <a:chExt cx="4400551" cy="235792"/>
              </a:xfrm>
            </p:grpSpPr>
            <p:cxnSp>
              <p:nvCxnSpPr>
                <p:cNvPr id="103" name="Straight Connector 102">
                  <a:extLst>
                    <a:ext uri="{FF2B5EF4-FFF2-40B4-BE49-F238E27FC236}">
                      <a16:creationId xmlns:a16="http://schemas.microsoft.com/office/drawing/2014/main" id="{0C96A83E-17A8-C54D-A34D-A4D00E992C7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4" name="Straight Connector 103">
                  <a:extLst>
                    <a:ext uri="{FF2B5EF4-FFF2-40B4-BE49-F238E27FC236}">
                      <a16:creationId xmlns:a16="http://schemas.microsoft.com/office/drawing/2014/main" id="{EE874F0A-C444-FD4A-ABF6-C6D41FC80E57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5" name="Rectangle 104">
                  <a:extLst>
                    <a:ext uri="{FF2B5EF4-FFF2-40B4-BE49-F238E27FC236}">
                      <a16:creationId xmlns:a16="http://schemas.microsoft.com/office/drawing/2014/main" id="{E74B379E-15F9-2A4A-A6FF-49649073612C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</p:grpSp>
          <p:sp>
            <p:nvSpPr>
              <p:cNvPr id="100" name="TextBox 99">
                <a:extLst>
                  <a:ext uri="{FF2B5EF4-FFF2-40B4-BE49-F238E27FC236}">
                    <a16:creationId xmlns:a16="http://schemas.microsoft.com/office/drawing/2014/main" id="{4B9BE125-E956-8941-AE3B-AD6895BD1F8B}"/>
                  </a:ext>
                </a:extLst>
              </p:cNvPr>
              <p:cNvSpPr txBox="1"/>
              <p:nvPr userDrawn="1"/>
            </p:nvSpPr>
            <p:spPr>
              <a:xfrm>
                <a:off x="3883466" y="-176700"/>
                <a:ext cx="1377081" cy="107721"/>
              </a:xfrm>
              <a:prstGeom prst="rect">
                <a:avLst/>
              </a:prstGeom>
            </p:spPr>
            <p:txBody>
              <a:bodyPr vert="horz" wrap="none" lIns="108000" tIns="0" rIns="108000" bIns="0" rtlCol="0" anchor="ctr">
                <a:spAutoFit/>
              </a:bodyPr>
              <a:lstStyle/>
              <a:p>
                <a:pPr algn="ctr"/>
                <a:r>
                  <a:rPr lang="en-US" sz="5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KEEP CONTENT WITHIN THIS AREA</a:t>
                </a:r>
              </a:p>
            </p:txBody>
          </p:sp>
          <p:cxnSp>
            <p:nvCxnSpPr>
              <p:cNvPr id="101" name="Straight Arrow Connector 100">
                <a:extLst>
                  <a:ext uri="{FF2B5EF4-FFF2-40B4-BE49-F238E27FC236}">
                    <a16:creationId xmlns:a16="http://schemas.microsoft.com/office/drawing/2014/main" id="{B40F167B-24AA-EA40-9DF5-3D37F00624E8}"/>
                  </a:ext>
                </a:extLst>
              </p:cNvPr>
              <p:cNvCxnSpPr>
                <a:cxnSpLocks/>
                <a:stCxn id="100" idx="1"/>
                <a:endCxn id="105" idx="2"/>
              </p:cNvCxnSpPr>
              <p:nvPr userDrawn="1"/>
            </p:nvCxnSpPr>
            <p:spPr>
              <a:xfrm flipH="1">
                <a:off x="431800" y="-122839"/>
                <a:ext cx="3451666" cy="1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Arrow Connector 101">
                <a:extLst>
                  <a:ext uri="{FF2B5EF4-FFF2-40B4-BE49-F238E27FC236}">
                    <a16:creationId xmlns:a16="http://schemas.microsoft.com/office/drawing/2014/main" id="{4111FD70-76FA-D84E-9207-CC62337BE3E4}"/>
                  </a:ext>
                </a:extLst>
              </p:cNvPr>
              <p:cNvCxnSpPr>
                <a:cxnSpLocks/>
                <a:stCxn id="100" idx="3"/>
                <a:endCxn id="105" idx="0"/>
              </p:cNvCxnSpPr>
              <p:nvPr userDrawn="1"/>
            </p:nvCxnSpPr>
            <p:spPr>
              <a:xfrm>
                <a:off x="5260547" y="-122839"/>
                <a:ext cx="3451653" cy="0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51595873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+A (Plai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Box 33">
            <a:extLst>
              <a:ext uri="{FF2B5EF4-FFF2-40B4-BE49-F238E27FC236}">
                <a16:creationId xmlns:a16="http://schemas.microsoft.com/office/drawing/2014/main" id="{66A325C2-D12F-7B40-91F5-4861BF43A0FF}"/>
              </a:ext>
            </a:extLst>
          </p:cNvPr>
          <p:cNvSpPr txBox="1">
            <a:spLocks/>
          </p:cNvSpPr>
          <p:nvPr userDrawn="1"/>
        </p:nvSpPr>
        <p:spPr>
          <a:xfrm>
            <a:off x="0" y="4650582"/>
            <a:ext cx="9144000" cy="492919"/>
          </a:xfrm>
          <a:custGeom>
            <a:avLst/>
            <a:gdLst>
              <a:gd name="connsiteX0" fmla="*/ 8545321 w 9144000"/>
              <a:gd name="connsiteY0" fmla="*/ 376500 h 657225"/>
              <a:gd name="connsiteX1" fmla="*/ 8554631 w 9144000"/>
              <a:gd name="connsiteY1" fmla="*/ 376500 h 657225"/>
              <a:gd name="connsiteX2" fmla="*/ 8572756 w 9144000"/>
              <a:gd name="connsiteY2" fmla="*/ 391789 h 657225"/>
              <a:gd name="connsiteX3" fmla="*/ 8552841 w 9144000"/>
              <a:gd name="connsiteY3" fmla="*/ 407812 h 657225"/>
              <a:gd name="connsiteX4" fmla="*/ 8552841 w 9144000"/>
              <a:gd name="connsiteY4" fmla="*/ 407699 h 657225"/>
              <a:gd name="connsiteX5" fmla="*/ 8545321 w 9144000"/>
              <a:gd name="connsiteY5" fmla="*/ 407699 h 657225"/>
              <a:gd name="connsiteX6" fmla="*/ 8440532 w 9144000"/>
              <a:gd name="connsiteY6" fmla="*/ 375390 h 657225"/>
              <a:gd name="connsiteX7" fmla="*/ 8450870 w 9144000"/>
              <a:gd name="connsiteY7" fmla="*/ 375390 h 657225"/>
              <a:gd name="connsiteX8" fmla="*/ 8486566 w 9144000"/>
              <a:gd name="connsiteY8" fmla="*/ 406439 h 657225"/>
              <a:gd name="connsiteX9" fmla="*/ 8452487 w 9144000"/>
              <a:gd name="connsiteY9" fmla="*/ 439520 h 657225"/>
              <a:gd name="connsiteX10" fmla="*/ 8440532 w 9144000"/>
              <a:gd name="connsiteY10" fmla="*/ 439520 h 657225"/>
              <a:gd name="connsiteX11" fmla="*/ 8359313 w 9144000"/>
              <a:gd name="connsiteY11" fmla="*/ 353970 h 657225"/>
              <a:gd name="connsiteX12" fmla="*/ 8357847 w 9144000"/>
              <a:gd name="connsiteY12" fmla="*/ 357073 h 657225"/>
              <a:gd name="connsiteX13" fmla="*/ 8338066 w 9144000"/>
              <a:gd name="connsiteY13" fmla="*/ 398879 h 657225"/>
              <a:gd name="connsiteX14" fmla="*/ 8338066 w 9144000"/>
              <a:gd name="connsiteY14" fmla="*/ 460790 h 657225"/>
              <a:gd name="connsiteX15" fmla="*/ 8406529 w 9144000"/>
              <a:gd name="connsiteY15" fmla="*/ 460790 h 657225"/>
              <a:gd name="connsiteX16" fmla="*/ 8406529 w 9144000"/>
              <a:gd name="connsiteY16" fmla="*/ 438203 h 657225"/>
              <a:gd name="connsiteX17" fmla="*/ 8363159 w 9144000"/>
              <a:gd name="connsiteY17" fmla="*/ 438203 h 657225"/>
              <a:gd name="connsiteX18" fmla="*/ 8363159 w 9144000"/>
              <a:gd name="connsiteY18" fmla="*/ 417366 h 657225"/>
              <a:gd name="connsiteX19" fmla="*/ 8402683 w 9144000"/>
              <a:gd name="connsiteY19" fmla="*/ 417366 h 657225"/>
              <a:gd name="connsiteX20" fmla="*/ 8402683 w 9144000"/>
              <a:gd name="connsiteY20" fmla="*/ 395795 h 657225"/>
              <a:gd name="connsiteX21" fmla="*/ 8363159 w 9144000"/>
              <a:gd name="connsiteY21" fmla="*/ 395795 h 657225"/>
              <a:gd name="connsiteX22" fmla="*/ 8363159 w 9144000"/>
              <a:gd name="connsiteY22" fmla="*/ 376707 h 657225"/>
              <a:gd name="connsiteX23" fmla="*/ 8406529 w 9144000"/>
              <a:gd name="connsiteY23" fmla="*/ 376707 h 657225"/>
              <a:gd name="connsiteX24" fmla="*/ 8406529 w 9144000"/>
              <a:gd name="connsiteY24" fmla="*/ 353970 h 657225"/>
              <a:gd name="connsiteX25" fmla="*/ 8245576 w 9144000"/>
              <a:gd name="connsiteY25" fmla="*/ 353951 h 657225"/>
              <a:gd name="connsiteX26" fmla="*/ 8262083 w 9144000"/>
              <a:gd name="connsiteY26" fmla="*/ 388348 h 657225"/>
              <a:gd name="connsiteX27" fmla="*/ 8288527 w 9144000"/>
              <a:gd name="connsiteY27" fmla="*/ 388348 h 657225"/>
              <a:gd name="connsiteX28" fmla="*/ 8273963 w 9144000"/>
              <a:gd name="connsiteY28" fmla="*/ 353951 h 657225"/>
              <a:gd name="connsiteX29" fmla="*/ 8520246 w 9144000"/>
              <a:gd name="connsiteY29" fmla="*/ 353932 h 657225"/>
              <a:gd name="connsiteX30" fmla="*/ 8520246 w 9144000"/>
              <a:gd name="connsiteY30" fmla="*/ 460789 h 657225"/>
              <a:gd name="connsiteX31" fmla="*/ 8545321 w 9144000"/>
              <a:gd name="connsiteY31" fmla="*/ 460789 h 657225"/>
              <a:gd name="connsiteX32" fmla="*/ 8545321 w 9144000"/>
              <a:gd name="connsiteY32" fmla="*/ 429157 h 657225"/>
              <a:gd name="connsiteX33" fmla="*/ 8554631 w 9144000"/>
              <a:gd name="connsiteY33" fmla="*/ 429157 h 657225"/>
              <a:gd name="connsiteX34" fmla="*/ 8598420 w 9144000"/>
              <a:gd name="connsiteY34" fmla="*/ 391244 h 657225"/>
              <a:gd name="connsiteX35" fmla="*/ 8550347 w 9144000"/>
              <a:gd name="connsiteY35" fmla="*/ 353932 h 657225"/>
              <a:gd name="connsiteX36" fmla="*/ 8415496 w 9144000"/>
              <a:gd name="connsiteY36" fmla="*/ 353932 h 657225"/>
              <a:gd name="connsiteX37" fmla="*/ 8415496 w 9144000"/>
              <a:gd name="connsiteY37" fmla="*/ 460695 h 657225"/>
              <a:gd name="connsiteX38" fmla="*/ 8448547 w 9144000"/>
              <a:gd name="connsiteY38" fmla="*/ 460808 h 657225"/>
              <a:gd name="connsiteX39" fmla="*/ 8513278 w 9144000"/>
              <a:gd name="connsiteY39" fmla="*/ 406439 h 657225"/>
              <a:gd name="connsiteX40" fmla="*/ 8447462 w 9144000"/>
              <a:gd name="connsiteY40" fmla="*/ 353970 h 657225"/>
              <a:gd name="connsiteX41" fmla="*/ 8447500 w 9144000"/>
              <a:gd name="connsiteY41" fmla="*/ 353932 h 657225"/>
              <a:gd name="connsiteX42" fmla="*/ 8415496 w 9144000"/>
              <a:gd name="connsiteY42" fmla="*/ 353932 h 657225"/>
              <a:gd name="connsiteX43" fmla="*/ 8323901 w 9144000"/>
              <a:gd name="connsiteY43" fmla="*/ 353932 h 657225"/>
              <a:gd name="connsiteX44" fmla="*/ 8298694 w 9144000"/>
              <a:gd name="connsiteY44" fmla="*/ 411874 h 657225"/>
              <a:gd name="connsiteX45" fmla="*/ 8291859 w 9144000"/>
              <a:gd name="connsiteY45" fmla="*/ 395870 h 657225"/>
              <a:gd name="connsiteX46" fmla="*/ 8265624 w 9144000"/>
              <a:gd name="connsiteY46" fmla="*/ 395870 h 657225"/>
              <a:gd name="connsiteX47" fmla="*/ 8296943 w 9144000"/>
              <a:gd name="connsiteY47" fmla="*/ 461203 h 657225"/>
              <a:gd name="connsiteX48" fmla="*/ 8299856 w 9144000"/>
              <a:gd name="connsiteY48" fmla="*/ 461203 h 657225"/>
              <a:gd name="connsiteX49" fmla="*/ 8350594 w 9144000"/>
              <a:gd name="connsiteY49" fmla="*/ 353932 h 657225"/>
              <a:gd name="connsiteX50" fmla="*/ 8704282 w 9144000"/>
              <a:gd name="connsiteY50" fmla="*/ 315373 h 657225"/>
              <a:gd name="connsiteX51" fmla="*/ 8704282 w 9144000"/>
              <a:gd name="connsiteY51" fmla="*/ 489998 h 657225"/>
              <a:gd name="connsiteX52" fmla="*/ 8723671 w 9144000"/>
              <a:gd name="connsiteY52" fmla="*/ 489998 h 657225"/>
              <a:gd name="connsiteX53" fmla="*/ 8723671 w 9144000"/>
              <a:gd name="connsiteY53" fmla="*/ 315373 h 657225"/>
              <a:gd name="connsiteX54" fmla="*/ 0 w 9144000"/>
              <a:gd name="connsiteY54" fmla="*/ 0 h 657225"/>
              <a:gd name="connsiteX55" fmla="*/ 9144000 w 9144000"/>
              <a:gd name="connsiteY55" fmla="*/ 0 h 657225"/>
              <a:gd name="connsiteX56" fmla="*/ 9144000 w 9144000"/>
              <a:gd name="connsiteY56" fmla="*/ 657225 h 657225"/>
              <a:gd name="connsiteX57" fmla="*/ 0 w 9144000"/>
              <a:gd name="connsiteY57" fmla="*/ 657225 h 657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9144000" h="657225">
                <a:moveTo>
                  <a:pt x="8545321" y="376500"/>
                </a:moveTo>
                <a:lnTo>
                  <a:pt x="8554631" y="376500"/>
                </a:lnTo>
                <a:cubicBezTo>
                  <a:pt x="8567006" y="376500"/>
                  <a:pt x="8572756" y="383195"/>
                  <a:pt x="8572756" y="391789"/>
                </a:cubicBezTo>
                <a:cubicBezTo>
                  <a:pt x="8572756" y="402133"/>
                  <a:pt x="8566130" y="407812"/>
                  <a:pt x="8552841" y="407812"/>
                </a:cubicBezTo>
                <a:lnTo>
                  <a:pt x="8552841" y="407699"/>
                </a:lnTo>
                <a:lnTo>
                  <a:pt x="8545321" y="407699"/>
                </a:lnTo>
                <a:close/>
                <a:moveTo>
                  <a:pt x="8440532" y="375390"/>
                </a:moveTo>
                <a:lnTo>
                  <a:pt x="8450870" y="375390"/>
                </a:lnTo>
                <a:cubicBezTo>
                  <a:pt x="8474172" y="375390"/>
                  <a:pt x="8486566" y="387050"/>
                  <a:pt x="8486566" y="406439"/>
                </a:cubicBezTo>
                <a:cubicBezTo>
                  <a:pt x="8486566" y="426412"/>
                  <a:pt x="8476095" y="439520"/>
                  <a:pt x="8452487" y="439520"/>
                </a:cubicBezTo>
                <a:lnTo>
                  <a:pt x="8440532" y="439520"/>
                </a:lnTo>
                <a:close/>
                <a:moveTo>
                  <a:pt x="8359313" y="353970"/>
                </a:moveTo>
                <a:lnTo>
                  <a:pt x="8357847" y="357073"/>
                </a:lnTo>
                <a:lnTo>
                  <a:pt x="8338066" y="398879"/>
                </a:lnTo>
                <a:lnTo>
                  <a:pt x="8338066" y="460790"/>
                </a:lnTo>
                <a:lnTo>
                  <a:pt x="8406529" y="460790"/>
                </a:lnTo>
                <a:lnTo>
                  <a:pt x="8406529" y="438203"/>
                </a:lnTo>
                <a:lnTo>
                  <a:pt x="8363159" y="438203"/>
                </a:lnTo>
                <a:lnTo>
                  <a:pt x="8363159" y="417366"/>
                </a:lnTo>
                <a:lnTo>
                  <a:pt x="8402683" y="417366"/>
                </a:lnTo>
                <a:lnTo>
                  <a:pt x="8402683" y="395795"/>
                </a:lnTo>
                <a:lnTo>
                  <a:pt x="8363159" y="395795"/>
                </a:lnTo>
                <a:lnTo>
                  <a:pt x="8363159" y="376707"/>
                </a:lnTo>
                <a:lnTo>
                  <a:pt x="8406529" y="376707"/>
                </a:lnTo>
                <a:lnTo>
                  <a:pt x="8406529" y="353970"/>
                </a:lnTo>
                <a:close/>
                <a:moveTo>
                  <a:pt x="8245576" y="353951"/>
                </a:moveTo>
                <a:lnTo>
                  <a:pt x="8262083" y="388348"/>
                </a:lnTo>
                <a:lnTo>
                  <a:pt x="8288527" y="388348"/>
                </a:lnTo>
                <a:lnTo>
                  <a:pt x="8273963" y="353951"/>
                </a:lnTo>
                <a:close/>
                <a:moveTo>
                  <a:pt x="8520246" y="353932"/>
                </a:moveTo>
                <a:lnTo>
                  <a:pt x="8520246" y="460789"/>
                </a:lnTo>
                <a:lnTo>
                  <a:pt x="8545321" y="460789"/>
                </a:lnTo>
                <a:lnTo>
                  <a:pt x="8545321" y="429157"/>
                </a:lnTo>
                <a:lnTo>
                  <a:pt x="8554631" y="429157"/>
                </a:lnTo>
                <a:cubicBezTo>
                  <a:pt x="8583189" y="429157"/>
                  <a:pt x="8598420" y="413266"/>
                  <a:pt x="8598420" y="391244"/>
                </a:cubicBezTo>
                <a:cubicBezTo>
                  <a:pt x="8598439" y="369711"/>
                  <a:pt x="8581628" y="353932"/>
                  <a:pt x="8550347" y="353932"/>
                </a:cubicBezTo>
                <a:close/>
                <a:moveTo>
                  <a:pt x="8415496" y="353932"/>
                </a:moveTo>
                <a:lnTo>
                  <a:pt x="8415496" y="460695"/>
                </a:lnTo>
                <a:cubicBezTo>
                  <a:pt x="8415496" y="460695"/>
                  <a:pt x="8435867" y="460808"/>
                  <a:pt x="8448547" y="460808"/>
                </a:cubicBezTo>
                <a:cubicBezTo>
                  <a:pt x="8493382" y="460808"/>
                  <a:pt x="8513278" y="437921"/>
                  <a:pt x="8513278" y="406439"/>
                </a:cubicBezTo>
                <a:cubicBezTo>
                  <a:pt x="8513278" y="376349"/>
                  <a:pt x="8492335" y="353970"/>
                  <a:pt x="8447462" y="353970"/>
                </a:cubicBezTo>
                <a:lnTo>
                  <a:pt x="8447500" y="353932"/>
                </a:lnTo>
                <a:cubicBezTo>
                  <a:pt x="8436743" y="353932"/>
                  <a:pt x="8415496" y="353932"/>
                  <a:pt x="8415496" y="353932"/>
                </a:cubicBezTo>
                <a:close/>
                <a:moveTo>
                  <a:pt x="8323901" y="353932"/>
                </a:moveTo>
                <a:lnTo>
                  <a:pt x="8298694" y="411874"/>
                </a:lnTo>
                <a:lnTo>
                  <a:pt x="8291859" y="395870"/>
                </a:lnTo>
                <a:lnTo>
                  <a:pt x="8265624" y="395870"/>
                </a:lnTo>
                <a:lnTo>
                  <a:pt x="8296943" y="461203"/>
                </a:lnTo>
                <a:lnTo>
                  <a:pt x="8299856" y="461203"/>
                </a:lnTo>
                <a:lnTo>
                  <a:pt x="8350594" y="353932"/>
                </a:lnTo>
                <a:close/>
                <a:moveTo>
                  <a:pt x="8704282" y="315373"/>
                </a:moveTo>
                <a:lnTo>
                  <a:pt x="8704282" y="489998"/>
                </a:lnTo>
                <a:lnTo>
                  <a:pt x="8723671" y="489998"/>
                </a:lnTo>
                <a:lnTo>
                  <a:pt x="8723671" y="315373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57225"/>
                </a:lnTo>
                <a:lnTo>
                  <a:pt x="0" y="65722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Wingdings" pitchFamily="2" charset="2"/>
              <a:buNone/>
              <a:defRPr sz="1400" b="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7850" indent="-30162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50"/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E79AC3E7-6F38-DB4F-A28C-F43DDC379D28}"/>
              </a:ext>
            </a:extLst>
          </p:cNvPr>
          <p:cNvSpPr/>
          <p:nvPr userDrawn="1"/>
        </p:nvSpPr>
        <p:spPr>
          <a:xfrm>
            <a:off x="1" y="0"/>
            <a:ext cx="7217021" cy="5143500"/>
          </a:xfrm>
          <a:custGeom>
            <a:avLst/>
            <a:gdLst>
              <a:gd name="connsiteX0" fmla="*/ 0 w 7217021"/>
              <a:gd name="connsiteY0" fmla="*/ 0 h 6858000"/>
              <a:gd name="connsiteX1" fmla="*/ 3962555 w 7217021"/>
              <a:gd name="connsiteY1" fmla="*/ 0 h 6858000"/>
              <a:gd name="connsiteX2" fmla="*/ 7217021 w 7217021"/>
              <a:gd name="connsiteY2" fmla="*/ 6858000 h 6858000"/>
              <a:gd name="connsiteX3" fmla="*/ 0 w 721702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17021" h="6858000">
                <a:moveTo>
                  <a:pt x="0" y="0"/>
                </a:moveTo>
                <a:lnTo>
                  <a:pt x="3962555" y="0"/>
                </a:lnTo>
                <a:lnTo>
                  <a:pt x="721702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44084FA-14AD-964B-87DF-2AC4D0E255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" y="1411360"/>
            <a:ext cx="5194851" cy="2320782"/>
          </a:xfrm>
          <a:prstGeom prst="rect">
            <a:avLst/>
          </a:prstGeom>
          <a:noFill/>
          <a:ln>
            <a:noFill/>
          </a:ln>
        </p:spPr>
        <p:txBody>
          <a:bodyPr wrap="square" lIns="432000" tIns="0" rIns="0" bIns="0" anchor="ctr">
            <a:noAutofit/>
          </a:bodyPr>
          <a:lstStyle>
            <a:lvl1pPr marL="15479" indent="0">
              <a:spcAft>
                <a:spcPts val="225"/>
              </a:spcAft>
              <a:buNone/>
              <a:tabLst/>
              <a:defRPr sz="4950" b="1">
                <a:solidFill>
                  <a:schemeClr val="bg1"/>
                </a:solidFill>
              </a:defRPr>
            </a:lvl1pPr>
            <a:lvl2pPr marL="15479" indent="0">
              <a:spcAft>
                <a:spcPts val="150"/>
              </a:spcAft>
              <a:buNone/>
              <a:tabLst/>
              <a:defRPr sz="1050">
                <a:solidFill>
                  <a:schemeClr val="bg1"/>
                </a:solidFill>
              </a:defRPr>
            </a:lvl2pPr>
            <a:lvl3pPr marL="15479" indent="0">
              <a:spcAft>
                <a:spcPts val="150"/>
              </a:spcAft>
              <a:buFont typeface="Wingdings" pitchFamily="2" charset="2"/>
              <a:buNone/>
              <a:tabLst/>
              <a:defRPr sz="1050">
                <a:solidFill>
                  <a:schemeClr val="bg1"/>
                </a:solidFill>
              </a:defRPr>
            </a:lvl3pPr>
            <a:lvl4pPr marL="15479" indent="0">
              <a:spcAft>
                <a:spcPts val="150"/>
              </a:spcAft>
              <a:buFont typeface="System Font Regular"/>
              <a:buNone/>
              <a:tabLst/>
              <a:defRPr sz="1050">
                <a:solidFill>
                  <a:schemeClr val="bg1"/>
                </a:solidFill>
              </a:defRPr>
            </a:lvl4pPr>
            <a:lvl5pPr marL="15479" indent="0">
              <a:spcAft>
                <a:spcPts val="150"/>
              </a:spcAft>
              <a:buNone/>
              <a:tabLst/>
              <a:defRPr sz="1050">
                <a:solidFill>
                  <a:schemeClr val="bg1"/>
                </a:solidFill>
              </a:defRPr>
            </a:lvl5pPr>
            <a:lvl6pPr marL="15479" indent="0">
              <a:buNone/>
              <a:tabLst/>
              <a:defRPr>
                <a:solidFill>
                  <a:schemeClr val="bg1"/>
                </a:solidFill>
              </a:defRPr>
            </a:lvl6pPr>
            <a:lvl7pPr marL="15479" indent="0">
              <a:buNone/>
              <a:tabLst/>
              <a:defRPr>
                <a:solidFill>
                  <a:schemeClr val="bg1"/>
                </a:solidFill>
              </a:defRPr>
            </a:lvl7pPr>
            <a:lvl8pPr marL="15479" indent="0">
              <a:buNone/>
              <a:tabLst/>
              <a:defRPr>
                <a:solidFill>
                  <a:schemeClr val="bg1"/>
                </a:solidFill>
              </a:defRPr>
            </a:lvl8pPr>
            <a:lvl9pPr marL="15479" indent="0">
              <a:buNone/>
              <a:tabLst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Q&amp;A message</a:t>
            </a:r>
          </a:p>
          <a:p>
            <a:pPr lvl="1"/>
            <a:r>
              <a:rPr lang="en-US"/>
              <a:t>Second level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103AB71-ACF2-D747-99D4-1B67168DB846}"/>
              </a:ext>
            </a:extLst>
          </p:cNvPr>
          <p:cNvGrpSpPr/>
          <p:nvPr userDrawn="1"/>
        </p:nvGrpSpPr>
        <p:grpSpPr>
          <a:xfrm>
            <a:off x="-256964" y="1822278"/>
            <a:ext cx="251461" cy="1498945"/>
            <a:chOff x="-256404" y="360363"/>
            <a:chExt cx="251461" cy="692152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03C6CB04-838C-1B48-B38E-7B94BB69DD62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791AF36-A848-784A-9A81-59277F52155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9DBC04DA-F43F-C344-981D-CACEBABFB90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BABEF78A-48F4-204E-80F9-FC75EBD140D2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</p:grp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116AC5B1-5C25-304E-951F-89E93B11D04C}"/>
                </a:ext>
              </a:extLst>
            </p:cNvPr>
            <p:cNvSpPr txBox="1"/>
            <p:nvPr userDrawn="1"/>
          </p:nvSpPr>
          <p:spPr>
            <a:xfrm rot="16200000">
              <a:off x="-245027" y="662666"/>
              <a:ext cx="228722" cy="80791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Q&amp;A MESSAGE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A9A7483A-4424-4C4C-B1F2-8E0F2C79B3A4}"/>
              </a:ext>
            </a:extLst>
          </p:cNvPr>
          <p:cNvGrpSpPr/>
          <p:nvPr userDrawn="1"/>
        </p:nvGrpSpPr>
        <p:grpSpPr>
          <a:xfrm>
            <a:off x="9399183" y="-1"/>
            <a:ext cx="2961715" cy="5143501"/>
            <a:chOff x="9399182" y="-1"/>
            <a:chExt cx="2961715" cy="6858001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9743BD3E-2C67-B54E-81F0-54DACF7DFE45}"/>
                </a:ext>
              </a:extLst>
            </p:cNvPr>
            <p:cNvSpPr/>
            <p:nvPr userDrawn="1"/>
          </p:nvSpPr>
          <p:spPr>
            <a:xfrm>
              <a:off x="9399182" y="-1"/>
              <a:ext cx="2798651" cy="6858001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050"/>
            </a:p>
          </p:txBody>
        </p:sp>
        <p:pic>
          <p:nvPicPr>
            <p:cNvPr id="47" name="Picture 46">
              <a:extLst>
                <a:ext uri="{FF2B5EF4-FFF2-40B4-BE49-F238E27FC236}">
                  <a16:creationId xmlns:a16="http://schemas.microsoft.com/office/drawing/2014/main" id="{A9367C43-CC85-224D-AD7D-1ED5A0D9F64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31332"/>
            <a:stretch/>
          </p:blipFill>
          <p:spPr>
            <a:xfrm>
              <a:off x="9558506" y="1334591"/>
              <a:ext cx="2639325" cy="793238"/>
            </a:xfrm>
            <a:prstGeom prst="rect">
              <a:avLst/>
            </a:prstGeom>
          </p:spPr>
        </p:pic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2A9C7FA4-FCE6-7949-A0D7-679DD9A64FDC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53" name="Rectangle 52">
                <a:extLst>
                  <a:ext uri="{FF2B5EF4-FFF2-40B4-BE49-F238E27FC236}">
                    <a16:creationId xmlns:a16="http://schemas.microsoft.com/office/drawing/2014/main" id="{E6A4374B-28C4-A446-B944-F0B0823BD893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EE586C57-8856-BD47-9CD4-B7DE17D313F0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55" name="Picture 54">
                <a:extLst>
                  <a:ext uri="{FF2B5EF4-FFF2-40B4-BE49-F238E27FC236}">
                    <a16:creationId xmlns:a16="http://schemas.microsoft.com/office/drawing/2014/main" id="{819A74B4-84E5-5946-9114-CF2C00B8314B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0C99A293-5185-464D-9613-58B7520A8FFD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1670329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sz="825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1C5A7CD5-C968-D840-92D1-2E763C0E070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A94A909-1D52-5E46-B1A0-D0AF81D2814A}"/>
              </a:ext>
            </a:extLst>
          </p:cNvPr>
          <p:cNvSpPr>
            <a:spLocks noGrp="1"/>
          </p:cNvSpPr>
          <p:nvPr userDrawn="1"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7A6EC4E-A217-D940-A712-EF8E45593574}"/>
              </a:ext>
            </a:extLst>
          </p:cNvPr>
          <p:cNvSpPr>
            <a:spLocks noGrp="1"/>
          </p:cNvSpPr>
          <p:nvPr userDrawn="1"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5FB6912-B810-8A46-94FD-A4C9F97EBB58}"/>
              </a:ext>
            </a:extLst>
          </p:cNvPr>
          <p:cNvSpPr>
            <a:spLocks noGrp="1"/>
          </p:cNvSpPr>
          <p:nvPr userDrawn="1">
            <p:ph type="sldNum" sz="quarter" idx="18"/>
          </p:nvPr>
        </p:nvSpPr>
        <p:spPr/>
        <p:txBody>
          <a:bodyPr/>
          <a:lstStyle/>
          <a:p>
            <a:pPr marL="9525"/>
            <a:fld id="{078C017C-E1B9-8443-B047-B08AAA027B45}" type="slidenum">
              <a:rPr lang="en-US" smtClean="0"/>
              <a:pPr marL="9525"/>
              <a:t>‹#›</a:t>
            </a:fld>
            <a:endParaRPr lang="en-US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ECDB5F78-53FA-F540-9184-B4244AFBB550}"/>
              </a:ext>
            </a:extLst>
          </p:cNvPr>
          <p:cNvGrpSpPr/>
          <p:nvPr userDrawn="1"/>
        </p:nvGrpSpPr>
        <p:grpSpPr>
          <a:xfrm>
            <a:off x="431241" y="-185200"/>
            <a:ext cx="8280400" cy="5510478"/>
            <a:chOff x="431240" y="-246933"/>
            <a:chExt cx="8280400" cy="7347304"/>
          </a:xfrm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E94D2956-4630-B947-85C0-FA902055800D}"/>
                </a:ext>
              </a:extLst>
            </p:cNvPr>
            <p:cNvGrpSpPr/>
            <p:nvPr userDrawn="1"/>
          </p:nvGrpSpPr>
          <p:grpSpPr>
            <a:xfrm>
              <a:off x="431242" y="6864579"/>
              <a:ext cx="8280398" cy="235792"/>
              <a:chOff x="431801" y="-235792"/>
              <a:chExt cx="4400550" cy="235792"/>
            </a:xfrm>
          </p:grpSpPr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A9DCB243-7CBD-CF41-A847-4743B31F6F4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FA3C3437-8E87-6441-8B0A-8F8F806A150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C6173C6B-B5E5-C049-9D82-7736499206BB}"/>
                </a:ext>
              </a:extLst>
            </p:cNvPr>
            <p:cNvGrpSpPr/>
            <p:nvPr userDrawn="1"/>
          </p:nvGrpSpPr>
          <p:grpSpPr>
            <a:xfrm>
              <a:off x="431240" y="-246933"/>
              <a:ext cx="8280400" cy="235792"/>
              <a:chOff x="431800" y="-240735"/>
              <a:chExt cx="8280400" cy="235792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7DB3214B-5835-0A45-ACF6-5EA3D2A2C2A4}"/>
                  </a:ext>
                </a:extLst>
              </p:cNvPr>
              <p:cNvGrpSpPr/>
              <p:nvPr userDrawn="1"/>
            </p:nvGrpSpPr>
            <p:grpSpPr>
              <a:xfrm>
                <a:off x="431800" y="-240735"/>
                <a:ext cx="8280400" cy="235792"/>
                <a:chOff x="431800" y="-235792"/>
                <a:chExt cx="4400551" cy="235792"/>
              </a:xfrm>
            </p:grpSpPr>
            <p:cxnSp>
              <p:nvCxnSpPr>
                <p:cNvPr id="42" name="Straight Connector 41">
                  <a:extLst>
                    <a:ext uri="{FF2B5EF4-FFF2-40B4-BE49-F238E27FC236}">
                      <a16:creationId xmlns:a16="http://schemas.microsoft.com/office/drawing/2014/main" id="{9CD9029C-552E-3842-9142-2A9B992CBCD3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Straight Connector 42">
                  <a:extLst>
                    <a:ext uri="{FF2B5EF4-FFF2-40B4-BE49-F238E27FC236}">
                      <a16:creationId xmlns:a16="http://schemas.microsoft.com/office/drawing/2014/main" id="{55CB89CE-5B72-E546-9AC4-BA4ABE7B6E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96D438F2-534B-EE4B-B585-C4CC5EDDB6FE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</p:grp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64038C5B-89D1-BD45-9508-F03D30A080FB}"/>
                  </a:ext>
                </a:extLst>
              </p:cNvPr>
              <p:cNvSpPr txBox="1"/>
              <p:nvPr userDrawn="1"/>
            </p:nvSpPr>
            <p:spPr>
              <a:xfrm>
                <a:off x="3883466" y="-176700"/>
                <a:ext cx="1377081" cy="107721"/>
              </a:xfrm>
              <a:prstGeom prst="rect">
                <a:avLst/>
              </a:prstGeom>
            </p:spPr>
            <p:txBody>
              <a:bodyPr vert="horz" wrap="none" lIns="108000" tIns="0" rIns="108000" bIns="0" rtlCol="0" anchor="ctr">
                <a:spAutoFit/>
              </a:bodyPr>
              <a:lstStyle/>
              <a:p>
                <a:pPr algn="ctr"/>
                <a:r>
                  <a:rPr lang="en-US" sz="5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KEEP CONTENT WITHIN THIS AREA</a:t>
                </a:r>
              </a:p>
            </p:txBody>
          </p:sp>
          <p:cxnSp>
            <p:nvCxnSpPr>
              <p:cNvPr id="40" name="Straight Arrow Connector 39">
                <a:extLst>
                  <a:ext uri="{FF2B5EF4-FFF2-40B4-BE49-F238E27FC236}">
                    <a16:creationId xmlns:a16="http://schemas.microsoft.com/office/drawing/2014/main" id="{EF67F087-0FB9-A040-AE75-7F2F09852397}"/>
                  </a:ext>
                </a:extLst>
              </p:cNvPr>
              <p:cNvCxnSpPr>
                <a:cxnSpLocks/>
                <a:stCxn id="39" idx="1"/>
                <a:endCxn id="44" idx="2"/>
              </p:cNvCxnSpPr>
              <p:nvPr userDrawn="1"/>
            </p:nvCxnSpPr>
            <p:spPr>
              <a:xfrm flipH="1">
                <a:off x="431800" y="-122839"/>
                <a:ext cx="3451666" cy="1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Arrow Connector 40">
                <a:extLst>
                  <a:ext uri="{FF2B5EF4-FFF2-40B4-BE49-F238E27FC236}">
                    <a16:creationId xmlns:a16="http://schemas.microsoft.com/office/drawing/2014/main" id="{CD7BC267-67E7-4F46-8C2A-B2420627EE12}"/>
                  </a:ext>
                </a:extLst>
              </p:cNvPr>
              <p:cNvCxnSpPr>
                <a:cxnSpLocks/>
                <a:stCxn id="39" idx="3"/>
                <a:endCxn id="44" idx="0"/>
              </p:cNvCxnSpPr>
              <p:nvPr userDrawn="1"/>
            </p:nvCxnSpPr>
            <p:spPr>
              <a:xfrm>
                <a:off x="5260547" y="-122839"/>
                <a:ext cx="3451653" cy="0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788670155"/>
      </p:ext>
    </p:extLst>
  </p:cSld>
  <p:clrMapOvr>
    <a:overrideClrMapping bg1="lt1" tx1="dk1" bg2="lt2" tx2="dk2" accent1="accent1" accent2="accent2" accent3="accent3" accent4="accent4" accent5="accent5" accent6="accent6" hlink="lt1" folHlink="lt1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(Photo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8F61A072-3C5F-4846-BB8E-52BBAAD71B0D}"/>
              </a:ext>
            </a:extLst>
          </p:cNvPr>
          <p:cNvSpPr/>
          <p:nvPr userDrawn="1"/>
        </p:nvSpPr>
        <p:spPr>
          <a:xfrm>
            <a:off x="9399183" y="0"/>
            <a:ext cx="2798651" cy="589566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050"/>
          </a:p>
        </p:txBody>
      </p:sp>
      <p:pic>
        <p:nvPicPr>
          <p:cNvPr id="73" name="Picture 72">
            <a:extLst>
              <a:ext uri="{FF2B5EF4-FFF2-40B4-BE49-F238E27FC236}">
                <a16:creationId xmlns:a16="http://schemas.microsoft.com/office/drawing/2014/main" id="{9623AF5A-508B-0F44-9682-E5B1C5647A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44021" b="6017"/>
          <a:stretch/>
        </p:blipFill>
        <p:spPr>
          <a:xfrm>
            <a:off x="9558506" y="992848"/>
            <a:ext cx="2632538" cy="399326"/>
          </a:xfrm>
          <a:prstGeom prst="rect">
            <a:avLst/>
          </a:prstGeom>
        </p:spPr>
      </p:pic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DDE404AD-B661-6644-92E8-7E8C873D393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000" cy="5143500"/>
          </a:xfrm>
          <a:custGeom>
            <a:avLst/>
            <a:gdLst>
              <a:gd name="connsiteX0" fmla="*/ 8545319 w 9144000"/>
              <a:gd name="connsiteY0" fmla="*/ 6577274 h 6858000"/>
              <a:gd name="connsiteX1" fmla="*/ 8554629 w 9144000"/>
              <a:gd name="connsiteY1" fmla="*/ 6577274 h 6858000"/>
              <a:gd name="connsiteX2" fmla="*/ 8572755 w 9144000"/>
              <a:gd name="connsiteY2" fmla="*/ 6592563 h 6858000"/>
              <a:gd name="connsiteX3" fmla="*/ 8552839 w 9144000"/>
              <a:gd name="connsiteY3" fmla="*/ 6608586 h 6858000"/>
              <a:gd name="connsiteX4" fmla="*/ 8552839 w 9144000"/>
              <a:gd name="connsiteY4" fmla="*/ 6608473 h 6858000"/>
              <a:gd name="connsiteX5" fmla="*/ 8545319 w 9144000"/>
              <a:gd name="connsiteY5" fmla="*/ 6608473 h 6858000"/>
              <a:gd name="connsiteX6" fmla="*/ 8440530 w 9144000"/>
              <a:gd name="connsiteY6" fmla="*/ 6576164 h 6858000"/>
              <a:gd name="connsiteX7" fmla="*/ 8450868 w 9144000"/>
              <a:gd name="connsiteY7" fmla="*/ 6576164 h 6858000"/>
              <a:gd name="connsiteX8" fmla="*/ 8486565 w 9144000"/>
              <a:gd name="connsiteY8" fmla="*/ 6607213 h 6858000"/>
              <a:gd name="connsiteX9" fmla="*/ 8452486 w 9144000"/>
              <a:gd name="connsiteY9" fmla="*/ 6640294 h 6858000"/>
              <a:gd name="connsiteX10" fmla="*/ 8440530 w 9144000"/>
              <a:gd name="connsiteY10" fmla="*/ 6640294 h 6858000"/>
              <a:gd name="connsiteX11" fmla="*/ 8359311 w 9144000"/>
              <a:gd name="connsiteY11" fmla="*/ 6554744 h 6858000"/>
              <a:gd name="connsiteX12" fmla="*/ 8357845 w 9144000"/>
              <a:gd name="connsiteY12" fmla="*/ 6557847 h 6858000"/>
              <a:gd name="connsiteX13" fmla="*/ 8338064 w 9144000"/>
              <a:gd name="connsiteY13" fmla="*/ 6599653 h 6858000"/>
              <a:gd name="connsiteX14" fmla="*/ 8338064 w 9144000"/>
              <a:gd name="connsiteY14" fmla="*/ 6661564 h 6858000"/>
              <a:gd name="connsiteX15" fmla="*/ 8406527 w 9144000"/>
              <a:gd name="connsiteY15" fmla="*/ 6661564 h 6858000"/>
              <a:gd name="connsiteX16" fmla="*/ 8406527 w 9144000"/>
              <a:gd name="connsiteY16" fmla="*/ 6638977 h 6858000"/>
              <a:gd name="connsiteX17" fmla="*/ 8363157 w 9144000"/>
              <a:gd name="connsiteY17" fmla="*/ 6638977 h 6858000"/>
              <a:gd name="connsiteX18" fmla="*/ 8363157 w 9144000"/>
              <a:gd name="connsiteY18" fmla="*/ 6618140 h 6858000"/>
              <a:gd name="connsiteX19" fmla="*/ 8402681 w 9144000"/>
              <a:gd name="connsiteY19" fmla="*/ 6618140 h 6858000"/>
              <a:gd name="connsiteX20" fmla="*/ 8402681 w 9144000"/>
              <a:gd name="connsiteY20" fmla="*/ 6596569 h 6858000"/>
              <a:gd name="connsiteX21" fmla="*/ 8363157 w 9144000"/>
              <a:gd name="connsiteY21" fmla="*/ 6596569 h 6858000"/>
              <a:gd name="connsiteX22" fmla="*/ 8363157 w 9144000"/>
              <a:gd name="connsiteY22" fmla="*/ 6577481 h 6858000"/>
              <a:gd name="connsiteX23" fmla="*/ 8406527 w 9144000"/>
              <a:gd name="connsiteY23" fmla="*/ 6577481 h 6858000"/>
              <a:gd name="connsiteX24" fmla="*/ 8406527 w 9144000"/>
              <a:gd name="connsiteY24" fmla="*/ 6554744 h 6858000"/>
              <a:gd name="connsiteX25" fmla="*/ 8245574 w 9144000"/>
              <a:gd name="connsiteY25" fmla="*/ 6554725 h 6858000"/>
              <a:gd name="connsiteX26" fmla="*/ 8262081 w 9144000"/>
              <a:gd name="connsiteY26" fmla="*/ 6589122 h 6858000"/>
              <a:gd name="connsiteX27" fmla="*/ 8288525 w 9144000"/>
              <a:gd name="connsiteY27" fmla="*/ 6589122 h 6858000"/>
              <a:gd name="connsiteX28" fmla="*/ 8273961 w 9144000"/>
              <a:gd name="connsiteY28" fmla="*/ 6554725 h 6858000"/>
              <a:gd name="connsiteX29" fmla="*/ 8520245 w 9144000"/>
              <a:gd name="connsiteY29" fmla="*/ 6554706 h 6858000"/>
              <a:gd name="connsiteX30" fmla="*/ 8520245 w 9144000"/>
              <a:gd name="connsiteY30" fmla="*/ 6661563 h 6858000"/>
              <a:gd name="connsiteX31" fmla="*/ 8545319 w 9144000"/>
              <a:gd name="connsiteY31" fmla="*/ 6661563 h 6858000"/>
              <a:gd name="connsiteX32" fmla="*/ 8545319 w 9144000"/>
              <a:gd name="connsiteY32" fmla="*/ 6629931 h 6858000"/>
              <a:gd name="connsiteX33" fmla="*/ 8554629 w 9144000"/>
              <a:gd name="connsiteY33" fmla="*/ 6629931 h 6858000"/>
              <a:gd name="connsiteX34" fmla="*/ 8598419 w 9144000"/>
              <a:gd name="connsiteY34" fmla="*/ 6592018 h 6858000"/>
              <a:gd name="connsiteX35" fmla="*/ 8550345 w 9144000"/>
              <a:gd name="connsiteY35" fmla="*/ 6554706 h 6858000"/>
              <a:gd name="connsiteX36" fmla="*/ 8415494 w 9144000"/>
              <a:gd name="connsiteY36" fmla="*/ 6554706 h 6858000"/>
              <a:gd name="connsiteX37" fmla="*/ 8415494 w 9144000"/>
              <a:gd name="connsiteY37" fmla="*/ 6661469 h 6858000"/>
              <a:gd name="connsiteX38" fmla="*/ 8448545 w 9144000"/>
              <a:gd name="connsiteY38" fmla="*/ 6661582 h 6858000"/>
              <a:gd name="connsiteX39" fmla="*/ 8513277 w 9144000"/>
              <a:gd name="connsiteY39" fmla="*/ 6607213 h 6858000"/>
              <a:gd name="connsiteX40" fmla="*/ 8447460 w 9144000"/>
              <a:gd name="connsiteY40" fmla="*/ 6554744 h 6858000"/>
              <a:gd name="connsiteX41" fmla="*/ 8447498 w 9144000"/>
              <a:gd name="connsiteY41" fmla="*/ 6554706 h 6858000"/>
              <a:gd name="connsiteX42" fmla="*/ 8415494 w 9144000"/>
              <a:gd name="connsiteY42" fmla="*/ 6554706 h 6858000"/>
              <a:gd name="connsiteX43" fmla="*/ 8323899 w 9144000"/>
              <a:gd name="connsiteY43" fmla="*/ 6554706 h 6858000"/>
              <a:gd name="connsiteX44" fmla="*/ 8298692 w 9144000"/>
              <a:gd name="connsiteY44" fmla="*/ 6612648 h 6858000"/>
              <a:gd name="connsiteX45" fmla="*/ 8291857 w 9144000"/>
              <a:gd name="connsiteY45" fmla="*/ 6596644 h 6858000"/>
              <a:gd name="connsiteX46" fmla="*/ 8265622 w 9144000"/>
              <a:gd name="connsiteY46" fmla="*/ 6596644 h 6858000"/>
              <a:gd name="connsiteX47" fmla="*/ 8296941 w 9144000"/>
              <a:gd name="connsiteY47" fmla="*/ 6661977 h 6858000"/>
              <a:gd name="connsiteX48" fmla="*/ 8299854 w 9144000"/>
              <a:gd name="connsiteY48" fmla="*/ 6661977 h 6858000"/>
              <a:gd name="connsiteX49" fmla="*/ 8350592 w 9144000"/>
              <a:gd name="connsiteY49" fmla="*/ 6554706 h 6858000"/>
              <a:gd name="connsiteX50" fmla="*/ 8704281 w 9144000"/>
              <a:gd name="connsiteY50" fmla="*/ 6516147 h 6858000"/>
              <a:gd name="connsiteX51" fmla="*/ 8704281 w 9144000"/>
              <a:gd name="connsiteY51" fmla="*/ 6690772 h 6858000"/>
              <a:gd name="connsiteX52" fmla="*/ 8723670 w 9144000"/>
              <a:gd name="connsiteY52" fmla="*/ 6690772 h 6858000"/>
              <a:gd name="connsiteX53" fmla="*/ 8723670 w 9144000"/>
              <a:gd name="connsiteY53" fmla="*/ 6516147 h 6858000"/>
              <a:gd name="connsiteX54" fmla="*/ 0 w 9144000"/>
              <a:gd name="connsiteY54" fmla="*/ 0 h 6858000"/>
              <a:gd name="connsiteX55" fmla="*/ 9144000 w 9144000"/>
              <a:gd name="connsiteY55" fmla="*/ 0 h 6858000"/>
              <a:gd name="connsiteX56" fmla="*/ 9144000 w 9144000"/>
              <a:gd name="connsiteY56" fmla="*/ 6858000 h 6858000"/>
              <a:gd name="connsiteX57" fmla="*/ 0 w 9144000"/>
              <a:gd name="connsiteY5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9144000" h="6858000">
                <a:moveTo>
                  <a:pt x="8545319" y="6577274"/>
                </a:moveTo>
                <a:lnTo>
                  <a:pt x="8554629" y="6577274"/>
                </a:lnTo>
                <a:cubicBezTo>
                  <a:pt x="8567005" y="6577274"/>
                  <a:pt x="8572755" y="6583969"/>
                  <a:pt x="8572755" y="6592563"/>
                </a:cubicBezTo>
                <a:cubicBezTo>
                  <a:pt x="8572755" y="6602907"/>
                  <a:pt x="8566129" y="6608586"/>
                  <a:pt x="8552839" y="6608586"/>
                </a:cubicBezTo>
                <a:lnTo>
                  <a:pt x="8552839" y="6608473"/>
                </a:lnTo>
                <a:lnTo>
                  <a:pt x="8545319" y="6608473"/>
                </a:lnTo>
                <a:close/>
                <a:moveTo>
                  <a:pt x="8440530" y="6576164"/>
                </a:moveTo>
                <a:lnTo>
                  <a:pt x="8450868" y="6576164"/>
                </a:lnTo>
                <a:cubicBezTo>
                  <a:pt x="8474171" y="6576164"/>
                  <a:pt x="8486565" y="6587824"/>
                  <a:pt x="8486565" y="6607213"/>
                </a:cubicBezTo>
                <a:cubicBezTo>
                  <a:pt x="8486565" y="6627186"/>
                  <a:pt x="8476094" y="6640294"/>
                  <a:pt x="8452486" y="6640294"/>
                </a:cubicBezTo>
                <a:lnTo>
                  <a:pt x="8440530" y="6640294"/>
                </a:lnTo>
                <a:close/>
                <a:moveTo>
                  <a:pt x="8359311" y="6554744"/>
                </a:moveTo>
                <a:lnTo>
                  <a:pt x="8357845" y="6557847"/>
                </a:lnTo>
                <a:lnTo>
                  <a:pt x="8338064" y="6599653"/>
                </a:lnTo>
                <a:lnTo>
                  <a:pt x="8338064" y="6661564"/>
                </a:lnTo>
                <a:lnTo>
                  <a:pt x="8406527" y="6661564"/>
                </a:lnTo>
                <a:lnTo>
                  <a:pt x="8406527" y="6638977"/>
                </a:lnTo>
                <a:lnTo>
                  <a:pt x="8363157" y="6638977"/>
                </a:lnTo>
                <a:lnTo>
                  <a:pt x="8363157" y="6618140"/>
                </a:lnTo>
                <a:lnTo>
                  <a:pt x="8402681" y="6618140"/>
                </a:lnTo>
                <a:lnTo>
                  <a:pt x="8402681" y="6596569"/>
                </a:lnTo>
                <a:lnTo>
                  <a:pt x="8363157" y="6596569"/>
                </a:lnTo>
                <a:lnTo>
                  <a:pt x="8363157" y="6577481"/>
                </a:lnTo>
                <a:lnTo>
                  <a:pt x="8406527" y="6577481"/>
                </a:lnTo>
                <a:lnTo>
                  <a:pt x="8406527" y="6554744"/>
                </a:lnTo>
                <a:close/>
                <a:moveTo>
                  <a:pt x="8245574" y="6554725"/>
                </a:moveTo>
                <a:lnTo>
                  <a:pt x="8262081" y="6589122"/>
                </a:lnTo>
                <a:lnTo>
                  <a:pt x="8288525" y="6589122"/>
                </a:lnTo>
                <a:lnTo>
                  <a:pt x="8273961" y="6554725"/>
                </a:lnTo>
                <a:close/>
                <a:moveTo>
                  <a:pt x="8520245" y="6554706"/>
                </a:moveTo>
                <a:lnTo>
                  <a:pt x="8520245" y="6661563"/>
                </a:lnTo>
                <a:lnTo>
                  <a:pt x="8545319" y="6661563"/>
                </a:lnTo>
                <a:lnTo>
                  <a:pt x="8545319" y="6629931"/>
                </a:lnTo>
                <a:lnTo>
                  <a:pt x="8554629" y="6629931"/>
                </a:lnTo>
                <a:cubicBezTo>
                  <a:pt x="8583188" y="6629931"/>
                  <a:pt x="8598419" y="6614040"/>
                  <a:pt x="8598419" y="6592018"/>
                </a:cubicBezTo>
                <a:cubicBezTo>
                  <a:pt x="8598438" y="6570485"/>
                  <a:pt x="8581627" y="6554706"/>
                  <a:pt x="8550345" y="6554706"/>
                </a:cubicBezTo>
                <a:close/>
                <a:moveTo>
                  <a:pt x="8415494" y="6554706"/>
                </a:moveTo>
                <a:lnTo>
                  <a:pt x="8415494" y="6661469"/>
                </a:lnTo>
                <a:cubicBezTo>
                  <a:pt x="8415494" y="6661469"/>
                  <a:pt x="8435865" y="6661582"/>
                  <a:pt x="8448545" y="6661582"/>
                </a:cubicBezTo>
                <a:cubicBezTo>
                  <a:pt x="8493381" y="6661582"/>
                  <a:pt x="8513277" y="6638695"/>
                  <a:pt x="8513277" y="6607213"/>
                </a:cubicBezTo>
                <a:cubicBezTo>
                  <a:pt x="8513277" y="6577123"/>
                  <a:pt x="8492334" y="6554744"/>
                  <a:pt x="8447460" y="6554744"/>
                </a:cubicBezTo>
                <a:lnTo>
                  <a:pt x="8447498" y="6554706"/>
                </a:lnTo>
                <a:cubicBezTo>
                  <a:pt x="8436741" y="6554706"/>
                  <a:pt x="8415494" y="6554706"/>
                  <a:pt x="8415494" y="6554706"/>
                </a:cubicBezTo>
                <a:close/>
                <a:moveTo>
                  <a:pt x="8323899" y="6554706"/>
                </a:moveTo>
                <a:lnTo>
                  <a:pt x="8298692" y="6612648"/>
                </a:lnTo>
                <a:lnTo>
                  <a:pt x="8291857" y="6596644"/>
                </a:lnTo>
                <a:lnTo>
                  <a:pt x="8265622" y="6596644"/>
                </a:lnTo>
                <a:lnTo>
                  <a:pt x="8296941" y="6661977"/>
                </a:lnTo>
                <a:lnTo>
                  <a:pt x="8299854" y="6661977"/>
                </a:lnTo>
                <a:lnTo>
                  <a:pt x="8350592" y="6554706"/>
                </a:lnTo>
                <a:close/>
                <a:moveTo>
                  <a:pt x="8704281" y="6516147"/>
                </a:moveTo>
                <a:lnTo>
                  <a:pt x="8704281" y="6690772"/>
                </a:lnTo>
                <a:lnTo>
                  <a:pt x="8723670" y="6690772"/>
                </a:lnTo>
                <a:lnTo>
                  <a:pt x="8723670" y="6516147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2"/>
          </a:solidFill>
          <a:ln>
            <a:solidFill>
              <a:srgbClr val="003865">
                <a:shade val="50000"/>
                <a:alpha val="0"/>
              </a:srgbClr>
            </a:solidFill>
          </a:ln>
        </p:spPr>
        <p:txBody>
          <a:bodyPr wrap="square" rIns="43200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Drag image onto slide to add photo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44084FA-14AD-964B-87DF-2AC4D0E255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" y="1"/>
            <a:ext cx="7217021" cy="5143500"/>
          </a:xfrm>
          <a:custGeom>
            <a:avLst/>
            <a:gdLst>
              <a:gd name="connsiteX0" fmla="*/ 0 w 7217021"/>
              <a:gd name="connsiteY0" fmla="*/ 0 h 6858000"/>
              <a:gd name="connsiteX1" fmla="*/ 3962555 w 7217021"/>
              <a:gd name="connsiteY1" fmla="*/ 0 h 6858000"/>
              <a:gd name="connsiteX2" fmla="*/ 7217021 w 7217021"/>
              <a:gd name="connsiteY2" fmla="*/ 6858000 h 6858000"/>
              <a:gd name="connsiteX3" fmla="*/ 0 w 721702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17021" h="6858000">
                <a:moveTo>
                  <a:pt x="0" y="0"/>
                </a:moveTo>
                <a:lnTo>
                  <a:pt x="3962555" y="0"/>
                </a:lnTo>
                <a:lnTo>
                  <a:pt x="7217021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3000">
                <a:schemeClr val="accent1"/>
              </a:gs>
              <a:gs pos="97000">
                <a:schemeClr val="accent1">
                  <a:alpha val="80000"/>
                </a:schemeClr>
              </a:gs>
            </a:gsLst>
            <a:lin ang="5400000" scaled="0"/>
          </a:gradFill>
          <a:ln>
            <a:solidFill>
              <a:srgbClr val="003865">
                <a:shade val="50000"/>
                <a:alpha val="0"/>
              </a:srgbClr>
            </a:solidFill>
          </a:ln>
        </p:spPr>
        <p:txBody>
          <a:bodyPr wrap="square" lIns="432000" tIns="3600000" rIns="2160000" bIns="648000" anchor="t">
            <a:noAutofit/>
          </a:bodyPr>
          <a:lstStyle>
            <a:lvl1pPr marL="15479" indent="0">
              <a:spcAft>
                <a:spcPts val="225"/>
              </a:spcAft>
              <a:buNone/>
              <a:tabLst/>
              <a:defRPr sz="1050" b="1">
                <a:solidFill>
                  <a:schemeClr val="bg1"/>
                </a:solidFill>
              </a:defRPr>
            </a:lvl1pPr>
            <a:lvl2pPr marL="15479" indent="0">
              <a:spcAft>
                <a:spcPts val="150"/>
              </a:spcAft>
              <a:buNone/>
              <a:tabLst/>
              <a:defRPr sz="1050">
                <a:solidFill>
                  <a:schemeClr val="bg1"/>
                </a:solidFill>
              </a:defRPr>
            </a:lvl2pPr>
            <a:lvl3pPr marL="15479" indent="0">
              <a:spcAft>
                <a:spcPts val="150"/>
              </a:spcAft>
              <a:buFont typeface="Wingdings" pitchFamily="2" charset="2"/>
              <a:buNone/>
              <a:tabLst/>
              <a:defRPr sz="1050">
                <a:solidFill>
                  <a:schemeClr val="bg1"/>
                </a:solidFill>
              </a:defRPr>
            </a:lvl3pPr>
            <a:lvl4pPr marL="15479" indent="0">
              <a:spcAft>
                <a:spcPts val="150"/>
              </a:spcAft>
              <a:buFont typeface="System Font Regular"/>
              <a:buNone/>
              <a:tabLst/>
              <a:defRPr sz="1050">
                <a:solidFill>
                  <a:schemeClr val="bg1"/>
                </a:solidFill>
              </a:defRPr>
            </a:lvl4pPr>
            <a:lvl5pPr marL="15479" indent="0">
              <a:spcAft>
                <a:spcPts val="150"/>
              </a:spcAft>
              <a:buNone/>
              <a:tabLst/>
              <a:defRPr sz="1050">
                <a:solidFill>
                  <a:schemeClr val="bg1"/>
                </a:solidFill>
              </a:defRPr>
            </a:lvl5pPr>
            <a:lvl6pPr marL="15479" indent="0">
              <a:buNone/>
              <a:tabLst/>
              <a:defRPr>
                <a:solidFill>
                  <a:schemeClr val="bg1"/>
                </a:solidFill>
              </a:defRPr>
            </a:lvl6pPr>
            <a:lvl7pPr marL="15479" indent="0">
              <a:buNone/>
              <a:tabLst/>
              <a:defRPr>
                <a:solidFill>
                  <a:schemeClr val="bg1"/>
                </a:solidFill>
              </a:defRPr>
            </a:lvl7pPr>
            <a:lvl8pPr marL="15479" indent="0">
              <a:buNone/>
              <a:tabLst/>
              <a:defRPr>
                <a:solidFill>
                  <a:schemeClr val="bg1"/>
                </a:solidFill>
              </a:defRPr>
            </a:lvl8pPr>
            <a:lvl9pPr marL="15479" indent="0">
              <a:buNone/>
              <a:tabLst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contact information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E92DE0F-EE53-C14F-99E3-F9D9748A83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1802049"/>
            <a:ext cx="4633495" cy="692180"/>
          </a:xfrm>
        </p:spPr>
        <p:txBody>
          <a:bodyPr/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hank-you messag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0A164B3-8FCE-4E4B-B360-04ECA3CD2AA8}"/>
              </a:ext>
            </a:extLst>
          </p:cNvPr>
          <p:cNvGrpSpPr/>
          <p:nvPr userDrawn="1"/>
        </p:nvGrpSpPr>
        <p:grpSpPr>
          <a:xfrm>
            <a:off x="-256964" y="1857800"/>
            <a:ext cx="251461" cy="590721"/>
            <a:chOff x="-256404" y="360363"/>
            <a:chExt cx="251461" cy="692152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B41D2554-9517-BF41-8E4D-516D3FB68F51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10" name="Straight Connector 9">
                <a:extLst>
                  <a:ext uri="{FF2B5EF4-FFF2-40B4-BE49-F238E27FC236}">
                    <a16:creationId xmlns:a16="http://schemas.microsoft.com/office/drawing/2014/main" id="{663ADAD1-481A-7B4C-986E-CFA8555641A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13">
                <a:extLst>
                  <a:ext uri="{FF2B5EF4-FFF2-40B4-BE49-F238E27FC236}">
                    <a16:creationId xmlns:a16="http://schemas.microsoft.com/office/drawing/2014/main" id="{AA3487CA-6D0B-C049-B9A4-75466E8DD3B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B925DF6-3FFE-BD40-9EE2-29A73ECA1CEF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</p:grp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6D5BF6DD-76B4-0145-A962-2C82A8F2CC6B}"/>
                </a:ext>
              </a:extLst>
            </p:cNvPr>
            <p:cNvSpPr txBox="1"/>
            <p:nvPr userDrawn="1"/>
          </p:nvSpPr>
          <p:spPr>
            <a:xfrm rot="16200000">
              <a:off x="-360755" y="622269"/>
              <a:ext cx="460172" cy="161583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HANK YOU</a:t>
              </a:r>
              <a:b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MESSAGE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0A982D0-E4B8-1041-813F-BDDC3436A88D}"/>
              </a:ext>
            </a:extLst>
          </p:cNvPr>
          <p:cNvGrpSpPr/>
          <p:nvPr userDrawn="1"/>
        </p:nvGrpSpPr>
        <p:grpSpPr>
          <a:xfrm>
            <a:off x="-256964" y="2716972"/>
            <a:ext cx="251461" cy="1023800"/>
            <a:chOff x="-256404" y="360363"/>
            <a:chExt cx="251461" cy="692152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C83CFF79-5962-9D49-8E42-F2AF4C267204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A6F525C6-8B46-4140-AF00-48FB794ECB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A604655F-D15F-D843-AA38-CAA6FDF115A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43ACDE28-DF49-C14A-B556-C3FBEB96DDEA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</p:grp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509205E5-0F35-EB40-8B2F-8E547892AACD}"/>
                </a:ext>
              </a:extLst>
            </p:cNvPr>
            <p:cNvSpPr txBox="1"/>
            <p:nvPr userDrawn="1"/>
          </p:nvSpPr>
          <p:spPr>
            <a:xfrm rot="16200000">
              <a:off x="-301896" y="662666"/>
              <a:ext cx="342458" cy="80791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CONTACT INFO</a:t>
              </a:r>
            </a:p>
          </p:txBody>
        </p:sp>
      </p:grpSp>
      <p:sp>
        <p:nvSpPr>
          <p:cNvPr id="59" name="Rectangle 58">
            <a:extLst>
              <a:ext uri="{FF2B5EF4-FFF2-40B4-BE49-F238E27FC236}">
                <a16:creationId xmlns:a16="http://schemas.microsoft.com/office/drawing/2014/main" id="{74FE977B-E645-754F-A6D9-0F8ACDA35EAF}"/>
              </a:ext>
            </a:extLst>
          </p:cNvPr>
          <p:cNvSpPr/>
          <p:nvPr userDrawn="1"/>
        </p:nvSpPr>
        <p:spPr>
          <a:xfrm>
            <a:off x="9541497" y="121831"/>
            <a:ext cx="2819400" cy="610883"/>
          </a:xfrm>
          <a:prstGeom prst="rect">
            <a:avLst/>
          </a:prstGeom>
          <a:solidFill>
            <a:schemeClr val="bg1"/>
          </a:solidFill>
          <a:ln w="254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BFC01FD0-DC6E-0747-B9A3-3D0A61805785}"/>
              </a:ext>
            </a:extLst>
          </p:cNvPr>
          <p:cNvSpPr txBox="1"/>
          <p:nvPr userDrawn="1"/>
        </p:nvSpPr>
        <p:spPr>
          <a:xfrm>
            <a:off x="10147060" y="229831"/>
            <a:ext cx="2129588" cy="38087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algn="l"/>
            <a:r>
              <a:rPr lang="en-US" sz="825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rPr>
              <a:t>Access programmed text formats by using the ‘Indent More’ button to change the indent level.</a:t>
            </a:r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id="{1ADEDEE9-2E86-2D43-BC1C-F833B71D59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8882" t="5165" r="-1"/>
          <a:stretch/>
        </p:blipFill>
        <p:spPr>
          <a:xfrm>
            <a:off x="9694939" y="308438"/>
            <a:ext cx="324017" cy="216791"/>
          </a:xfrm>
          <a:prstGeom prst="round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4F5FC086-2AFA-E34A-9BC9-834E9C2AD811}"/>
              </a:ext>
            </a:extLst>
          </p:cNvPr>
          <p:cNvGrpSpPr/>
          <p:nvPr userDrawn="1"/>
        </p:nvGrpSpPr>
        <p:grpSpPr>
          <a:xfrm>
            <a:off x="9521834" y="1496142"/>
            <a:ext cx="2754815" cy="4510369"/>
            <a:chOff x="9521833" y="2167456"/>
            <a:chExt cx="2754815" cy="6013825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DFE94FA6-7F73-404E-B7F6-E23829C5FAF7}"/>
                </a:ext>
              </a:extLst>
            </p:cNvPr>
            <p:cNvSpPr txBox="1"/>
            <p:nvPr userDrawn="1"/>
          </p:nvSpPr>
          <p:spPr>
            <a:xfrm>
              <a:off x="9558507" y="2167456"/>
              <a:ext cx="1231106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sz="825">
                  <a:solidFill>
                    <a:schemeClr val="bg1"/>
                  </a:solidFill>
                </a:rPr>
                <a:t>HOW TO ADD AN IMAGE</a:t>
              </a:r>
            </a:p>
          </p:txBody>
        </p: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CFBCA6E4-9782-E348-A2BA-54F7934E4B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2370073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81BD7423-242E-5345-8960-AE7228257A9D}"/>
                </a:ext>
              </a:extLst>
            </p:cNvPr>
            <p:cNvSpPr txBox="1"/>
            <p:nvPr userDrawn="1"/>
          </p:nvSpPr>
          <p:spPr>
            <a:xfrm>
              <a:off x="9686426" y="3228383"/>
              <a:ext cx="2297338" cy="28913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900"/>
                </a:spcBef>
                <a:spcAft>
                  <a:spcPts val="300"/>
                </a:spcAft>
                <a:defRPr sz="800" b="1" cap="all" spc="2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0" lvl="1" indent="0">
                <a:lnSpc>
                  <a:spcPct val="90000"/>
                </a:lnSpc>
                <a:spcAft>
                  <a:spcPts val="300"/>
                </a:spcAft>
                <a:tabLst/>
                <a:defRPr sz="12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marL="0" lvl="0" indent="0">
                <a:buFont typeface="Arial" panose="020B0604020202020204" pitchFamily="34" charset="0"/>
                <a:buNone/>
              </a:pPr>
              <a:r>
                <a:rPr lang="en-US" sz="450" b="1"/>
                <a:t>Method 1:</a:t>
              </a:r>
              <a:r>
                <a:rPr lang="en-US" sz="450" b="0"/>
                <a:t>from file browser</a:t>
              </a:r>
            </a:p>
            <a:p>
              <a:pPr lvl="1">
                <a:buNone/>
              </a:pPr>
              <a:r>
                <a:rPr lang="en-US" sz="788"/>
                <a:t>Drag the image onto the slide.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13084C70-8D46-D64B-9F1E-ECB869353637}"/>
                </a:ext>
              </a:extLst>
            </p:cNvPr>
            <p:cNvSpPr/>
            <p:nvPr userDrawn="1"/>
          </p:nvSpPr>
          <p:spPr>
            <a:xfrm>
              <a:off x="9541497" y="6769966"/>
              <a:ext cx="2735151" cy="1411315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/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501420C3-DFA0-9C4F-813C-BAFA8958E874}"/>
                </a:ext>
              </a:extLst>
            </p:cNvPr>
            <p:cNvSpPr txBox="1"/>
            <p:nvPr userDrawn="1"/>
          </p:nvSpPr>
          <p:spPr>
            <a:xfrm>
              <a:off x="9907688" y="6898766"/>
              <a:ext cx="2368960" cy="169277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algn="l"/>
              <a:r>
                <a:rPr lang="en-US" sz="8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IP: Change Image</a:t>
              </a:r>
            </a:p>
          </p:txBody>
        </p:sp>
        <p:pic>
          <p:nvPicPr>
            <p:cNvPr id="55" name="Graphic 54">
              <a:extLst>
                <a:ext uri="{FF2B5EF4-FFF2-40B4-BE49-F238E27FC236}">
                  <a16:creationId xmlns:a16="http://schemas.microsoft.com/office/drawing/2014/main" id="{CB867BF1-BBC5-8C4A-97CA-FD5D5D782607}"/>
                </a:ext>
              </a:extLst>
            </p:cNvPr>
            <p:cNvPicPr>
              <a:picLocks noChangeAspect="1"/>
            </p:cNvPicPr>
            <p:nvPr userDrawn="1"/>
          </p:nvPicPr>
          <p:blipFill>
            <a:blip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9701720" y="6909049"/>
              <a:ext cx="155227" cy="155227"/>
            </a:xfrm>
            <a:prstGeom prst="rect">
              <a:avLst/>
            </a:prstGeom>
          </p:spPr>
        </p:pic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E62E6250-142A-854D-8FFE-79C80019AAB8}"/>
                </a:ext>
              </a:extLst>
            </p:cNvPr>
            <p:cNvSpPr txBox="1"/>
            <p:nvPr userDrawn="1"/>
          </p:nvSpPr>
          <p:spPr>
            <a:xfrm>
              <a:off x="9716735" y="7478749"/>
              <a:ext cx="2422981" cy="373948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101204" lvl="1" indent="-98822" algn="l" defTabSz="6858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225"/>
                </a:spcAft>
                <a:buFont typeface="Wingdings" pitchFamily="2" charset="2"/>
                <a:buChar char="§"/>
                <a:tabLst/>
                <a:defRPr/>
              </a:pPr>
              <a: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Deleting the image may bring the image placeholder to the top layer. Right-click on the placeholder and choose “Send to Back”.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08381C9B-F145-0B48-ADFA-FE8B8E0A8A82}"/>
                </a:ext>
              </a:extLst>
            </p:cNvPr>
            <p:cNvSpPr txBox="1"/>
            <p:nvPr userDrawn="1"/>
          </p:nvSpPr>
          <p:spPr>
            <a:xfrm>
              <a:off x="9716735" y="7159905"/>
              <a:ext cx="2422981" cy="2769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0" algn="l" defTabSz="685800" rtl="0" eaLnBrk="1" latinLnBrk="0" hangingPunct="1">
                <a:spcBef>
                  <a:spcPts val="150"/>
                </a:spcBef>
              </a:pPr>
              <a: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First, delete the existing image to reset the photo placeholder functionality.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F22092C6-EF53-B243-83B3-2B8877623AFD}"/>
                </a:ext>
              </a:extLst>
            </p:cNvPr>
            <p:cNvSpPr txBox="1"/>
            <p:nvPr userDrawn="1"/>
          </p:nvSpPr>
          <p:spPr>
            <a:xfrm>
              <a:off x="9716735" y="7928426"/>
              <a:ext cx="2422981" cy="138500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0" algn="l" defTabSz="685800" rtl="0" eaLnBrk="1" latinLnBrk="0" hangingPunct="1">
                <a:spcBef>
                  <a:spcPts val="150"/>
                </a:spcBef>
              </a:pPr>
              <a: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You can now add a new image as normal.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26FED399-29B3-9447-940E-56B9040B4EF7}"/>
                </a:ext>
              </a:extLst>
            </p:cNvPr>
            <p:cNvSpPr/>
            <p:nvPr userDrawn="1"/>
          </p:nvSpPr>
          <p:spPr>
            <a:xfrm>
              <a:off x="9541497" y="5413310"/>
              <a:ext cx="2735151" cy="1280928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/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15CE3E14-463F-4D4E-B0C6-D4F7A0935AFF}"/>
                </a:ext>
              </a:extLst>
            </p:cNvPr>
            <p:cNvSpPr txBox="1"/>
            <p:nvPr userDrawn="1"/>
          </p:nvSpPr>
          <p:spPr>
            <a:xfrm>
              <a:off x="9907688" y="5542109"/>
              <a:ext cx="2368960" cy="169277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algn="l"/>
              <a:r>
                <a:rPr lang="en-US" sz="8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IP: Crop Image</a:t>
              </a:r>
            </a:p>
          </p:txBody>
        </p:sp>
        <p:pic>
          <p:nvPicPr>
            <p:cNvPr id="48" name="Graphic 47">
              <a:extLst>
                <a:ext uri="{FF2B5EF4-FFF2-40B4-BE49-F238E27FC236}">
                  <a16:creationId xmlns:a16="http://schemas.microsoft.com/office/drawing/2014/main" id="{BC8A9006-4EDB-7C4F-9624-E02C261E560E}"/>
                </a:ext>
              </a:extLst>
            </p:cNvPr>
            <p:cNvPicPr>
              <a:picLocks noChangeAspect="1"/>
            </p:cNvPicPr>
            <p:nvPr userDrawn="1"/>
          </p:nvPicPr>
          <p:blipFill>
            <a:blip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9701720" y="5552392"/>
              <a:ext cx="155227" cy="155227"/>
            </a:xfrm>
            <a:prstGeom prst="rect">
              <a:avLst/>
            </a:prstGeom>
          </p:spPr>
        </p:pic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F28125A0-17EA-6B41-8117-DCA0C5236435}"/>
                </a:ext>
              </a:extLst>
            </p:cNvPr>
            <p:cNvSpPr txBox="1"/>
            <p:nvPr userDrawn="1"/>
          </p:nvSpPr>
          <p:spPr>
            <a:xfrm>
              <a:off x="9701720" y="5806293"/>
              <a:ext cx="2384904" cy="77713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1">
                <a:defRPr/>
              </a:pPr>
              <a: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Right-click on the image.</a:t>
              </a:r>
            </a:p>
            <a:p>
              <a:pPr lvl="1">
                <a:defRPr/>
              </a:pPr>
              <a: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Choose “Crop” from the menu. (       )</a:t>
              </a:r>
            </a:p>
            <a:p>
              <a:pPr lvl="1">
                <a:defRPr/>
              </a:pPr>
              <a: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Adjust the size and position of the image.</a:t>
              </a:r>
            </a:p>
            <a:p>
              <a:pPr lvl="1">
                <a:defRPr/>
              </a:pPr>
              <a: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Press Esc or click outside the image area to exit the cropping mode.</a:t>
              </a:r>
            </a:p>
          </p:txBody>
        </p:sp>
        <p:pic>
          <p:nvPicPr>
            <p:cNvPr id="50" name="Picture 49">
              <a:extLst>
                <a:ext uri="{FF2B5EF4-FFF2-40B4-BE49-F238E27FC236}">
                  <a16:creationId xmlns:a16="http://schemas.microsoft.com/office/drawing/2014/main" id="{C5041B41-AD98-EE4B-8F39-82AFCFAEC6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/>
            <a:srcRect l="33684" t="12097" r="43371" b="20368"/>
            <a:stretch/>
          </p:blipFill>
          <p:spPr>
            <a:xfrm>
              <a:off x="11498723" y="5890726"/>
              <a:ext cx="136897" cy="213643"/>
            </a:xfrm>
            <a:prstGeom prst="rect">
              <a:avLst/>
            </a:prstGeom>
            <a:ln w="19050">
              <a:solidFill>
                <a:schemeClr val="accent3">
                  <a:lumMod val="60000"/>
                  <a:lumOff val="40000"/>
                </a:schemeClr>
              </a:solidFill>
            </a:ln>
          </p:spPr>
        </p:pic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C8DAA1F3-3919-A74B-B632-FF6C6D301C4C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9521833" y="2517603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375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1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82652DDD-CB8F-E945-8AF3-2BB91733F597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9521833" y="3013157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375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2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091C757D-B387-E847-9E94-2F6EEF57801C}"/>
                </a:ext>
              </a:extLst>
            </p:cNvPr>
            <p:cNvSpPr txBox="1"/>
            <p:nvPr userDrawn="1"/>
          </p:nvSpPr>
          <p:spPr>
            <a:xfrm>
              <a:off x="9686426" y="2492576"/>
              <a:ext cx="2453290" cy="707288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sz="788"/>
                <a:t>Select and download images from the Marketing Resource Database.</a:t>
              </a:r>
            </a:p>
            <a:p>
              <a:pPr lvl="0"/>
              <a:r>
                <a:rPr lang="en-US" sz="788"/>
                <a:t>Add the image to the placeholder.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CAFE63F6-9FBD-C64E-80C3-50B9F353BF5D}"/>
                </a:ext>
              </a:extLst>
            </p:cNvPr>
            <p:cNvSpPr txBox="1"/>
            <p:nvPr userDrawn="1"/>
          </p:nvSpPr>
          <p:spPr>
            <a:xfrm>
              <a:off x="9674267" y="3511688"/>
              <a:ext cx="2374733" cy="32316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525"/>
                <a:t>Note: If there are multiple image placeholders on the slide, select the intended placeholder before dragging in the image to let PowerPoint know where you want it.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AA7141EF-2646-B14F-ABCC-C67B27BD3A7C}"/>
                </a:ext>
              </a:extLst>
            </p:cNvPr>
            <p:cNvSpPr txBox="1"/>
            <p:nvPr userDrawn="1"/>
          </p:nvSpPr>
          <p:spPr>
            <a:xfrm>
              <a:off x="9686426" y="3926945"/>
              <a:ext cx="2297338" cy="63145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900"/>
                </a:spcBef>
                <a:spcAft>
                  <a:spcPts val="300"/>
                </a:spcAft>
                <a:defRPr sz="800" b="1" cap="all" spc="2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0" lvl="1" indent="0">
                <a:lnSpc>
                  <a:spcPct val="90000"/>
                </a:lnSpc>
                <a:spcAft>
                  <a:spcPts val="300"/>
                </a:spcAft>
                <a:tabLst/>
                <a:defRPr sz="12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marL="0" lvl="0" indent="0">
                <a:buFont typeface="Arial" panose="020B0604020202020204" pitchFamily="34" charset="0"/>
                <a:buNone/>
              </a:pPr>
              <a:r>
                <a:rPr lang="en-US" sz="450"/>
                <a:t>Method 2:</a:t>
              </a:r>
              <a:r>
                <a:rPr lang="en-US" sz="450" b="0"/>
                <a:t>Paste from clipboard</a:t>
              </a:r>
            </a:p>
            <a:p>
              <a:pPr lvl="1">
                <a:buNone/>
              </a:pPr>
              <a:r>
                <a:rPr lang="en-US" sz="788"/>
                <a:t>Select the image placeholder.</a:t>
              </a:r>
            </a:p>
            <a:p>
              <a:pPr lvl="1">
                <a:buNone/>
              </a:pPr>
              <a:r>
                <a:rPr lang="en-US" sz="788"/>
                <a:t>Right-click or use keyboard shortcuts to paste the image.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11D9FCFA-F40E-B24E-8540-B475629EECD1}"/>
                </a:ext>
              </a:extLst>
            </p:cNvPr>
            <p:cNvSpPr txBox="1"/>
            <p:nvPr userDrawn="1"/>
          </p:nvSpPr>
          <p:spPr>
            <a:xfrm>
              <a:off x="9686426" y="4647035"/>
              <a:ext cx="2297338" cy="43464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900"/>
                </a:spcBef>
                <a:spcAft>
                  <a:spcPts val="300"/>
                </a:spcAft>
                <a:defRPr sz="800" b="1" cap="all" spc="2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0" lvl="1" indent="0">
                <a:lnSpc>
                  <a:spcPct val="90000"/>
                </a:lnSpc>
                <a:spcAft>
                  <a:spcPts val="300"/>
                </a:spcAft>
                <a:tabLst/>
                <a:defRPr sz="12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marL="0" lvl="0" indent="0">
                <a:buFont typeface="Arial" panose="020B0604020202020204" pitchFamily="34" charset="0"/>
                <a:buNone/>
              </a:pPr>
              <a:r>
                <a:rPr lang="en-US" sz="450"/>
                <a:t>Method 3:</a:t>
              </a:r>
              <a:r>
                <a:rPr lang="en-US" sz="450" b="0"/>
                <a:t>Placeholder icon</a:t>
              </a:r>
            </a:p>
            <a:p>
              <a:pPr lvl="1">
                <a:buNone/>
              </a:pPr>
              <a:r>
                <a:rPr lang="en-US" sz="788"/>
                <a:t>Click the image icon inside the placeholder to browse for an image.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7B36E0C2-0DDC-0E43-A8B5-AAD3722ABC98}"/>
                </a:ext>
              </a:extLst>
            </p:cNvPr>
            <p:cNvSpPr txBox="1"/>
            <p:nvPr userDrawn="1"/>
          </p:nvSpPr>
          <p:spPr>
            <a:xfrm>
              <a:off x="9674267" y="5077599"/>
              <a:ext cx="2374733" cy="215444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525"/>
                <a:t>Note: This icon may be covered by another element.</a:t>
              </a:r>
              <a:br>
                <a:rPr lang="en-US" sz="525"/>
              </a:br>
              <a:r>
                <a:rPr lang="en-US" sz="525"/>
                <a:t>In this case use one of the other methods.</a:t>
              </a:r>
            </a:p>
          </p:txBody>
        </p:sp>
      </p:grpSp>
      <p:sp>
        <p:nvSpPr>
          <p:cNvPr id="41" name="TextBox 40">
            <a:extLst>
              <a:ext uri="{FF2B5EF4-FFF2-40B4-BE49-F238E27FC236}">
                <a16:creationId xmlns:a16="http://schemas.microsoft.com/office/drawing/2014/main" id="{A5BBEC5F-5FC4-4543-B661-598C68695314}"/>
              </a:ext>
            </a:extLst>
          </p:cNvPr>
          <p:cNvSpPr txBox="1"/>
          <p:nvPr userDrawn="1"/>
        </p:nvSpPr>
        <p:spPr>
          <a:xfrm>
            <a:off x="9558507" y="839918"/>
            <a:ext cx="1670329" cy="126958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en-US"/>
            </a:defPPr>
            <a:lvl1pPr>
              <a:defRPr sz="110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sz="825">
                <a:solidFill>
                  <a:schemeClr val="bg1"/>
                </a:solidFill>
              </a:rPr>
              <a:t>TEXT FORMATS IN THIS LAYOUT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28C6DE0C-61AB-CD48-9657-673BA80A6635}"/>
              </a:ext>
            </a:extLst>
          </p:cNvPr>
          <p:cNvCxnSpPr>
            <a:cxnSpLocks/>
          </p:cNvCxnSpPr>
          <p:nvPr userDrawn="1"/>
        </p:nvCxnSpPr>
        <p:spPr>
          <a:xfrm>
            <a:off x="9558507" y="991881"/>
            <a:ext cx="2639328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 Placeholder 21">
            <a:extLst>
              <a:ext uri="{FF2B5EF4-FFF2-40B4-BE49-F238E27FC236}">
                <a16:creationId xmlns:a16="http://schemas.microsoft.com/office/drawing/2014/main" id="{41291117-3B8F-E84F-819C-E9D1B31461BA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7359337" y="4650581"/>
            <a:ext cx="1343822" cy="114262"/>
          </a:xfrm>
          <a:effectLst/>
        </p:spPr>
        <p:txBody>
          <a:bodyPr wrap="square" anchor="b">
            <a:sp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 b="0">
                <a:solidFill>
                  <a:schemeClr val="bg1"/>
                </a:solidFill>
                <a:effectLst/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photo ca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2FA3C1-DFDE-954E-A045-DA2C23D87C79}"/>
              </a:ext>
            </a:extLst>
          </p:cNvPr>
          <p:cNvSpPr>
            <a:spLocks noGrp="1"/>
          </p:cNvSpPr>
          <p:nvPr userDrawn="1"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3C21A6-2F34-CB41-9CB8-465C5A165E2E}"/>
              </a:ext>
            </a:extLst>
          </p:cNvPr>
          <p:cNvSpPr>
            <a:spLocks noGrp="1"/>
          </p:cNvSpPr>
          <p:nvPr userDrawn="1"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5A57F9-6F4F-954D-883C-298340BAC4E8}"/>
              </a:ext>
            </a:extLst>
          </p:cNvPr>
          <p:cNvSpPr>
            <a:spLocks noGrp="1"/>
          </p:cNvSpPr>
          <p:nvPr userDrawn="1">
            <p:ph type="sldNum" sz="quarter" idx="18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9525"/>
            <a:fld id="{078C017C-E1B9-8443-B047-B08AAA027B45}" type="slidenum">
              <a:rPr lang="en-US" smtClean="0"/>
              <a:pPr marL="9525"/>
              <a:t>‹#›</a:t>
            </a:fld>
            <a:endParaRPr lang="en-US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BB7448AF-7E4C-3B4B-8EEC-CADF56A2032C}"/>
              </a:ext>
            </a:extLst>
          </p:cNvPr>
          <p:cNvGrpSpPr/>
          <p:nvPr userDrawn="1"/>
        </p:nvGrpSpPr>
        <p:grpSpPr>
          <a:xfrm>
            <a:off x="431241" y="-185200"/>
            <a:ext cx="8280400" cy="5510478"/>
            <a:chOff x="431240" y="-246933"/>
            <a:chExt cx="8280400" cy="7347304"/>
          </a:xfrm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672BAF4C-241C-FC45-8467-60B10AF7AB65}"/>
                </a:ext>
              </a:extLst>
            </p:cNvPr>
            <p:cNvGrpSpPr/>
            <p:nvPr userDrawn="1"/>
          </p:nvGrpSpPr>
          <p:grpSpPr>
            <a:xfrm>
              <a:off x="431242" y="6864579"/>
              <a:ext cx="8280398" cy="235792"/>
              <a:chOff x="431801" y="-235792"/>
              <a:chExt cx="4400550" cy="235792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590F8A25-E020-6846-8351-4AC93F1283B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5BB4FF16-C4BE-2F41-97E4-CA7412FE1A7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1FBF7B4D-D315-D841-998E-600E7FD39B85}"/>
                </a:ext>
              </a:extLst>
            </p:cNvPr>
            <p:cNvGrpSpPr/>
            <p:nvPr userDrawn="1"/>
          </p:nvGrpSpPr>
          <p:grpSpPr>
            <a:xfrm>
              <a:off x="431240" y="-246933"/>
              <a:ext cx="8280400" cy="235792"/>
              <a:chOff x="431800" y="-240735"/>
              <a:chExt cx="8280400" cy="235792"/>
            </a:xfrm>
          </p:grpSpPr>
          <p:grpSp>
            <p:nvGrpSpPr>
              <p:cNvPr id="80" name="Group 79">
                <a:extLst>
                  <a:ext uri="{FF2B5EF4-FFF2-40B4-BE49-F238E27FC236}">
                    <a16:creationId xmlns:a16="http://schemas.microsoft.com/office/drawing/2014/main" id="{262CB220-7BBD-9A40-8EFE-DBF481D41325}"/>
                  </a:ext>
                </a:extLst>
              </p:cNvPr>
              <p:cNvGrpSpPr/>
              <p:nvPr userDrawn="1"/>
            </p:nvGrpSpPr>
            <p:grpSpPr>
              <a:xfrm>
                <a:off x="431800" y="-240735"/>
                <a:ext cx="8280400" cy="235792"/>
                <a:chOff x="431800" y="-235792"/>
                <a:chExt cx="4400551" cy="235792"/>
              </a:xfrm>
            </p:grpSpPr>
            <p:cxnSp>
              <p:nvCxnSpPr>
                <p:cNvPr id="84" name="Straight Connector 83">
                  <a:extLst>
                    <a:ext uri="{FF2B5EF4-FFF2-40B4-BE49-F238E27FC236}">
                      <a16:creationId xmlns:a16="http://schemas.microsoft.com/office/drawing/2014/main" id="{4C0212DE-4F3A-064A-8852-84F9520CE40B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5" name="Straight Connector 84">
                  <a:extLst>
                    <a:ext uri="{FF2B5EF4-FFF2-40B4-BE49-F238E27FC236}">
                      <a16:creationId xmlns:a16="http://schemas.microsoft.com/office/drawing/2014/main" id="{54F88236-9314-6245-BA34-4C419A15253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6" name="Rectangle 85">
                  <a:extLst>
                    <a:ext uri="{FF2B5EF4-FFF2-40B4-BE49-F238E27FC236}">
                      <a16:creationId xmlns:a16="http://schemas.microsoft.com/office/drawing/2014/main" id="{208F0B2C-2ECF-FF4E-9454-5EE223675D05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</p:grpSp>
          <p:sp>
            <p:nvSpPr>
              <p:cNvPr id="81" name="TextBox 80">
                <a:extLst>
                  <a:ext uri="{FF2B5EF4-FFF2-40B4-BE49-F238E27FC236}">
                    <a16:creationId xmlns:a16="http://schemas.microsoft.com/office/drawing/2014/main" id="{52854B52-8256-764E-870F-8B12DFC75805}"/>
                  </a:ext>
                </a:extLst>
              </p:cNvPr>
              <p:cNvSpPr txBox="1"/>
              <p:nvPr userDrawn="1"/>
            </p:nvSpPr>
            <p:spPr>
              <a:xfrm>
                <a:off x="3883466" y="-176700"/>
                <a:ext cx="1377081" cy="107721"/>
              </a:xfrm>
              <a:prstGeom prst="rect">
                <a:avLst/>
              </a:prstGeom>
            </p:spPr>
            <p:txBody>
              <a:bodyPr vert="horz" wrap="none" lIns="108000" tIns="0" rIns="108000" bIns="0" rtlCol="0" anchor="ctr">
                <a:spAutoFit/>
              </a:bodyPr>
              <a:lstStyle/>
              <a:p>
                <a:pPr algn="ctr"/>
                <a:r>
                  <a:rPr lang="en-US" sz="5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KEEP CONTENT WITHIN THIS AREA</a:t>
                </a:r>
              </a:p>
            </p:txBody>
          </p:sp>
          <p:cxnSp>
            <p:nvCxnSpPr>
              <p:cNvPr id="82" name="Straight Arrow Connector 81">
                <a:extLst>
                  <a:ext uri="{FF2B5EF4-FFF2-40B4-BE49-F238E27FC236}">
                    <a16:creationId xmlns:a16="http://schemas.microsoft.com/office/drawing/2014/main" id="{EE3A4062-FF2D-804A-88FA-53139017D530}"/>
                  </a:ext>
                </a:extLst>
              </p:cNvPr>
              <p:cNvCxnSpPr>
                <a:cxnSpLocks/>
                <a:stCxn id="81" idx="1"/>
                <a:endCxn id="86" idx="2"/>
              </p:cNvCxnSpPr>
              <p:nvPr userDrawn="1"/>
            </p:nvCxnSpPr>
            <p:spPr>
              <a:xfrm flipH="1">
                <a:off x="431800" y="-122839"/>
                <a:ext cx="3451666" cy="1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Arrow Connector 82">
                <a:extLst>
                  <a:ext uri="{FF2B5EF4-FFF2-40B4-BE49-F238E27FC236}">
                    <a16:creationId xmlns:a16="http://schemas.microsoft.com/office/drawing/2014/main" id="{89961C7F-EE2F-4844-874C-FABF729B3E38}"/>
                  </a:ext>
                </a:extLst>
              </p:cNvPr>
              <p:cNvCxnSpPr>
                <a:cxnSpLocks/>
                <a:stCxn id="81" idx="3"/>
                <a:endCxn id="86" idx="0"/>
              </p:cNvCxnSpPr>
              <p:nvPr userDrawn="1"/>
            </p:nvCxnSpPr>
            <p:spPr>
              <a:xfrm>
                <a:off x="5260547" y="-122839"/>
                <a:ext cx="3451653" cy="0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037436798"/>
      </p:ext>
    </p:extLst>
  </p:cSld>
  <p:clrMapOvr>
    <a:overrideClrMapping bg1="lt1" tx1="dk1" bg2="lt2" tx2="dk2" accent1="accent1" accent2="accent2" accent3="accent3" accent4="accent4" accent5="accent5" accent6="accent6" hlink="lt1" folHlink="lt1"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(Headshot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A733D6C8-2947-664C-94C0-9AD79C24D8BC}"/>
              </a:ext>
            </a:extLst>
          </p:cNvPr>
          <p:cNvSpPr/>
          <p:nvPr userDrawn="1"/>
        </p:nvSpPr>
        <p:spPr>
          <a:xfrm flipH="1">
            <a:off x="-1" y="1802107"/>
            <a:ext cx="9144000" cy="24705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1050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0B98A494-7A59-1347-AC1A-9CEFC6F3BA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855972" y="1802107"/>
            <a:ext cx="4288028" cy="2470574"/>
          </a:xfrm>
          <a:custGeom>
            <a:avLst/>
            <a:gdLst>
              <a:gd name="connsiteX0" fmla="*/ 0 w 4288028"/>
              <a:gd name="connsiteY0" fmla="*/ 0 h 3294098"/>
              <a:gd name="connsiteX1" fmla="*/ 4288028 w 4288028"/>
              <a:gd name="connsiteY1" fmla="*/ 0 h 3294098"/>
              <a:gd name="connsiteX2" fmla="*/ 4288028 w 4288028"/>
              <a:gd name="connsiteY2" fmla="*/ 3294098 h 3294098"/>
              <a:gd name="connsiteX3" fmla="*/ 1563214 w 4288028"/>
              <a:gd name="connsiteY3" fmla="*/ 3294098 h 3294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88028" h="3294098">
                <a:moveTo>
                  <a:pt x="0" y="0"/>
                </a:moveTo>
                <a:lnTo>
                  <a:pt x="4288028" y="0"/>
                </a:lnTo>
                <a:lnTo>
                  <a:pt x="4288028" y="3294098"/>
                </a:lnTo>
                <a:lnTo>
                  <a:pt x="1563214" y="3294098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rIns="432000" anchor="ctr">
            <a:noAutofit/>
          </a:bodyPr>
          <a:lstStyle>
            <a:lvl1pPr marL="0" indent="0" algn="r">
              <a:buNone/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hoto or headsho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51CCCAA-D40E-B44E-A126-920CC95387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914300"/>
            <a:ext cx="8280400" cy="68580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hank-you messag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22CA3D9-DBCD-8543-9EF3-77B6B03F51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2035666"/>
            <a:ext cx="4140200" cy="200345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marL="15479" indent="0">
              <a:spcAft>
                <a:spcPts val="225"/>
              </a:spcAft>
              <a:buFont typeface="Arial" panose="020B0604020202020204" pitchFamily="34" charset="0"/>
              <a:buNone/>
              <a:tabLst/>
              <a:defRPr sz="1050" b="1">
                <a:solidFill>
                  <a:schemeClr val="bg1"/>
                </a:solidFill>
              </a:defRPr>
            </a:lvl1pPr>
            <a:lvl2pPr marL="15479" indent="0">
              <a:spcAft>
                <a:spcPts val="150"/>
              </a:spcAft>
              <a:buFont typeface="Arial" panose="020B0604020202020204" pitchFamily="34" charset="0"/>
              <a:buNone/>
              <a:tabLst/>
              <a:defRPr sz="1050">
                <a:solidFill>
                  <a:schemeClr val="bg1"/>
                </a:solidFill>
              </a:defRPr>
            </a:lvl2pPr>
            <a:lvl3pPr marL="15479" indent="0">
              <a:spcAft>
                <a:spcPts val="150"/>
              </a:spcAft>
              <a:buFont typeface="Arial" panose="020B0604020202020204" pitchFamily="34" charset="0"/>
              <a:buNone/>
              <a:tabLst/>
              <a:defRPr sz="1050">
                <a:solidFill>
                  <a:schemeClr val="bg1"/>
                </a:solidFill>
              </a:defRPr>
            </a:lvl3pPr>
            <a:lvl4pPr marL="15479" indent="0">
              <a:spcAft>
                <a:spcPts val="150"/>
              </a:spcAft>
              <a:buFont typeface="Arial" panose="020B0604020202020204" pitchFamily="34" charset="0"/>
              <a:buNone/>
              <a:tabLst/>
              <a:defRPr sz="1050">
                <a:solidFill>
                  <a:schemeClr val="bg1"/>
                </a:solidFill>
              </a:defRPr>
            </a:lvl4pPr>
            <a:lvl5pPr marL="15479" indent="0">
              <a:spcAft>
                <a:spcPts val="150"/>
              </a:spcAft>
              <a:buFont typeface="Arial" panose="020B0604020202020204" pitchFamily="34" charset="0"/>
              <a:buNone/>
              <a:tabLst/>
              <a:defRPr sz="1050">
                <a:solidFill>
                  <a:schemeClr val="bg1"/>
                </a:solidFill>
              </a:defRPr>
            </a:lvl5pPr>
            <a:lvl6pPr marL="15479" indent="0">
              <a:buNone/>
              <a:tabLst/>
              <a:defRPr>
                <a:solidFill>
                  <a:schemeClr val="bg1"/>
                </a:solidFill>
              </a:defRPr>
            </a:lvl6pPr>
            <a:lvl7pPr marL="15479" indent="0">
              <a:buNone/>
              <a:tabLst/>
              <a:defRPr>
                <a:solidFill>
                  <a:schemeClr val="bg1"/>
                </a:solidFill>
              </a:defRPr>
            </a:lvl7pPr>
            <a:lvl8pPr marL="15479" indent="0">
              <a:buNone/>
              <a:tabLst/>
              <a:defRPr>
                <a:solidFill>
                  <a:schemeClr val="bg1"/>
                </a:solidFill>
              </a:defRPr>
            </a:lvl8pPr>
            <a:lvl9pPr marL="15479" indent="0">
              <a:buNone/>
              <a:tabLst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contact information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3BFD17EA-819F-DD45-8311-F838F6249E1A}"/>
              </a:ext>
            </a:extLst>
          </p:cNvPr>
          <p:cNvSpPr/>
          <p:nvPr userDrawn="1"/>
        </p:nvSpPr>
        <p:spPr>
          <a:xfrm flipH="1">
            <a:off x="0" y="4522171"/>
            <a:ext cx="6781322" cy="320579"/>
          </a:xfrm>
          <a:custGeom>
            <a:avLst/>
            <a:gdLst>
              <a:gd name="connsiteX0" fmla="*/ 6781322 w 6781322"/>
              <a:gd name="connsiteY0" fmla="*/ 0 h 427439"/>
              <a:gd name="connsiteX1" fmla="*/ 6376846 w 6781322"/>
              <a:gd name="connsiteY1" fmla="*/ 0 h 427439"/>
              <a:gd name="connsiteX2" fmla="*/ 607317 w 6781322"/>
              <a:gd name="connsiteY2" fmla="*/ 0 h 427439"/>
              <a:gd name="connsiteX3" fmla="*/ 202841 w 6781322"/>
              <a:gd name="connsiteY3" fmla="*/ 0 h 427439"/>
              <a:gd name="connsiteX4" fmla="*/ 0 w 6781322"/>
              <a:gd name="connsiteY4" fmla="*/ 427439 h 427439"/>
              <a:gd name="connsiteX5" fmla="*/ 404476 w 6781322"/>
              <a:gd name="connsiteY5" fmla="*/ 427439 h 427439"/>
              <a:gd name="connsiteX6" fmla="*/ 6376846 w 6781322"/>
              <a:gd name="connsiteY6" fmla="*/ 427439 h 427439"/>
              <a:gd name="connsiteX7" fmla="*/ 6781322 w 6781322"/>
              <a:gd name="connsiteY7" fmla="*/ 427439 h 427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81322" h="427439">
                <a:moveTo>
                  <a:pt x="6781322" y="0"/>
                </a:moveTo>
                <a:lnTo>
                  <a:pt x="6376846" y="0"/>
                </a:lnTo>
                <a:lnTo>
                  <a:pt x="607317" y="0"/>
                </a:lnTo>
                <a:lnTo>
                  <a:pt x="202841" y="0"/>
                </a:lnTo>
                <a:lnTo>
                  <a:pt x="0" y="427439"/>
                </a:lnTo>
                <a:lnTo>
                  <a:pt x="404476" y="427439"/>
                </a:lnTo>
                <a:lnTo>
                  <a:pt x="6376846" y="427439"/>
                </a:lnTo>
                <a:lnTo>
                  <a:pt x="6781322" y="42743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1050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DB32357E-8001-BB4B-B6BD-AEA8426DDEF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6724098" y="4474686"/>
            <a:ext cx="2151409" cy="416402"/>
          </a:xfrm>
          <a:prstGeom prst="rect">
            <a:avLst/>
          </a:prstGeom>
        </p:spPr>
      </p:pic>
      <p:grpSp>
        <p:nvGrpSpPr>
          <p:cNvPr id="50" name="Group 49">
            <a:extLst>
              <a:ext uri="{FF2B5EF4-FFF2-40B4-BE49-F238E27FC236}">
                <a16:creationId xmlns:a16="http://schemas.microsoft.com/office/drawing/2014/main" id="{8154AF59-E4FF-3346-B926-57EDAB1FE062}"/>
              </a:ext>
            </a:extLst>
          </p:cNvPr>
          <p:cNvGrpSpPr/>
          <p:nvPr userDrawn="1"/>
        </p:nvGrpSpPr>
        <p:grpSpPr>
          <a:xfrm>
            <a:off x="-256964" y="946363"/>
            <a:ext cx="251461" cy="590721"/>
            <a:chOff x="-256404" y="360363"/>
            <a:chExt cx="251461" cy="692152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36AB50BF-4718-484C-B6EA-0C330459021B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A30C18D2-1D99-164F-A515-FE124A48FC0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E10DDE84-4C05-1A4A-A2D8-AAE8FB3D342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0FEB97B8-81FD-4541-B92C-ADB8AD94CD4E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</p:grp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5D9FF21D-3A71-2548-A8D3-8888EABDC88B}"/>
                </a:ext>
              </a:extLst>
            </p:cNvPr>
            <p:cNvSpPr txBox="1"/>
            <p:nvPr userDrawn="1"/>
          </p:nvSpPr>
          <p:spPr>
            <a:xfrm rot="16200000">
              <a:off x="-360755" y="622269"/>
              <a:ext cx="460172" cy="161583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HANK YOU</a:t>
              </a:r>
              <a:b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MESSAGE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85D3DB86-D979-BC43-82F9-D7DB16BFB915}"/>
              </a:ext>
            </a:extLst>
          </p:cNvPr>
          <p:cNvGrpSpPr/>
          <p:nvPr userDrawn="1"/>
        </p:nvGrpSpPr>
        <p:grpSpPr>
          <a:xfrm>
            <a:off x="-256964" y="2525493"/>
            <a:ext cx="251461" cy="1023800"/>
            <a:chOff x="-256404" y="360363"/>
            <a:chExt cx="251461" cy="692152"/>
          </a:xfrm>
        </p:grpSpPr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BBE9AB7B-CC36-1C48-8850-B428D53FD54E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59" name="Straight Connector 58">
                <a:extLst>
                  <a:ext uri="{FF2B5EF4-FFF2-40B4-BE49-F238E27FC236}">
                    <a16:creationId xmlns:a16="http://schemas.microsoft.com/office/drawing/2014/main" id="{383BC659-DE1A-AD46-BABB-4216D5152A6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16C4EDB7-BE73-C648-8454-EDBF3A3BCEC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98F7CC41-3485-F345-AD6D-DA420283A295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</p:grp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8CDD96D5-24AE-C84E-9626-2669E4455CE7}"/>
                </a:ext>
              </a:extLst>
            </p:cNvPr>
            <p:cNvSpPr txBox="1"/>
            <p:nvPr userDrawn="1"/>
          </p:nvSpPr>
          <p:spPr>
            <a:xfrm rot="16200000">
              <a:off x="-301896" y="662666"/>
              <a:ext cx="342458" cy="80791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CONTACT INFO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B3E31308-5073-4344-9CE0-58B65E2EFAD8}"/>
              </a:ext>
            </a:extLst>
          </p:cNvPr>
          <p:cNvGrpSpPr/>
          <p:nvPr userDrawn="1"/>
        </p:nvGrpSpPr>
        <p:grpSpPr>
          <a:xfrm>
            <a:off x="9399183" y="-1"/>
            <a:ext cx="2961715" cy="7416175"/>
            <a:chOff x="9399182" y="-1"/>
            <a:chExt cx="2961715" cy="9888233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E76269E-8C78-D343-B169-EBF41DC6C7A1}"/>
                </a:ext>
              </a:extLst>
            </p:cNvPr>
            <p:cNvSpPr/>
            <p:nvPr userDrawn="1"/>
          </p:nvSpPr>
          <p:spPr>
            <a:xfrm>
              <a:off x="9399182" y="-1"/>
              <a:ext cx="2798651" cy="974868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050"/>
            </a:p>
          </p:txBody>
        </p:sp>
        <p:pic>
          <p:nvPicPr>
            <p:cNvPr id="90" name="Picture 89">
              <a:extLst>
                <a:ext uri="{FF2B5EF4-FFF2-40B4-BE49-F238E27FC236}">
                  <a16:creationId xmlns:a16="http://schemas.microsoft.com/office/drawing/2014/main" id="{F246FA3C-064F-9848-8568-CFCFAD40560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r="44021" b="6017"/>
            <a:stretch/>
          </p:blipFill>
          <p:spPr>
            <a:xfrm>
              <a:off x="9558506" y="1323797"/>
              <a:ext cx="2632538" cy="532435"/>
            </a:xfrm>
            <a:prstGeom prst="rect">
              <a:avLst/>
            </a:prstGeom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1671C85D-BA5D-4D49-929C-B172CAD4A8DC}"/>
                </a:ext>
              </a:extLst>
            </p:cNvPr>
            <p:cNvSpPr txBox="1"/>
            <p:nvPr userDrawn="1"/>
          </p:nvSpPr>
          <p:spPr>
            <a:xfrm>
              <a:off x="9558507" y="3874407"/>
              <a:ext cx="1231106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sz="825">
                  <a:solidFill>
                    <a:schemeClr val="bg1"/>
                  </a:solidFill>
                </a:rPr>
                <a:t>HOW TO ADD AN IMAGE</a:t>
              </a:r>
            </a:p>
          </p:txBody>
        </p: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F6343EF-AD02-7847-99E6-3F12C4DE8DD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4077024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489BD887-3769-7E4A-84E6-A89C01DFBF0B}"/>
                </a:ext>
              </a:extLst>
            </p:cNvPr>
            <p:cNvSpPr txBox="1"/>
            <p:nvPr userDrawn="1"/>
          </p:nvSpPr>
          <p:spPr>
            <a:xfrm>
              <a:off x="9686426" y="4935334"/>
              <a:ext cx="2297338" cy="28913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900"/>
                </a:spcBef>
                <a:spcAft>
                  <a:spcPts val="300"/>
                </a:spcAft>
                <a:defRPr sz="800" b="1" cap="all" spc="2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0" lvl="1" indent="0">
                <a:lnSpc>
                  <a:spcPct val="90000"/>
                </a:lnSpc>
                <a:spcAft>
                  <a:spcPts val="300"/>
                </a:spcAft>
                <a:tabLst/>
                <a:defRPr sz="12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marL="0" lvl="0" indent="0">
                <a:buFont typeface="Arial" panose="020B0604020202020204" pitchFamily="34" charset="0"/>
                <a:buNone/>
              </a:pPr>
              <a:r>
                <a:rPr lang="en-US" sz="450" b="1"/>
                <a:t>Method 1:</a:t>
              </a:r>
              <a:r>
                <a:rPr lang="en-US" sz="450" b="0"/>
                <a:t>from file browser</a:t>
              </a:r>
            </a:p>
            <a:p>
              <a:pPr lvl="1">
                <a:buNone/>
              </a:pPr>
              <a:r>
                <a:rPr lang="en-US" sz="788"/>
                <a:t>Drag the image onto the slide.</a:t>
              </a: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3BB7DFA5-86A8-2241-81D4-51CD6B2BCFFE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9FA83002-5E66-5C4C-9655-0BA18B87C2B0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69" name="TextBox 68">
                <a:extLst>
                  <a:ext uri="{FF2B5EF4-FFF2-40B4-BE49-F238E27FC236}">
                    <a16:creationId xmlns:a16="http://schemas.microsoft.com/office/drawing/2014/main" id="{5E1F513F-7453-184B-BF9C-0FE3D213F374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70" name="Picture 69">
                <a:extLst>
                  <a:ext uri="{FF2B5EF4-FFF2-40B4-BE49-F238E27FC236}">
                    <a16:creationId xmlns:a16="http://schemas.microsoft.com/office/drawing/2014/main" id="{DA1384A2-99EA-8F47-831A-0F69FD1BD1E9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936DB6E4-613B-B043-BEEC-D9B02A473D15}"/>
                </a:ext>
              </a:extLst>
            </p:cNvPr>
            <p:cNvGrpSpPr/>
            <p:nvPr userDrawn="1"/>
          </p:nvGrpSpPr>
          <p:grpSpPr>
            <a:xfrm>
              <a:off x="9541497" y="8476917"/>
              <a:ext cx="2735151" cy="1411315"/>
              <a:chOff x="9296567" y="4910411"/>
              <a:chExt cx="2735151" cy="1411315"/>
            </a:xfrm>
          </p:grpSpPr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B4B99D08-66F1-204B-AE0E-AE40EE746E64}"/>
                  </a:ext>
                </a:extLst>
              </p:cNvPr>
              <p:cNvSpPr/>
              <p:nvPr userDrawn="1"/>
            </p:nvSpPr>
            <p:spPr>
              <a:xfrm>
                <a:off x="9296567" y="4910411"/>
                <a:ext cx="2735151" cy="1411315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63" name="TextBox 62">
                <a:extLst>
                  <a:ext uri="{FF2B5EF4-FFF2-40B4-BE49-F238E27FC236}">
                    <a16:creationId xmlns:a16="http://schemas.microsoft.com/office/drawing/2014/main" id="{D89DB38A-645F-144A-95C6-B29245BB782C}"/>
                  </a:ext>
                </a:extLst>
              </p:cNvPr>
              <p:cNvSpPr txBox="1"/>
              <p:nvPr userDrawn="1"/>
            </p:nvSpPr>
            <p:spPr>
              <a:xfrm>
                <a:off x="9662758" y="5039211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Change Image</a:t>
                </a:r>
              </a:p>
            </p:txBody>
          </p:sp>
          <p:pic>
            <p:nvPicPr>
              <p:cNvPr id="64" name="Graphic 63">
                <a:extLst>
                  <a:ext uri="{FF2B5EF4-FFF2-40B4-BE49-F238E27FC236}">
                    <a16:creationId xmlns:a16="http://schemas.microsoft.com/office/drawing/2014/main" id="{5844EBB1-69EC-374A-973E-FDB923CB63D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9456790" y="5049494"/>
                <a:ext cx="155227" cy="155227"/>
              </a:xfrm>
              <a:prstGeom prst="rect">
                <a:avLst/>
              </a:prstGeom>
            </p:spPr>
          </p:pic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2A7D2CE2-0888-254D-8182-E8B9B984C27C}"/>
                  </a:ext>
                </a:extLst>
              </p:cNvPr>
              <p:cNvSpPr txBox="1"/>
              <p:nvPr userDrawn="1"/>
            </p:nvSpPr>
            <p:spPr>
              <a:xfrm>
                <a:off x="9471805" y="5619194"/>
                <a:ext cx="2422981" cy="373948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101204" lvl="1" indent="-98822" algn="l" defTabSz="685800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225"/>
                  </a:spcAft>
                  <a:buFont typeface="Wingdings" pitchFamily="2" charset="2"/>
                  <a:buChar char="§"/>
                  <a:tabLst/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Deleting the image may bring the image placeholder to the top layer. Right-click on the placeholder and choose “Send to Back”.</a:t>
                </a:r>
              </a:p>
            </p:txBody>
          </p:sp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4BEAE704-A4F2-8846-BBA0-A78F408CC4F6}"/>
                  </a:ext>
                </a:extLst>
              </p:cNvPr>
              <p:cNvSpPr txBox="1"/>
              <p:nvPr userDrawn="1"/>
            </p:nvSpPr>
            <p:spPr>
              <a:xfrm>
                <a:off x="9471805" y="5300350"/>
                <a:ext cx="2422981" cy="2769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685800" rtl="0" eaLnBrk="1" latinLnBrk="0" hangingPunct="1">
                  <a:spcBef>
                    <a:spcPts val="150"/>
                  </a:spcBef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First, delete the existing image to reset the photo placeholder functionality.</a:t>
                </a:r>
              </a:p>
            </p:txBody>
          </p:sp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E827C2E6-4B03-3E40-A5C3-2897F09BF8B9}"/>
                  </a:ext>
                </a:extLst>
              </p:cNvPr>
              <p:cNvSpPr txBox="1"/>
              <p:nvPr userDrawn="1"/>
            </p:nvSpPr>
            <p:spPr>
              <a:xfrm>
                <a:off x="9471805" y="6068871"/>
                <a:ext cx="2422981" cy="13850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685800" rtl="0" eaLnBrk="1" latinLnBrk="0" hangingPunct="1">
                  <a:spcBef>
                    <a:spcPts val="150"/>
                  </a:spcBef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You can now add a new image as normal.</a:t>
                </a:r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85BD4996-1151-B14E-92B4-B6EB0B20C0D1}"/>
                </a:ext>
              </a:extLst>
            </p:cNvPr>
            <p:cNvGrpSpPr/>
            <p:nvPr userDrawn="1"/>
          </p:nvGrpSpPr>
          <p:grpSpPr>
            <a:xfrm>
              <a:off x="9541497" y="7120261"/>
              <a:ext cx="2735151" cy="1280928"/>
              <a:chOff x="9286315" y="6976989"/>
              <a:chExt cx="2735151" cy="1280928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500FE895-1720-AB4B-9E0F-91C2C382303D}"/>
                  </a:ext>
                </a:extLst>
              </p:cNvPr>
              <p:cNvSpPr/>
              <p:nvPr userDrawn="1"/>
            </p:nvSpPr>
            <p:spPr>
              <a:xfrm>
                <a:off x="9286315" y="6976989"/>
                <a:ext cx="2735151" cy="1280928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1B155C23-A6FC-4149-BF55-6313E95865F9}"/>
                  </a:ext>
                </a:extLst>
              </p:cNvPr>
              <p:cNvSpPr txBox="1"/>
              <p:nvPr userDrawn="1"/>
            </p:nvSpPr>
            <p:spPr>
              <a:xfrm>
                <a:off x="9652506" y="7105788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Crop Image</a:t>
                </a:r>
              </a:p>
            </p:txBody>
          </p:sp>
          <p:pic>
            <p:nvPicPr>
              <p:cNvPr id="45" name="Graphic 44">
                <a:extLst>
                  <a:ext uri="{FF2B5EF4-FFF2-40B4-BE49-F238E27FC236}">
                    <a16:creationId xmlns:a16="http://schemas.microsoft.com/office/drawing/2014/main" id="{D666C49D-563C-9144-B854-B5D8FFA16E3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9446538" y="7116071"/>
                <a:ext cx="155227" cy="155227"/>
              </a:xfrm>
              <a:prstGeom prst="rect">
                <a:avLst/>
              </a:prstGeom>
            </p:spPr>
          </p:pic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3CBE64FA-7748-1349-89EC-902B4A25BD00}"/>
                  </a:ext>
                </a:extLst>
              </p:cNvPr>
              <p:cNvSpPr txBox="1"/>
              <p:nvPr userDrawn="1"/>
            </p:nvSpPr>
            <p:spPr>
              <a:xfrm>
                <a:off x="9446538" y="7369972"/>
                <a:ext cx="2384904" cy="777136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Right-click on the image.</a:t>
                </a:r>
              </a:p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Choose “Crop” from the menu. (       )</a:t>
                </a:r>
              </a:p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Adjust the size and position of the image.</a:t>
                </a:r>
              </a:p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Press Esc or click outside the image area to exit the cropping mode.</a:t>
                </a:r>
              </a:p>
            </p:txBody>
          </p:sp>
          <p:pic>
            <p:nvPicPr>
              <p:cNvPr id="47" name="Picture 46">
                <a:extLst>
                  <a:ext uri="{FF2B5EF4-FFF2-40B4-BE49-F238E27FC236}">
                    <a16:creationId xmlns:a16="http://schemas.microsoft.com/office/drawing/2014/main" id="{EBED6E0D-C534-0B4E-9ADA-CEEA5779E7B1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6"/>
              <a:srcRect l="33684" t="12097" r="43371" b="20368"/>
              <a:stretch/>
            </p:blipFill>
            <p:spPr>
              <a:xfrm>
                <a:off x="11243541" y="7454405"/>
                <a:ext cx="136897" cy="213643"/>
              </a:xfrm>
              <a:prstGeom prst="rect">
                <a:avLst/>
              </a:prstGeom>
              <a:ln w="19050"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</p:pic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1ADEF5FC-92F8-0E47-9385-A4F9D9B30AF8}"/>
                </a:ext>
              </a:extLst>
            </p:cNvPr>
            <p:cNvGrpSpPr/>
            <p:nvPr userDrawn="1"/>
          </p:nvGrpSpPr>
          <p:grpSpPr>
            <a:xfrm>
              <a:off x="9521833" y="4199527"/>
              <a:ext cx="2617883" cy="707288"/>
              <a:chOff x="12352022" y="513115"/>
              <a:chExt cx="2617883" cy="707288"/>
            </a:xfrm>
          </p:grpSpPr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67B0499E-8D11-9D4A-A286-DEBDE9610976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12352022" y="538142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375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1</a:t>
                </a:r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D0D2B337-235A-7742-931F-C88DF26DF943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12352022" y="1033696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375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2</a:t>
                </a:r>
              </a:p>
            </p:txBody>
          </p: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C57FC906-94A4-9340-B80B-5A4321C7FD97}"/>
                  </a:ext>
                </a:extLst>
              </p:cNvPr>
              <p:cNvSpPr txBox="1"/>
              <p:nvPr userDrawn="1"/>
            </p:nvSpPr>
            <p:spPr>
              <a:xfrm>
                <a:off x="12516615" y="513115"/>
                <a:ext cx="2453290" cy="707288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0"/>
                <a:r>
                  <a:rPr lang="en-US" sz="788"/>
                  <a:t>Select and download images from the Marketing Resource Database.</a:t>
                </a:r>
              </a:p>
              <a:p>
                <a:pPr lvl="0"/>
                <a:r>
                  <a:rPr lang="en-US" sz="788"/>
                  <a:t>Add the image to the placeholder.</a:t>
                </a:r>
              </a:p>
            </p:txBody>
          </p:sp>
        </p:grp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33DD3CB3-E4D8-D945-AB52-C6152FB5CEEE}"/>
                </a:ext>
              </a:extLst>
            </p:cNvPr>
            <p:cNvSpPr txBox="1"/>
            <p:nvPr userDrawn="1"/>
          </p:nvSpPr>
          <p:spPr>
            <a:xfrm>
              <a:off x="9674267" y="5218639"/>
              <a:ext cx="2374733" cy="32316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525"/>
                <a:t>Note: If there are multiple image placeholders on the slide, select the intended placeholder before dragging in the image to let PowerPoint know where you want it.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F2294DF0-4D25-5543-B7E9-64BC32586F13}"/>
                </a:ext>
              </a:extLst>
            </p:cNvPr>
            <p:cNvSpPr txBox="1"/>
            <p:nvPr userDrawn="1"/>
          </p:nvSpPr>
          <p:spPr>
            <a:xfrm>
              <a:off x="9686426" y="5633896"/>
              <a:ext cx="2297338" cy="63145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900"/>
                </a:spcBef>
                <a:spcAft>
                  <a:spcPts val="300"/>
                </a:spcAft>
                <a:defRPr sz="800" b="1" cap="all" spc="2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0" lvl="1" indent="0">
                <a:lnSpc>
                  <a:spcPct val="90000"/>
                </a:lnSpc>
                <a:spcAft>
                  <a:spcPts val="300"/>
                </a:spcAft>
                <a:tabLst/>
                <a:defRPr sz="12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marL="0" lvl="0" indent="0">
                <a:buFont typeface="Arial" panose="020B0604020202020204" pitchFamily="34" charset="0"/>
                <a:buNone/>
              </a:pPr>
              <a:r>
                <a:rPr lang="en-US" sz="450"/>
                <a:t>Method 2:</a:t>
              </a:r>
              <a:r>
                <a:rPr lang="en-US" sz="450" b="0"/>
                <a:t>Paste from clipboard</a:t>
              </a:r>
            </a:p>
            <a:p>
              <a:pPr lvl="1">
                <a:buNone/>
              </a:pPr>
              <a:r>
                <a:rPr lang="en-US" sz="788"/>
                <a:t>Select the image placeholder.</a:t>
              </a:r>
            </a:p>
            <a:p>
              <a:pPr lvl="1">
                <a:buNone/>
              </a:pPr>
              <a:r>
                <a:rPr lang="en-US" sz="788"/>
                <a:t>Right-click or use keyboard shortcuts to paste the image.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E7593A18-4AA6-1740-8742-F41540517E1F}"/>
                </a:ext>
              </a:extLst>
            </p:cNvPr>
            <p:cNvSpPr txBox="1"/>
            <p:nvPr userDrawn="1"/>
          </p:nvSpPr>
          <p:spPr>
            <a:xfrm>
              <a:off x="9686426" y="6353985"/>
              <a:ext cx="2297338" cy="43464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900"/>
                </a:spcBef>
                <a:spcAft>
                  <a:spcPts val="300"/>
                </a:spcAft>
                <a:defRPr sz="800" b="1" cap="all" spc="2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0" lvl="1" indent="0">
                <a:lnSpc>
                  <a:spcPct val="90000"/>
                </a:lnSpc>
                <a:spcAft>
                  <a:spcPts val="300"/>
                </a:spcAft>
                <a:tabLst/>
                <a:defRPr sz="12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marL="0" lvl="0" indent="0">
                <a:buFont typeface="Arial" panose="020B0604020202020204" pitchFamily="34" charset="0"/>
                <a:buNone/>
              </a:pPr>
              <a:r>
                <a:rPr lang="en-US" sz="450"/>
                <a:t>Method 3:</a:t>
              </a:r>
              <a:r>
                <a:rPr lang="en-US" sz="450" b="0"/>
                <a:t>Placeholder icon</a:t>
              </a:r>
            </a:p>
            <a:p>
              <a:pPr lvl="1">
                <a:buNone/>
              </a:pPr>
              <a:r>
                <a:rPr lang="en-US" sz="788"/>
                <a:t>Click the image icon inside the placeholder to browse for an image.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956F856D-C4D3-334A-B1FE-BDBA5CA3B0E1}"/>
                </a:ext>
              </a:extLst>
            </p:cNvPr>
            <p:cNvSpPr txBox="1"/>
            <p:nvPr userDrawn="1"/>
          </p:nvSpPr>
          <p:spPr>
            <a:xfrm>
              <a:off x="9674267" y="6784549"/>
              <a:ext cx="2374733" cy="215444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525"/>
                <a:t>Note: This icon may be covered by another element.</a:t>
              </a:r>
              <a:br>
                <a:rPr lang="en-US" sz="525"/>
              </a:br>
              <a:r>
                <a:rPr lang="en-US" sz="525"/>
                <a:t>In this case use one of the other methods.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AB0AAF54-7965-B142-B874-EE47EADD6C0A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1670329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sz="825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9DED1D72-DEB5-E94A-A957-290E83552A0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6B557C09-E337-D24A-941E-6A7414CBA1D8}"/>
                </a:ext>
              </a:extLst>
            </p:cNvPr>
            <p:cNvGrpSpPr/>
            <p:nvPr userDrawn="1"/>
          </p:nvGrpSpPr>
          <p:grpSpPr>
            <a:xfrm>
              <a:off x="9541497" y="1993090"/>
              <a:ext cx="2735151" cy="1739504"/>
              <a:chOff x="9541497" y="2125825"/>
              <a:chExt cx="2735151" cy="1739504"/>
            </a:xfrm>
          </p:grpSpPr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3EFFB818-B95A-9A4F-AA82-9F4D5FF20275}"/>
                  </a:ext>
                </a:extLst>
              </p:cNvPr>
              <p:cNvSpPr/>
              <p:nvPr userDrawn="1"/>
            </p:nvSpPr>
            <p:spPr>
              <a:xfrm>
                <a:off x="9541497" y="2125825"/>
                <a:ext cx="2735151" cy="1739504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DEC5F26B-4D18-5442-B88B-C1A3C02042FF}"/>
                  </a:ext>
                </a:extLst>
              </p:cNvPr>
              <p:cNvSpPr txBox="1"/>
              <p:nvPr userDrawn="1"/>
            </p:nvSpPr>
            <p:spPr>
              <a:xfrm>
                <a:off x="9907688" y="2254624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Undo Hyperlink</a:t>
                </a:r>
              </a:p>
            </p:txBody>
          </p:sp>
          <p:pic>
            <p:nvPicPr>
              <p:cNvPr id="74" name="Graphic 73">
                <a:extLst>
                  <a:ext uri="{FF2B5EF4-FFF2-40B4-BE49-F238E27FC236}">
                    <a16:creationId xmlns:a16="http://schemas.microsoft.com/office/drawing/2014/main" id="{474F1871-E7AA-694F-A055-112CE85079D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9701720" y="2264907"/>
                <a:ext cx="155227" cy="155227"/>
              </a:xfrm>
              <a:prstGeom prst="rect">
                <a:avLst/>
              </a:prstGeom>
            </p:spPr>
          </p:pic>
          <p:sp>
            <p:nvSpPr>
              <p:cNvPr id="75" name="TextBox 74">
                <a:extLst>
                  <a:ext uri="{FF2B5EF4-FFF2-40B4-BE49-F238E27FC236}">
                    <a16:creationId xmlns:a16="http://schemas.microsoft.com/office/drawing/2014/main" id="{E5FA5F2C-CB33-3742-94F7-FCC2AF53A1E3}"/>
                  </a:ext>
                </a:extLst>
              </p:cNvPr>
              <p:cNvSpPr txBox="1"/>
              <p:nvPr userDrawn="1"/>
            </p:nvSpPr>
            <p:spPr>
              <a:xfrm>
                <a:off x="9701720" y="2880064"/>
                <a:ext cx="2384904" cy="2492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As soon as the hyperlink formatting appears, Undo once to remove the format.</a:t>
                </a:r>
              </a:p>
            </p:txBody>
          </p:sp>
          <p:sp>
            <p:nvSpPr>
              <p:cNvPr id="78" name="TextBox 77">
                <a:extLst>
                  <a:ext uri="{FF2B5EF4-FFF2-40B4-BE49-F238E27FC236}">
                    <a16:creationId xmlns:a16="http://schemas.microsoft.com/office/drawing/2014/main" id="{2E1A285B-D1A8-7542-B57C-1FB7F1DE582E}"/>
                  </a:ext>
                </a:extLst>
              </p:cNvPr>
              <p:cNvSpPr txBox="1"/>
              <p:nvPr userDrawn="1"/>
            </p:nvSpPr>
            <p:spPr>
              <a:xfrm>
                <a:off x="9694938" y="2522576"/>
                <a:ext cx="2422981" cy="2769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685800" rtl="0" eaLnBrk="1" latinLnBrk="0" hangingPunct="1">
                  <a:spcBef>
                    <a:spcPts val="150"/>
                  </a:spcBef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Typing an email address into the contact info will automatically create a hyperlink.</a:t>
                </a:r>
              </a:p>
            </p:txBody>
          </p:sp>
          <p:sp>
            <p:nvSpPr>
              <p:cNvPr id="79" name="TextBox 78">
                <a:extLst>
                  <a:ext uri="{FF2B5EF4-FFF2-40B4-BE49-F238E27FC236}">
                    <a16:creationId xmlns:a16="http://schemas.microsoft.com/office/drawing/2014/main" id="{9A7FC49C-9563-8045-A659-511775C12BE2}"/>
                  </a:ext>
                </a:extLst>
              </p:cNvPr>
              <p:cNvSpPr txBox="1"/>
              <p:nvPr userDrawn="1"/>
            </p:nvSpPr>
            <p:spPr>
              <a:xfrm>
                <a:off x="9830981" y="3162742"/>
                <a:ext cx="2374733" cy="107721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>
                    <a:solidFill>
                      <a:schemeClr val="bg1">
                        <a:lumMod val="65000"/>
                      </a:schemeClr>
                    </a:solidFill>
                  </a:rPr>
                  <a:t>You can use CTRL+Z or the menu button.</a:t>
                </a:r>
              </a:p>
            </p:txBody>
          </p:sp>
          <p:sp>
            <p:nvSpPr>
              <p:cNvPr id="80" name="TextBox 79">
                <a:extLst>
                  <a:ext uri="{FF2B5EF4-FFF2-40B4-BE49-F238E27FC236}">
                    <a16:creationId xmlns:a16="http://schemas.microsoft.com/office/drawing/2014/main" id="{CD793767-48F5-464F-88A1-9CCB91E4C405}"/>
                  </a:ext>
                </a:extLst>
              </p:cNvPr>
              <p:cNvSpPr txBox="1"/>
              <p:nvPr userDrawn="1"/>
            </p:nvSpPr>
            <p:spPr>
              <a:xfrm>
                <a:off x="9701720" y="3337264"/>
                <a:ext cx="2384904" cy="373948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To remove an pre-existing hyperlink,</a:t>
                </a:r>
                <a:b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</a:b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right click on the hyperlink and choose “Remove Link” (                 )</a:t>
                </a:r>
              </a:p>
            </p:txBody>
          </p:sp>
          <p:pic>
            <p:nvPicPr>
              <p:cNvPr id="3" name="Picture 2">
                <a:extLst>
                  <a:ext uri="{FF2B5EF4-FFF2-40B4-BE49-F238E27FC236}">
                    <a16:creationId xmlns:a16="http://schemas.microsoft.com/office/drawing/2014/main" id="{101078BD-505E-0F4C-AD76-8DD34B7498CB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7"/>
              <a:srcRect l="4852" t="17138" r="10283" b="11792"/>
              <a:stretch/>
            </p:blipFill>
            <p:spPr>
              <a:xfrm>
                <a:off x="10676602" y="3604038"/>
                <a:ext cx="478277" cy="101726"/>
              </a:xfrm>
              <a:prstGeom prst="rect">
                <a:avLst/>
              </a:prstGeom>
              <a:ln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</p:pic>
        </p:grp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C71C768-6B06-514A-9B09-14236993DABA}"/>
              </a:ext>
            </a:extLst>
          </p:cNvPr>
          <p:cNvGrpSpPr/>
          <p:nvPr userDrawn="1"/>
        </p:nvGrpSpPr>
        <p:grpSpPr>
          <a:xfrm>
            <a:off x="431241" y="-185200"/>
            <a:ext cx="8280400" cy="5510478"/>
            <a:chOff x="431240" y="-246933"/>
            <a:chExt cx="8280400" cy="7347304"/>
          </a:xfrm>
        </p:grpSpPr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9B95636A-1056-924A-97B4-C3A6F8C3B1B4}"/>
                </a:ext>
              </a:extLst>
            </p:cNvPr>
            <p:cNvGrpSpPr/>
            <p:nvPr userDrawn="1"/>
          </p:nvGrpSpPr>
          <p:grpSpPr>
            <a:xfrm>
              <a:off x="431242" y="6864579"/>
              <a:ext cx="8280398" cy="235792"/>
              <a:chOff x="431801" y="-235792"/>
              <a:chExt cx="4400550" cy="235792"/>
            </a:xfrm>
          </p:grpSpPr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A3BD970C-9E24-EF4F-8A3A-73AB3554235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05D3E976-ACCC-3442-8667-B012B51D2E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0A1A29BA-21FE-BF4F-A419-8BEDC8913E4C}"/>
                </a:ext>
              </a:extLst>
            </p:cNvPr>
            <p:cNvGrpSpPr/>
            <p:nvPr userDrawn="1"/>
          </p:nvGrpSpPr>
          <p:grpSpPr>
            <a:xfrm>
              <a:off x="431240" y="-246933"/>
              <a:ext cx="8280400" cy="235792"/>
              <a:chOff x="431800" y="-240735"/>
              <a:chExt cx="8280400" cy="235792"/>
            </a:xfrm>
          </p:grpSpPr>
          <p:grpSp>
            <p:nvGrpSpPr>
              <p:cNvPr id="81" name="Group 80">
                <a:extLst>
                  <a:ext uri="{FF2B5EF4-FFF2-40B4-BE49-F238E27FC236}">
                    <a16:creationId xmlns:a16="http://schemas.microsoft.com/office/drawing/2014/main" id="{07CF734D-3FF9-4E47-A5C5-1D33DD70F237}"/>
                  </a:ext>
                </a:extLst>
              </p:cNvPr>
              <p:cNvGrpSpPr/>
              <p:nvPr userDrawn="1"/>
            </p:nvGrpSpPr>
            <p:grpSpPr>
              <a:xfrm>
                <a:off x="431800" y="-240735"/>
                <a:ext cx="8280400" cy="235792"/>
                <a:chOff x="431800" y="-235792"/>
                <a:chExt cx="4400551" cy="235792"/>
              </a:xfrm>
            </p:grpSpPr>
            <p:cxnSp>
              <p:nvCxnSpPr>
                <p:cNvPr id="85" name="Straight Connector 84">
                  <a:extLst>
                    <a:ext uri="{FF2B5EF4-FFF2-40B4-BE49-F238E27FC236}">
                      <a16:creationId xmlns:a16="http://schemas.microsoft.com/office/drawing/2014/main" id="{A3D8645B-FB11-AF4F-A236-5EEAA664B356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" name="Straight Connector 85">
                  <a:extLst>
                    <a:ext uri="{FF2B5EF4-FFF2-40B4-BE49-F238E27FC236}">
                      <a16:creationId xmlns:a16="http://schemas.microsoft.com/office/drawing/2014/main" id="{43479ADB-FA23-394E-8391-00230A9B7BB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7" name="Rectangle 86">
                  <a:extLst>
                    <a:ext uri="{FF2B5EF4-FFF2-40B4-BE49-F238E27FC236}">
                      <a16:creationId xmlns:a16="http://schemas.microsoft.com/office/drawing/2014/main" id="{5CE960C4-BA95-7E46-819D-BD872CA8C5ED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</p:grpSp>
          <p:sp>
            <p:nvSpPr>
              <p:cNvPr id="82" name="TextBox 81">
                <a:extLst>
                  <a:ext uri="{FF2B5EF4-FFF2-40B4-BE49-F238E27FC236}">
                    <a16:creationId xmlns:a16="http://schemas.microsoft.com/office/drawing/2014/main" id="{D1DED7A1-A6E1-1B4A-B40C-99489D2EB2D3}"/>
                  </a:ext>
                </a:extLst>
              </p:cNvPr>
              <p:cNvSpPr txBox="1"/>
              <p:nvPr userDrawn="1"/>
            </p:nvSpPr>
            <p:spPr>
              <a:xfrm>
                <a:off x="3883466" y="-176700"/>
                <a:ext cx="1377081" cy="107721"/>
              </a:xfrm>
              <a:prstGeom prst="rect">
                <a:avLst/>
              </a:prstGeom>
            </p:spPr>
            <p:txBody>
              <a:bodyPr vert="horz" wrap="none" lIns="108000" tIns="0" rIns="108000" bIns="0" rtlCol="0" anchor="ctr">
                <a:spAutoFit/>
              </a:bodyPr>
              <a:lstStyle/>
              <a:p>
                <a:pPr algn="ctr"/>
                <a:r>
                  <a:rPr lang="en-US" sz="5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KEEP CONTENT WITHIN THIS AREA</a:t>
                </a:r>
              </a:p>
            </p:txBody>
          </p:sp>
          <p:cxnSp>
            <p:nvCxnSpPr>
              <p:cNvPr id="83" name="Straight Arrow Connector 82">
                <a:extLst>
                  <a:ext uri="{FF2B5EF4-FFF2-40B4-BE49-F238E27FC236}">
                    <a16:creationId xmlns:a16="http://schemas.microsoft.com/office/drawing/2014/main" id="{EA4680D5-EBE2-9445-9E04-4B3E32771EF3}"/>
                  </a:ext>
                </a:extLst>
              </p:cNvPr>
              <p:cNvCxnSpPr>
                <a:cxnSpLocks/>
                <a:stCxn id="82" idx="1"/>
                <a:endCxn id="87" idx="2"/>
              </p:cNvCxnSpPr>
              <p:nvPr userDrawn="1"/>
            </p:nvCxnSpPr>
            <p:spPr>
              <a:xfrm flipH="1">
                <a:off x="431800" y="-122839"/>
                <a:ext cx="3451666" cy="1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Arrow Connector 83">
                <a:extLst>
                  <a:ext uri="{FF2B5EF4-FFF2-40B4-BE49-F238E27FC236}">
                    <a16:creationId xmlns:a16="http://schemas.microsoft.com/office/drawing/2014/main" id="{1C4946BD-BA2D-B243-9830-431EA0108821}"/>
                  </a:ext>
                </a:extLst>
              </p:cNvPr>
              <p:cNvCxnSpPr>
                <a:cxnSpLocks/>
                <a:stCxn id="82" idx="3"/>
                <a:endCxn id="87" idx="0"/>
              </p:cNvCxnSpPr>
              <p:nvPr userDrawn="1"/>
            </p:nvCxnSpPr>
            <p:spPr>
              <a:xfrm>
                <a:off x="5260547" y="-122839"/>
                <a:ext cx="3451653" cy="0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442694794"/>
      </p:ext>
    </p:extLst>
  </p:cSld>
  <p:clrMapOvr>
    <a:overrideClrMapping bg1="lt1" tx1="dk1" bg2="lt2" tx2="dk2" accent1="accent1" accent2="accent2" accent3="accent3" accent4="accent4" accent5="accent5" accent6="accent6" hlink="lt1" folHlink="lt1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(Headshot. Int.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A733D6C8-2947-664C-94C0-9AD79C24D8BC}"/>
              </a:ext>
            </a:extLst>
          </p:cNvPr>
          <p:cNvSpPr/>
          <p:nvPr userDrawn="1"/>
        </p:nvSpPr>
        <p:spPr>
          <a:xfrm flipH="1">
            <a:off x="-1" y="1802107"/>
            <a:ext cx="9144000" cy="24705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1050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0B98A494-7A59-1347-AC1A-9CEFC6F3BA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855972" y="1802107"/>
            <a:ext cx="4288028" cy="2470574"/>
          </a:xfrm>
          <a:custGeom>
            <a:avLst/>
            <a:gdLst>
              <a:gd name="connsiteX0" fmla="*/ 0 w 4288028"/>
              <a:gd name="connsiteY0" fmla="*/ 0 h 3294098"/>
              <a:gd name="connsiteX1" fmla="*/ 4288028 w 4288028"/>
              <a:gd name="connsiteY1" fmla="*/ 0 h 3294098"/>
              <a:gd name="connsiteX2" fmla="*/ 4288028 w 4288028"/>
              <a:gd name="connsiteY2" fmla="*/ 3294098 h 3294098"/>
              <a:gd name="connsiteX3" fmla="*/ 1563214 w 4288028"/>
              <a:gd name="connsiteY3" fmla="*/ 3294098 h 3294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88028" h="3294098">
                <a:moveTo>
                  <a:pt x="0" y="0"/>
                </a:moveTo>
                <a:lnTo>
                  <a:pt x="4288028" y="0"/>
                </a:lnTo>
                <a:lnTo>
                  <a:pt x="4288028" y="3294098"/>
                </a:lnTo>
                <a:lnTo>
                  <a:pt x="1563214" y="3294098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rIns="432000" anchor="ctr">
            <a:noAutofit/>
          </a:bodyPr>
          <a:lstStyle>
            <a:lvl1pPr marL="0" indent="0" algn="r">
              <a:buNone/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hoto or headsho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51CCCAA-D40E-B44E-A126-920CC95387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914300"/>
            <a:ext cx="8280400" cy="68580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hank-you messag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22CA3D9-DBCD-8543-9EF3-77B6B03F51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2035666"/>
            <a:ext cx="4140200" cy="200345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marL="15479" indent="0">
              <a:spcAft>
                <a:spcPts val="225"/>
              </a:spcAft>
              <a:buNone/>
              <a:tabLst/>
              <a:defRPr sz="1050" b="1">
                <a:solidFill>
                  <a:schemeClr val="bg1"/>
                </a:solidFill>
              </a:defRPr>
            </a:lvl1pPr>
            <a:lvl2pPr marL="15479" indent="0">
              <a:spcAft>
                <a:spcPts val="150"/>
              </a:spcAft>
              <a:buNone/>
              <a:tabLst/>
              <a:defRPr sz="1050">
                <a:solidFill>
                  <a:schemeClr val="bg1"/>
                </a:solidFill>
              </a:defRPr>
            </a:lvl2pPr>
            <a:lvl3pPr marL="15479" indent="0">
              <a:spcAft>
                <a:spcPts val="150"/>
              </a:spcAft>
              <a:buFont typeface="Wingdings" pitchFamily="2" charset="2"/>
              <a:buNone/>
              <a:tabLst/>
              <a:defRPr sz="1050">
                <a:solidFill>
                  <a:schemeClr val="bg1"/>
                </a:solidFill>
              </a:defRPr>
            </a:lvl3pPr>
            <a:lvl4pPr marL="15479" indent="0">
              <a:spcAft>
                <a:spcPts val="150"/>
              </a:spcAft>
              <a:buFont typeface="System Font Regular"/>
              <a:buNone/>
              <a:tabLst/>
              <a:defRPr sz="1050">
                <a:solidFill>
                  <a:schemeClr val="bg1"/>
                </a:solidFill>
              </a:defRPr>
            </a:lvl4pPr>
            <a:lvl5pPr marL="15479" indent="0">
              <a:spcAft>
                <a:spcPts val="150"/>
              </a:spcAft>
              <a:buNone/>
              <a:tabLst/>
              <a:defRPr sz="1050">
                <a:solidFill>
                  <a:schemeClr val="bg1"/>
                </a:solidFill>
              </a:defRPr>
            </a:lvl5pPr>
            <a:lvl6pPr marL="15479" indent="0">
              <a:buNone/>
              <a:tabLst/>
              <a:defRPr>
                <a:solidFill>
                  <a:schemeClr val="bg1"/>
                </a:solidFill>
              </a:defRPr>
            </a:lvl6pPr>
            <a:lvl7pPr marL="15479" indent="0">
              <a:buNone/>
              <a:tabLst/>
              <a:defRPr>
                <a:solidFill>
                  <a:schemeClr val="bg1"/>
                </a:solidFill>
              </a:defRPr>
            </a:lvl7pPr>
            <a:lvl8pPr marL="15479" indent="0">
              <a:buNone/>
              <a:tabLst/>
              <a:defRPr>
                <a:solidFill>
                  <a:schemeClr val="bg1"/>
                </a:solidFill>
              </a:defRPr>
            </a:lvl8pPr>
            <a:lvl9pPr marL="15479" indent="0">
              <a:buNone/>
              <a:tabLst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contact information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3BFD17EA-819F-DD45-8311-F838F6249E1A}"/>
              </a:ext>
            </a:extLst>
          </p:cNvPr>
          <p:cNvSpPr/>
          <p:nvPr userDrawn="1"/>
        </p:nvSpPr>
        <p:spPr>
          <a:xfrm flipH="1">
            <a:off x="0" y="4522171"/>
            <a:ext cx="6781322" cy="320579"/>
          </a:xfrm>
          <a:custGeom>
            <a:avLst/>
            <a:gdLst>
              <a:gd name="connsiteX0" fmla="*/ 6781322 w 6781322"/>
              <a:gd name="connsiteY0" fmla="*/ 0 h 427439"/>
              <a:gd name="connsiteX1" fmla="*/ 6376846 w 6781322"/>
              <a:gd name="connsiteY1" fmla="*/ 0 h 427439"/>
              <a:gd name="connsiteX2" fmla="*/ 607317 w 6781322"/>
              <a:gd name="connsiteY2" fmla="*/ 0 h 427439"/>
              <a:gd name="connsiteX3" fmla="*/ 202841 w 6781322"/>
              <a:gd name="connsiteY3" fmla="*/ 0 h 427439"/>
              <a:gd name="connsiteX4" fmla="*/ 0 w 6781322"/>
              <a:gd name="connsiteY4" fmla="*/ 427439 h 427439"/>
              <a:gd name="connsiteX5" fmla="*/ 404476 w 6781322"/>
              <a:gd name="connsiteY5" fmla="*/ 427439 h 427439"/>
              <a:gd name="connsiteX6" fmla="*/ 6376846 w 6781322"/>
              <a:gd name="connsiteY6" fmla="*/ 427439 h 427439"/>
              <a:gd name="connsiteX7" fmla="*/ 6781322 w 6781322"/>
              <a:gd name="connsiteY7" fmla="*/ 427439 h 427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81322" h="427439">
                <a:moveTo>
                  <a:pt x="6781322" y="0"/>
                </a:moveTo>
                <a:lnTo>
                  <a:pt x="6376846" y="0"/>
                </a:lnTo>
                <a:lnTo>
                  <a:pt x="607317" y="0"/>
                </a:lnTo>
                <a:lnTo>
                  <a:pt x="202841" y="0"/>
                </a:lnTo>
                <a:lnTo>
                  <a:pt x="0" y="427439"/>
                </a:lnTo>
                <a:lnTo>
                  <a:pt x="404476" y="427439"/>
                </a:lnTo>
                <a:lnTo>
                  <a:pt x="6376846" y="427439"/>
                </a:lnTo>
                <a:lnTo>
                  <a:pt x="6781322" y="42743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1050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DB32357E-8001-BB4B-B6BD-AEA8426DDEF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6724099" y="4474686"/>
            <a:ext cx="2151407" cy="416402"/>
          </a:xfrm>
          <a:prstGeom prst="rect">
            <a:avLst/>
          </a:prstGeom>
        </p:spPr>
      </p:pic>
      <p:grpSp>
        <p:nvGrpSpPr>
          <p:cNvPr id="38" name="Group 37">
            <a:extLst>
              <a:ext uri="{FF2B5EF4-FFF2-40B4-BE49-F238E27FC236}">
                <a16:creationId xmlns:a16="http://schemas.microsoft.com/office/drawing/2014/main" id="{4B76D37E-5ECE-5649-83FB-005816FB86D9}"/>
              </a:ext>
            </a:extLst>
          </p:cNvPr>
          <p:cNvGrpSpPr/>
          <p:nvPr userDrawn="1"/>
        </p:nvGrpSpPr>
        <p:grpSpPr>
          <a:xfrm>
            <a:off x="-256964" y="946363"/>
            <a:ext cx="251461" cy="590721"/>
            <a:chOff x="-256404" y="360363"/>
            <a:chExt cx="251461" cy="692152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D4BFAEFD-2E24-574A-9016-E522BCB9693E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501084F3-6071-5F42-A83E-53097D95E01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6766F9AD-50E4-E34E-871C-16B6E7ACA4B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AE413019-A316-E248-A2E2-D7E00CC76392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</p:grp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81EC56EE-E78A-C64C-B03F-9E33CFCFF6FF}"/>
                </a:ext>
              </a:extLst>
            </p:cNvPr>
            <p:cNvSpPr txBox="1"/>
            <p:nvPr userDrawn="1"/>
          </p:nvSpPr>
          <p:spPr>
            <a:xfrm rot="16200000">
              <a:off x="-360755" y="622269"/>
              <a:ext cx="460172" cy="161583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HANK YOU</a:t>
              </a:r>
              <a:b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MESSAGE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3C062D5B-B78D-A74B-A752-F2940C2B159C}"/>
              </a:ext>
            </a:extLst>
          </p:cNvPr>
          <p:cNvGrpSpPr/>
          <p:nvPr userDrawn="1"/>
        </p:nvGrpSpPr>
        <p:grpSpPr>
          <a:xfrm>
            <a:off x="-256964" y="2525493"/>
            <a:ext cx="251461" cy="1023800"/>
            <a:chOff x="-256404" y="360363"/>
            <a:chExt cx="251461" cy="692152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BC39A059-6049-B647-8FF9-32A912D1AF52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D0603B59-8C79-A942-9F70-EF5E623351C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DC9B266A-8246-7046-985E-1A6B65FD28A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9" name="Rectangle 48">
                <a:extLst>
                  <a:ext uri="{FF2B5EF4-FFF2-40B4-BE49-F238E27FC236}">
                    <a16:creationId xmlns:a16="http://schemas.microsoft.com/office/drawing/2014/main" id="{70BB019F-7AF8-454E-96F4-D6A61F4F7394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</p:grp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0101D5C1-C72F-4340-96C3-42253FAF2B21}"/>
                </a:ext>
              </a:extLst>
            </p:cNvPr>
            <p:cNvSpPr txBox="1"/>
            <p:nvPr userDrawn="1"/>
          </p:nvSpPr>
          <p:spPr>
            <a:xfrm rot="16200000">
              <a:off x="-301896" y="662666"/>
              <a:ext cx="342458" cy="80791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CONTACT INFO</a:t>
              </a:r>
            </a:p>
          </p:txBody>
        </p:sp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10B09069-46D3-FE46-8D6A-F47A3CA7EF25}"/>
              </a:ext>
            </a:extLst>
          </p:cNvPr>
          <p:cNvGrpSpPr/>
          <p:nvPr userDrawn="1"/>
        </p:nvGrpSpPr>
        <p:grpSpPr>
          <a:xfrm>
            <a:off x="431241" y="-185200"/>
            <a:ext cx="8280400" cy="5510478"/>
            <a:chOff x="431240" y="-246933"/>
            <a:chExt cx="8280400" cy="7347304"/>
          </a:xfrm>
        </p:grpSpPr>
        <p:grpSp>
          <p:nvGrpSpPr>
            <p:cNvPr id="123" name="Group 122">
              <a:extLst>
                <a:ext uri="{FF2B5EF4-FFF2-40B4-BE49-F238E27FC236}">
                  <a16:creationId xmlns:a16="http://schemas.microsoft.com/office/drawing/2014/main" id="{060DC74F-3798-0F41-A21A-C9A161BF1870}"/>
                </a:ext>
              </a:extLst>
            </p:cNvPr>
            <p:cNvGrpSpPr/>
            <p:nvPr userDrawn="1"/>
          </p:nvGrpSpPr>
          <p:grpSpPr>
            <a:xfrm>
              <a:off x="431242" y="6864579"/>
              <a:ext cx="8280398" cy="235792"/>
              <a:chOff x="431801" y="-235792"/>
              <a:chExt cx="4400550" cy="235792"/>
            </a:xfrm>
          </p:grpSpPr>
          <p:cxnSp>
            <p:nvCxnSpPr>
              <p:cNvPr id="132" name="Straight Connector 131">
                <a:extLst>
                  <a:ext uri="{FF2B5EF4-FFF2-40B4-BE49-F238E27FC236}">
                    <a16:creationId xmlns:a16="http://schemas.microsoft.com/office/drawing/2014/main" id="{CD608C57-7514-154B-836A-4010788A31A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>
                <a:extLst>
                  <a:ext uri="{FF2B5EF4-FFF2-40B4-BE49-F238E27FC236}">
                    <a16:creationId xmlns:a16="http://schemas.microsoft.com/office/drawing/2014/main" id="{ADB68B65-F11B-344C-ACD4-BCE9587B6D2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4" name="Group 123">
              <a:extLst>
                <a:ext uri="{FF2B5EF4-FFF2-40B4-BE49-F238E27FC236}">
                  <a16:creationId xmlns:a16="http://schemas.microsoft.com/office/drawing/2014/main" id="{54682FFD-D655-B046-976E-07664624D4EA}"/>
                </a:ext>
              </a:extLst>
            </p:cNvPr>
            <p:cNvGrpSpPr/>
            <p:nvPr userDrawn="1"/>
          </p:nvGrpSpPr>
          <p:grpSpPr>
            <a:xfrm>
              <a:off x="431240" y="-246933"/>
              <a:ext cx="8280400" cy="235792"/>
              <a:chOff x="431800" y="-240735"/>
              <a:chExt cx="8280400" cy="235792"/>
            </a:xfrm>
          </p:grpSpPr>
          <p:grpSp>
            <p:nvGrpSpPr>
              <p:cNvPr id="125" name="Group 124">
                <a:extLst>
                  <a:ext uri="{FF2B5EF4-FFF2-40B4-BE49-F238E27FC236}">
                    <a16:creationId xmlns:a16="http://schemas.microsoft.com/office/drawing/2014/main" id="{F1D720E4-E69C-4D43-8106-8E51E975FE1F}"/>
                  </a:ext>
                </a:extLst>
              </p:cNvPr>
              <p:cNvGrpSpPr/>
              <p:nvPr userDrawn="1"/>
            </p:nvGrpSpPr>
            <p:grpSpPr>
              <a:xfrm>
                <a:off x="431800" y="-240735"/>
                <a:ext cx="8280400" cy="235792"/>
                <a:chOff x="431800" y="-235792"/>
                <a:chExt cx="4400551" cy="235792"/>
              </a:xfrm>
            </p:grpSpPr>
            <p:cxnSp>
              <p:nvCxnSpPr>
                <p:cNvPr id="129" name="Straight Connector 128">
                  <a:extLst>
                    <a:ext uri="{FF2B5EF4-FFF2-40B4-BE49-F238E27FC236}">
                      <a16:creationId xmlns:a16="http://schemas.microsoft.com/office/drawing/2014/main" id="{C9C8E860-C048-794C-BB48-55334FB486B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0" name="Straight Connector 129">
                  <a:extLst>
                    <a:ext uri="{FF2B5EF4-FFF2-40B4-BE49-F238E27FC236}">
                      <a16:creationId xmlns:a16="http://schemas.microsoft.com/office/drawing/2014/main" id="{3ECCBB4D-A419-1C4F-A538-20EABEC4480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1" name="Rectangle 130">
                  <a:extLst>
                    <a:ext uri="{FF2B5EF4-FFF2-40B4-BE49-F238E27FC236}">
                      <a16:creationId xmlns:a16="http://schemas.microsoft.com/office/drawing/2014/main" id="{A64A141F-7CF9-0543-947A-2E28885429A9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</p:grp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42762588-74B6-AA48-AAEF-8478DA61532A}"/>
                  </a:ext>
                </a:extLst>
              </p:cNvPr>
              <p:cNvSpPr txBox="1"/>
              <p:nvPr userDrawn="1"/>
            </p:nvSpPr>
            <p:spPr>
              <a:xfrm>
                <a:off x="3883466" y="-176700"/>
                <a:ext cx="1377081" cy="107721"/>
              </a:xfrm>
              <a:prstGeom prst="rect">
                <a:avLst/>
              </a:prstGeom>
            </p:spPr>
            <p:txBody>
              <a:bodyPr vert="horz" wrap="none" lIns="108000" tIns="0" rIns="108000" bIns="0" rtlCol="0" anchor="ctr">
                <a:spAutoFit/>
              </a:bodyPr>
              <a:lstStyle/>
              <a:p>
                <a:pPr algn="ctr"/>
                <a:r>
                  <a:rPr lang="en-US" sz="5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KEEP CONTENT WITHIN THIS AREA</a:t>
                </a:r>
              </a:p>
            </p:txBody>
          </p:sp>
          <p:cxnSp>
            <p:nvCxnSpPr>
              <p:cNvPr id="127" name="Straight Arrow Connector 126">
                <a:extLst>
                  <a:ext uri="{FF2B5EF4-FFF2-40B4-BE49-F238E27FC236}">
                    <a16:creationId xmlns:a16="http://schemas.microsoft.com/office/drawing/2014/main" id="{EA604FD8-087C-894E-AA97-B1F828E874DA}"/>
                  </a:ext>
                </a:extLst>
              </p:cNvPr>
              <p:cNvCxnSpPr>
                <a:cxnSpLocks/>
                <a:stCxn id="126" idx="1"/>
                <a:endCxn id="131" idx="2"/>
              </p:cNvCxnSpPr>
              <p:nvPr userDrawn="1"/>
            </p:nvCxnSpPr>
            <p:spPr>
              <a:xfrm flipH="1">
                <a:off x="431800" y="-122839"/>
                <a:ext cx="3451666" cy="1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Arrow Connector 127">
                <a:extLst>
                  <a:ext uri="{FF2B5EF4-FFF2-40B4-BE49-F238E27FC236}">
                    <a16:creationId xmlns:a16="http://schemas.microsoft.com/office/drawing/2014/main" id="{0840AE4A-3225-144E-8C2B-CC8459C4871A}"/>
                  </a:ext>
                </a:extLst>
              </p:cNvPr>
              <p:cNvCxnSpPr>
                <a:cxnSpLocks/>
                <a:stCxn id="126" idx="3"/>
                <a:endCxn id="131" idx="0"/>
              </p:cNvCxnSpPr>
              <p:nvPr userDrawn="1"/>
            </p:nvCxnSpPr>
            <p:spPr>
              <a:xfrm>
                <a:off x="5260547" y="-122839"/>
                <a:ext cx="3451653" cy="0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34" name="Group 133">
            <a:extLst>
              <a:ext uri="{FF2B5EF4-FFF2-40B4-BE49-F238E27FC236}">
                <a16:creationId xmlns:a16="http://schemas.microsoft.com/office/drawing/2014/main" id="{8952B065-0183-8440-93EE-C2E8983124E2}"/>
              </a:ext>
            </a:extLst>
          </p:cNvPr>
          <p:cNvGrpSpPr/>
          <p:nvPr userDrawn="1"/>
        </p:nvGrpSpPr>
        <p:grpSpPr>
          <a:xfrm>
            <a:off x="9399183" y="-1"/>
            <a:ext cx="2961715" cy="7416175"/>
            <a:chOff x="9399182" y="-1"/>
            <a:chExt cx="2961715" cy="9888233"/>
          </a:xfrm>
        </p:grpSpPr>
        <p:sp>
          <p:nvSpPr>
            <p:cNvPr id="135" name="Rectangle 134">
              <a:extLst>
                <a:ext uri="{FF2B5EF4-FFF2-40B4-BE49-F238E27FC236}">
                  <a16:creationId xmlns:a16="http://schemas.microsoft.com/office/drawing/2014/main" id="{8A328D57-A69E-254D-A262-CC2989A8C417}"/>
                </a:ext>
              </a:extLst>
            </p:cNvPr>
            <p:cNvSpPr/>
            <p:nvPr userDrawn="1"/>
          </p:nvSpPr>
          <p:spPr>
            <a:xfrm>
              <a:off x="9399182" y="-1"/>
              <a:ext cx="2798651" cy="974868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050"/>
            </a:p>
          </p:txBody>
        </p:sp>
        <p:pic>
          <p:nvPicPr>
            <p:cNvPr id="136" name="Picture 135">
              <a:extLst>
                <a:ext uri="{FF2B5EF4-FFF2-40B4-BE49-F238E27FC236}">
                  <a16:creationId xmlns:a16="http://schemas.microsoft.com/office/drawing/2014/main" id="{2F15995A-2BAF-7E43-8B52-B02F97201E0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r="44021" b="6017"/>
            <a:stretch/>
          </p:blipFill>
          <p:spPr>
            <a:xfrm>
              <a:off x="9558506" y="1323797"/>
              <a:ext cx="2632538" cy="532435"/>
            </a:xfrm>
            <a:prstGeom prst="rect">
              <a:avLst/>
            </a:prstGeom>
          </p:spPr>
        </p:pic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5D176143-8C1A-B24B-8CB3-AFB08B25554B}"/>
                </a:ext>
              </a:extLst>
            </p:cNvPr>
            <p:cNvSpPr txBox="1"/>
            <p:nvPr userDrawn="1"/>
          </p:nvSpPr>
          <p:spPr>
            <a:xfrm>
              <a:off x="9558507" y="3874407"/>
              <a:ext cx="1231106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sz="825">
                  <a:solidFill>
                    <a:schemeClr val="bg1"/>
                  </a:solidFill>
                </a:rPr>
                <a:t>HOW TO ADD AN IMAGE</a:t>
              </a:r>
            </a:p>
          </p:txBody>
        </p: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61E87ACF-E072-1942-8902-BC3DECAE4A1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4077024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4230E43A-DEF1-584B-AD63-0D994D37359D}"/>
                </a:ext>
              </a:extLst>
            </p:cNvPr>
            <p:cNvSpPr txBox="1"/>
            <p:nvPr userDrawn="1"/>
          </p:nvSpPr>
          <p:spPr>
            <a:xfrm>
              <a:off x="9686426" y="4935334"/>
              <a:ext cx="2297338" cy="28913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900"/>
                </a:spcBef>
                <a:spcAft>
                  <a:spcPts val="300"/>
                </a:spcAft>
                <a:defRPr sz="800" b="1" cap="all" spc="2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0" lvl="1" indent="0">
                <a:lnSpc>
                  <a:spcPct val="90000"/>
                </a:lnSpc>
                <a:spcAft>
                  <a:spcPts val="300"/>
                </a:spcAft>
                <a:tabLst/>
                <a:defRPr sz="12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marL="0" lvl="0" indent="0">
                <a:buFont typeface="Arial" panose="020B0604020202020204" pitchFamily="34" charset="0"/>
                <a:buNone/>
              </a:pPr>
              <a:r>
                <a:rPr lang="en-US" sz="450" b="1"/>
                <a:t>Method 1:</a:t>
              </a:r>
              <a:r>
                <a:rPr lang="en-US" sz="450" b="0"/>
                <a:t>from file browser</a:t>
              </a:r>
            </a:p>
            <a:p>
              <a:pPr lvl="1">
                <a:buNone/>
              </a:pPr>
              <a:r>
                <a:rPr lang="en-US" sz="788"/>
                <a:t>Drag the image onto the slide.</a:t>
              </a:r>
            </a:p>
          </p:txBody>
        </p:sp>
        <p:grpSp>
          <p:nvGrpSpPr>
            <p:cNvPr id="140" name="Group 139">
              <a:extLst>
                <a:ext uri="{FF2B5EF4-FFF2-40B4-BE49-F238E27FC236}">
                  <a16:creationId xmlns:a16="http://schemas.microsoft.com/office/drawing/2014/main" id="{78101614-52BC-7B46-84D7-2461ED2FA0EA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173" name="Rectangle 172">
                <a:extLst>
                  <a:ext uri="{FF2B5EF4-FFF2-40B4-BE49-F238E27FC236}">
                    <a16:creationId xmlns:a16="http://schemas.microsoft.com/office/drawing/2014/main" id="{40254D00-389E-3940-B811-35C2C8922696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174" name="TextBox 173">
                <a:extLst>
                  <a:ext uri="{FF2B5EF4-FFF2-40B4-BE49-F238E27FC236}">
                    <a16:creationId xmlns:a16="http://schemas.microsoft.com/office/drawing/2014/main" id="{0B1CE189-800B-DB49-86F8-D1D7860D619D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175" name="Picture 174">
                <a:extLst>
                  <a:ext uri="{FF2B5EF4-FFF2-40B4-BE49-F238E27FC236}">
                    <a16:creationId xmlns:a16="http://schemas.microsoft.com/office/drawing/2014/main" id="{8FB38671-F42B-984F-89E2-28269106487A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141" name="Group 140">
              <a:extLst>
                <a:ext uri="{FF2B5EF4-FFF2-40B4-BE49-F238E27FC236}">
                  <a16:creationId xmlns:a16="http://schemas.microsoft.com/office/drawing/2014/main" id="{A5DCE01F-D854-EE4B-8C74-2A5FD60EB92D}"/>
                </a:ext>
              </a:extLst>
            </p:cNvPr>
            <p:cNvGrpSpPr/>
            <p:nvPr userDrawn="1"/>
          </p:nvGrpSpPr>
          <p:grpSpPr>
            <a:xfrm>
              <a:off x="9541497" y="8476917"/>
              <a:ext cx="2735151" cy="1411315"/>
              <a:chOff x="9296567" y="4910411"/>
              <a:chExt cx="2735151" cy="1411315"/>
            </a:xfrm>
          </p:grpSpPr>
          <p:sp>
            <p:nvSpPr>
              <p:cNvPr id="167" name="Rectangle 166">
                <a:extLst>
                  <a:ext uri="{FF2B5EF4-FFF2-40B4-BE49-F238E27FC236}">
                    <a16:creationId xmlns:a16="http://schemas.microsoft.com/office/drawing/2014/main" id="{0200651A-A5C2-6745-93C3-D1EC973B8F32}"/>
                  </a:ext>
                </a:extLst>
              </p:cNvPr>
              <p:cNvSpPr/>
              <p:nvPr userDrawn="1"/>
            </p:nvSpPr>
            <p:spPr>
              <a:xfrm>
                <a:off x="9296567" y="4910411"/>
                <a:ext cx="2735151" cy="1411315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168" name="TextBox 167">
                <a:extLst>
                  <a:ext uri="{FF2B5EF4-FFF2-40B4-BE49-F238E27FC236}">
                    <a16:creationId xmlns:a16="http://schemas.microsoft.com/office/drawing/2014/main" id="{ACA5E4FE-97BE-0A4E-9196-292CE279FF5B}"/>
                  </a:ext>
                </a:extLst>
              </p:cNvPr>
              <p:cNvSpPr txBox="1"/>
              <p:nvPr userDrawn="1"/>
            </p:nvSpPr>
            <p:spPr>
              <a:xfrm>
                <a:off x="9662758" y="5039211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Change Image</a:t>
                </a:r>
              </a:p>
            </p:txBody>
          </p:sp>
          <p:pic>
            <p:nvPicPr>
              <p:cNvPr id="169" name="Graphic 168">
                <a:extLst>
                  <a:ext uri="{FF2B5EF4-FFF2-40B4-BE49-F238E27FC236}">
                    <a16:creationId xmlns:a16="http://schemas.microsoft.com/office/drawing/2014/main" id="{C47FEBB8-EA11-4B44-B21D-5846F0D5BEE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9456790" y="5049494"/>
                <a:ext cx="155227" cy="155227"/>
              </a:xfrm>
              <a:prstGeom prst="rect">
                <a:avLst/>
              </a:prstGeom>
            </p:spPr>
          </p:pic>
          <p:sp>
            <p:nvSpPr>
              <p:cNvPr id="170" name="TextBox 169">
                <a:extLst>
                  <a:ext uri="{FF2B5EF4-FFF2-40B4-BE49-F238E27FC236}">
                    <a16:creationId xmlns:a16="http://schemas.microsoft.com/office/drawing/2014/main" id="{39933606-2D86-DC4B-8924-AFCFBFEFAC5E}"/>
                  </a:ext>
                </a:extLst>
              </p:cNvPr>
              <p:cNvSpPr txBox="1"/>
              <p:nvPr userDrawn="1"/>
            </p:nvSpPr>
            <p:spPr>
              <a:xfrm>
                <a:off x="9471805" y="5619194"/>
                <a:ext cx="2422981" cy="373948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101204" lvl="1" indent="-98822" algn="l" defTabSz="685800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225"/>
                  </a:spcAft>
                  <a:buFont typeface="Wingdings" pitchFamily="2" charset="2"/>
                  <a:buChar char="§"/>
                  <a:tabLst/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Deleting the image may bring the image placeholder to the top layer. Right-click on the placeholder and choose “Send to Back”.</a:t>
                </a:r>
              </a:p>
            </p:txBody>
          </p:sp>
          <p:sp>
            <p:nvSpPr>
              <p:cNvPr id="171" name="TextBox 170">
                <a:extLst>
                  <a:ext uri="{FF2B5EF4-FFF2-40B4-BE49-F238E27FC236}">
                    <a16:creationId xmlns:a16="http://schemas.microsoft.com/office/drawing/2014/main" id="{999BA398-8DC3-504A-BF43-C299337A8C50}"/>
                  </a:ext>
                </a:extLst>
              </p:cNvPr>
              <p:cNvSpPr txBox="1"/>
              <p:nvPr userDrawn="1"/>
            </p:nvSpPr>
            <p:spPr>
              <a:xfrm>
                <a:off x="9471805" y="5300350"/>
                <a:ext cx="2422981" cy="2769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685800" rtl="0" eaLnBrk="1" latinLnBrk="0" hangingPunct="1">
                  <a:spcBef>
                    <a:spcPts val="150"/>
                  </a:spcBef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First, delete the existing image to reset the photo placeholder functionality.</a:t>
                </a:r>
              </a:p>
            </p:txBody>
          </p:sp>
          <p:sp>
            <p:nvSpPr>
              <p:cNvPr id="172" name="TextBox 171">
                <a:extLst>
                  <a:ext uri="{FF2B5EF4-FFF2-40B4-BE49-F238E27FC236}">
                    <a16:creationId xmlns:a16="http://schemas.microsoft.com/office/drawing/2014/main" id="{9BCEF715-ED9F-CF4A-B26F-0228E531C7ED}"/>
                  </a:ext>
                </a:extLst>
              </p:cNvPr>
              <p:cNvSpPr txBox="1"/>
              <p:nvPr userDrawn="1"/>
            </p:nvSpPr>
            <p:spPr>
              <a:xfrm>
                <a:off x="9471805" y="6068871"/>
                <a:ext cx="2422981" cy="13850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685800" rtl="0" eaLnBrk="1" latinLnBrk="0" hangingPunct="1">
                  <a:spcBef>
                    <a:spcPts val="150"/>
                  </a:spcBef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You can now add a new image as normal.</a:t>
                </a:r>
              </a:p>
            </p:txBody>
          </p:sp>
        </p:grpSp>
        <p:grpSp>
          <p:nvGrpSpPr>
            <p:cNvPr id="142" name="Group 141">
              <a:extLst>
                <a:ext uri="{FF2B5EF4-FFF2-40B4-BE49-F238E27FC236}">
                  <a16:creationId xmlns:a16="http://schemas.microsoft.com/office/drawing/2014/main" id="{A920F2A2-D16F-7B49-8249-3CB38630702B}"/>
                </a:ext>
              </a:extLst>
            </p:cNvPr>
            <p:cNvGrpSpPr/>
            <p:nvPr userDrawn="1"/>
          </p:nvGrpSpPr>
          <p:grpSpPr>
            <a:xfrm>
              <a:off x="9541497" y="7120261"/>
              <a:ext cx="2735151" cy="1280928"/>
              <a:chOff x="9286315" y="6976989"/>
              <a:chExt cx="2735151" cy="1280928"/>
            </a:xfrm>
          </p:grpSpPr>
          <p:sp>
            <p:nvSpPr>
              <p:cNvPr id="162" name="Rectangle 161">
                <a:extLst>
                  <a:ext uri="{FF2B5EF4-FFF2-40B4-BE49-F238E27FC236}">
                    <a16:creationId xmlns:a16="http://schemas.microsoft.com/office/drawing/2014/main" id="{B6D0A85B-3890-1F45-9BFC-811B5745177B}"/>
                  </a:ext>
                </a:extLst>
              </p:cNvPr>
              <p:cNvSpPr/>
              <p:nvPr userDrawn="1"/>
            </p:nvSpPr>
            <p:spPr>
              <a:xfrm>
                <a:off x="9286315" y="6976989"/>
                <a:ext cx="2735151" cy="1280928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163" name="TextBox 162">
                <a:extLst>
                  <a:ext uri="{FF2B5EF4-FFF2-40B4-BE49-F238E27FC236}">
                    <a16:creationId xmlns:a16="http://schemas.microsoft.com/office/drawing/2014/main" id="{EEA5EE72-4CD7-1A46-9DF6-568DC138E4B1}"/>
                  </a:ext>
                </a:extLst>
              </p:cNvPr>
              <p:cNvSpPr txBox="1"/>
              <p:nvPr userDrawn="1"/>
            </p:nvSpPr>
            <p:spPr>
              <a:xfrm>
                <a:off x="9652506" y="7105788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Crop Image</a:t>
                </a:r>
              </a:p>
            </p:txBody>
          </p:sp>
          <p:pic>
            <p:nvPicPr>
              <p:cNvPr id="164" name="Graphic 163">
                <a:extLst>
                  <a:ext uri="{FF2B5EF4-FFF2-40B4-BE49-F238E27FC236}">
                    <a16:creationId xmlns:a16="http://schemas.microsoft.com/office/drawing/2014/main" id="{3CFCDF9C-C88C-3341-AB2C-415DF5C33EA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9446538" y="7116071"/>
                <a:ext cx="155227" cy="155227"/>
              </a:xfrm>
              <a:prstGeom prst="rect">
                <a:avLst/>
              </a:prstGeom>
            </p:spPr>
          </p:pic>
          <p:sp>
            <p:nvSpPr>
              <p:cNvPr id="165" name="TextBox 164">
                <a:extLst>
                  <a:ext uri="{FF2B5EF4-FFF2-40B4-BE49-F238E27FC236}">
                    <a16:creationId xmlns:a16="http://schemas.microsoft.com/office/drawing/2014/main" id="{2481AABB-FA68-0E42-83A5-60002F0CF46C}"/>
                  </a:ext>
                </a:extLst>
              </p:cNvPr>
              <p:cNvSpPr txBox="1"/>
              <p:nvPr userDrawn="1"/>
            </p:nvSpPr>
            <p:spPr>
              <a:xfrm>
                <a:off x="9446538" y="7369972"/>
                <a:ext cx="2384904" cy="777136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Right-click on the image.</a:t>
                </a:r>
              </a:p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Choose “Crop” from the menu. (       )</a:t>
                </a:r>
              </a:p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Adjust the size and position of the image.</a:t>
                </a:r>
              </a:p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Press Esc or click outside the image area to exit the cropping mode.</a:t>
                </a:r>
              </a:p>
            </p:txBody>
          </p:sp>
          <p:pic>
            <p:nvPicPr>
              <p:cNvPr id="166" name="Picture 165">
                <a:extLst>
                  <a:ext uri="{FF2B5EF4-FFF2-40B4-BE49-F238E27FC236}">
                    <a16:creationId xmlns:a16="http://schemas.microsoft.com/office/drawing/2014/main" id="{2FC9AE94-F10E-2F49-B483-7ED173824832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6"/>
              <a:srcRect l="33684" t="12097" r="43371" b="20368"/>
              <a:stretch/>
            </p:blipFill>
            <p:spPr>
              <a:xfrm>
                <a:off x="11243541" y="7454405"/>
                <a:ext cx="136897" cy="213643"/>
              </a:xfrm>
              <a:prstGeom prst="rect">
                <a:avLst/>
              </a:prstGeom>
              <a:ln w="19050"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</p:pic>
        </p:grpSp>
        <p:grpSp>
          <p:nvGrpSpPr>
            <p:cNvPr id="143" name="Group 142">
              <a:extLst>
                <a:ext uri="{FF2B5EF4-FFF2-40B4-BE49-F238E27FC236}">
                  <a16:creationId xmlns:a16="http://schemas.microsoft.com/office/drawing/2014/main" id="{B5831C8C-0608-3A40-A402-088C1320D2DA}"/>
                </a:ext>
              </a:extLst>
            </p:cNvPr>
            <p:cNvGrpSpPr/>
            <p:nvPr userDrawn="1"/>
          </p:nvGrpSpPr>
          <p:grpSpPr>
            <a:xfrm>
              <a:off x="9521833" y="4199527"/>
              <a:ext cx="2617883" cy="707288"/>
              <a:chOff x="12352022" y="513115"/>
              <a:chExt cx="2617883" cy="707288"/>
            </a:xfrm>
          </p:grpSpPr>
          <p:sp>
            <p:nvSpPr>
              <p:cNvPr id="159" name="TextBox 158">
                <a:extLst>
                  <a:ext uri="{FF2B5EF4-FFF2-40B4-BE49-F238E27FC236}">
                    <a16:creationId xmlns:a16="http://schemas.microsoft.com/office/drawing/2014/main" id="{10910114-E8E6-A34A-93A2-5ED44636D618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12352022" y="538142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375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1</a:t>
                </a:r>
              </a:p>
            </p:txBody>
          </p:sp>
          <p:sp>
            <p:nvSpPr>
              <p:cNvPr id="160" name="TextBox 159">
                <a:extLst>
                  <a:ext uri="{FF2B5EF4-FFF2-40B4-BE49-F238E27FC236}">
                    <a16:creationId xmlns:a16="http://schemas.microsoft.com/office/drawing/2014/main" id="{67552FF1-C078-4C4F-AAB9-817604F41E2B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12352022" y="1033696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375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2</a:t>
                </a:r>
              </a:p>
            </p:txBody>
          </p:sp>
          <p:sp>
            <p:nvSpPr>
              <p:cNvPr id="161" name="TextBox 160">
                <a:extLst>
                  <a:ext uri="{FF2B5EF4-FFF2-40B4-BE49-F238E27FC236}">
                    <a16:creationId xmlns:a16="http://schemas.microsoft.com/office/drawing/2014/main" id="{CCD37AEA-AC1D-A84E-9AF6-8A7E3C011D99}"/>
                  </a:ext>
                </a:extLst>
              </p:cNvPr>
              <p:cNvSpPr txBox="1"/>
              <p:nvPr userDrawn="1"/>
            </p:nvSpPr>
            <p:spPr>
              <a:xfrm>
                <a:off x="12516615" y="513115"/>
                <a:ext cx="2453290" cy="707288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0"/>
                <a:r>
                  <a:rPr lang="en-US" sz="788"/>
                  <a:t>Select and download images from the Marketing Resource Database.</a:t>
                </a:r>
              </a:p>
              <a:p>
                <a:pPr lvl="0"/>
                <a:r>
                  <a:rPr lang="en-US" sz="788"/>
                  <a:t>Add the image to the placeholder.</a:t>
                </a:r>
              </a:p>
            </p:txBody>
          </p:sp>
        </p:grpSp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34A26DA3-DB64-CC4A-925C-B75604BC4686}"/>
                </a:ext>
              </a:extLst>
            </p:cNvPr>
            <p:cNvSpPr txBox="1"/>
            <p:nvPr userDrawn="1"/>
          </p:nvSpPr>
          <p:spPr>
            <a:xfrm>
              <a:off x="9674267" y="5218639"/>
              <a:ext cx="2374733" cy="32316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525"/>
                <a:t>Note: If there are multiple image placeholders on the slide, select the intended placeholder before dragging in the image to let PowerPoint know where you want it.</a:t>
              </a:r>
            </a:p>
          </p:txBody>
        </p:sp>
        <p:sp>
          <p:nvSpPr>
            <p:cNvPr id="145" name="TextBox 144">
              <a:extLst>
                <a:ext uri="{FF2B5EF4-FFF2-40B4-BE49-F238E27FC236}">
                  <a16:creationId xmlns:a16="http://schemas.microsoft.com/office/drawing/2014/main" id="{27BCDA8C-98AB-6E41-86C8-68DD5ADC0556}"/>
                </a:ext>
              </a:extLst>
            </p:cNvPr>
            <p:cNvSpPr txBox="1"/>
            <p:nvPr userDrawn="1"/>
          </p:nvSpPr>
          <p:spPr>
            <a:xfrm>
              <a:off x="9686426" y="5633896"/>
              <a:ext cx="2297338" cy="63145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900"/>
                </a:spcBef>
                <a:spcAft>
                  <a:spcPts val="300"/>
                </a:spcAft>
                <a:defRPr sz="800" b="1" cap="all" spc="2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0" lvl="1" indent="0">
                <a:lnSpc>
                  <a:spcPct val="90000"/>
                </a:lnSpc>
                <a:spcAft>
                  <a:spcPts val="300"/>
                </a:spcAft>
                <a:tabLst/>
                <a:defRPr sz="12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marL="0" lvl="0" indent="0">
                <a:buFont typeface="Arial" panose="020B0604020202020204" pitchFamily="34" charset="0"/>
                <a:buNone/>
              </a:pPr>
              <a:r>
                <a:rPr lang="en-US" sz="450"/>
                <a:t>Method 2:</a:t>
              </a:r>
              <a:r>
                <a:rPr lang="en-US" sz="450" b="0"/>
                <a:t>Paste from clipboard</a:t>
              </a:r>
            </a:p>
            <a:p>
              <a:pPr lvl="1">
                <a:buNone/>
              </a:pPr>
              <a:r>
                <a:rPr lang="en-US" sz="788"/>
                <a:t>Select the image placeholder.</a:t>
              </a:r>
            </a:p>
            <a:p>
              <a:pPr lvl="1">
                <a:buNone/>
              </a:pPr>
              <a:r>
                <a:rPr lang="en-US" sz="788"/>
                <a:t>Right-click or use keyboard shortcuts to paste the image.</a:t>
              </a:r>
            </a:p>
          </p:txBody>
        </p:sp>
        <p:sp>
          <p:nvSpPr>
            <p:cNvPr id="146" name="TextBox 145">
              <a:extLst>
                <a:ext uri="{FF2B5EF4-FFF2-40B4-BE49-F238E27FC236}">
                  <a16:creationId xmlns:a16="http://schemas.microsoft.com/office/drawing/2014/main" id="{3674C8B4-19A9-7F4C-A0E9-A0CCA63C5A27}"/>
                </a:ext>
              </a:extLst>
            </p:cNvPr>
            <p:cNvSpPr txBox="1"/>
            <p:nvPr userDrawn="1"/>
          </p:nvSpPr>
          <p:spPr>
            <a:xfrm>
              <a:off x="9686426" y="6353985"/>
              <a:ext cx="2297338" cy="43464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900"/>
                </a:spcBef>
                <a:spcAft>
                  <a:spcPts val="300"/>
                </a:spcAft>
                <a:defRPr sz="800" b="1" cap="all" spc="2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0" lvl="1" indent="0">
                <a:lnSpc>
                  <a:spcPct val="90000"/>
                </a:lnSpc>
                <a:spcAft>
                  <a:spcPts val="300"/>
                </a:spcAft>
                <a:tabLst/>
                <a:defRPr sz="12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marL="0" lvl="0" indent="0">
                <a:buFont typeface="Arial" panose="020B0604020202020204" pitchFamily="34" charset="0"/>
                <a:buNone/>
              </a:pPr>
              <a:r>
                <a:rPr lang="en-US" sz="450"/>
                <a:t>Method 3:</a:t>
              </a:r>
              <a:r>
                <a:rPr lang="en-US" sz="450" b="0"/>
                <a:t>Placeholder icon</a:t>
              </a:r>
            </a:p>
            <a:p>
              <a:pPr lvl="1">
                <a:buNone/>
              </a:pPr>
              <a:r>
                <a:rPr lang="en-US" sz="788"/>
                <a:t>Click the image icon inside the placeholder to browse for an image.</a:t>
              </a:r>
            </a:p>
          </p:txBody>
        </p:sp>
        <p:sp>
          <p:nvSpPr>
            <p:cNvPr id="147" name="TextBox 146">
              <a:extLst>
                <a:ext uri="{FF2B5EF4-FFF2-40B4-BE49-F238E27FC236}">
                  <a16:creationId xmlns:a16="http://schemas.microsoft.com/office/drawing/2014/main" id="{6CDB408F-F9BC-BE49-BB1D-ED4826DEF237}"/>
                </a:ext>
              </a:extLst>
            </p:cNvPr>
            <p:cNvSpPr txBox="1"/>
            <p:nvPr userDrawn="1"/>
          </p:nvSpPr>
          <p:spPr>
            <a:xfrm>
              <a:off x="9674267" y="6784549"/>
              <a:ext cx="2374733" cy="215444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525"/>
                <a:t>Note: This icon may be covered by another element.</a:t>
              </a:r>
              <a:br>
                <a:rPr lang="en-US" sz="525"/>
              </a:br>
              <a:r>
                <a:rPr lang="en-US" sz="525"/>
                <a:t>In this case use one of the other methods.</a:t>
              </a:r>
            </a:p>
          </p:txBody>
        </p:sp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1ECE0F32-D532-904C-8F1D-31C62A85DF64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1670329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sz="825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149" name="Straight Connector 148">
              <a:extLst>
                <a:ext uri="{FF2B5EF4-FFF2-40B4-BE49-F238E27FC236}">
                  <a16:creationId xmlns:a16="http://schemas.microsoft.com/office/drawing/2014/main" id="{51DEE00D-8872-664F-91AC-88EBE656C01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50" name="Group 149">
              <a:extLst>
                <a:ext uri="{FF2B5EF4-FFF2-40B4-BE49-F238E27FC236}">
                  <a16:creationId xmlns:a16="http://schemas.microsoft.com/office/drawing/2014/main" id="{F7B782B6-E142-5C41-A58A-1C6E735E5795}"/>
                </a:ext>
              </a:extLst>
            </p:cNvPr>
            <p:cNvGrpSpPr/>
            <p:nvPr userDrawn="1"/>
          </p:nvGrpSpPr>
          <p:grpSpPr>
            <a:xfrm>
              <a:off x="9541497" y="1993090"/>
              <a:ext cx="2735151" cy="1739504"/>
              <a:chOff x="9541497" y="2125825"/>
              <a:chExt cx="2735151" cy="1739504"/>
            </a:xfrm>
          </p:grpSpPr>
          <p:sp>
            <p:nvSpPr>
              <p:cNvPr id="151" name="Rectangle 150">
                <a:extLst>
                  <a:ext uri="{FF2B5EF4-FFF2-40B4-BE49-F238E27FC236}">
                    <a16:creationId xmlns:a16="http://schemas.microsoft.com/office/drawing/2014/main" id="{FAADFAA3-8DA1-E14D-B99C-AB2508555523}"/>
                  </a:ext>
                </a:extLst>
              </p:cNvPr>
              <p:cNvSpPr/>
              <p:nvPr userDrawn="1"/>
            </p:nvSpPr>
            <p:spPr>
              <a:xfrm>
                <a:off x="9541497" y="2125825"/>
                <a:ext cx="2735151" cy="1739504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152" name="TextBox 151">
                <a:extLst>
                  <a:ext uri="{FF2B5EF4-FFF2-40B4-BE49-F238E27FC236}">
                    <a16:creationId xmlns:a16="http://schemas.microsoft.com/office/drawing/2014/main" id="{A937AB33-CB8B-A241-9EA4-8CAC5B904E8F}"/>
                  </a:ext>
                </a:extLst>
              </p:cNvPr>
              <p:cNvSpPr txBox="1"/>
              <p:nvPr userDrawn="1"/>
            </p:nvSpPr>
            <p:spPr>
              <a:xfrm>
                <a:off x="9907688" y="2254624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Undo Hyperlink</a:t>
                </a:r>
              </a:p>
            </p:txBody>
          </p:sp>
          <p:pic>
            <p:nvPicPr>
              <p:cNvPr id="153" name="Graphic 152">
                <a:extLst>
                  <a:ext uri="{FF2B5EF4-FFF2-40B4-BE49-F238E27FC236}">
                    <a16:creationId xmlns:a16="http://schemas.microsoft.com/office/drawing/2014/main" id="{EBF5A0BA-1949-E142-BD57-E8238FDFF60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9701720" y="2264907"/>
                <a:ext cx="155227" cy="155227"/>
              </a:xfrm>
              <a:prstGeom prst="rect">
                <a:avLst/>
              </a:prstGeom>
            </p:spPr>
          </p:pic>
          <p:sp>
            <p:nvSpPr>
              <p:cNvPr id="154" name="TextBox 153">
                <a:extLst>
                  <a:ext uri="{FF2B5EF4-FFF2-40B4-BE49-F238E27FC236}">
                    <a16:creationId xmlns:a16="http://schemas.microsoft.com/office/drawing/2014/main" id="{E3FC725E-D267-EE4C-ACC7-0FF6F88C1DED}"/>
                  </a:ext>
                </a:extLst>
              </p:cNvPr>
              <p:cNvSpPr txBox="1"/>
              <p:nvPr userDrawn="1"/>
            </p:nvSpPr>
            <p:spPr>
              <a:xfrm>
                <a:off x="9701720" y="2880064"/>
                <a:ext cx="2384904" cy="2492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As soon as the hyperlink formatting appears, Undo once to remove the format.</a:t>
                </a:r>
              </a:p>
            </p:txBody>
          </p:sp>
          <p:sp>
            <p:nvSpPr>
              <p:cNvPr id="155" name="TextBox 154">
                <a:extLst>
                  <a:ext uri="{FF2B5EF4-FFF2-40B4-BE49-F238E27FC236}">
                    <a16:creationId xmlns:a16="http://schemas.microsoft.com/office/drawing/2014/main" id="{DAC191F7-746A-F649-8BB7-706F351D95B5}"/>
                  </a:ext>
                </a:extLst>
              </p:cNvPr>
              <p:cNvSpPr txBox="1"/>
              <p:nvPr userDrawn="1"/>
            </p:nvSpPr>
            <p:spPr>
              <a:xfrm>
                <a:off x="9694938" y="2522576"/>
                <a:ext cx="2422981" cy="2769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685800" rtl="0" eaLnBrk="1" latinLnBrk="0" hangingPunct="1">
                  <a:spcBef>
                    <a:spcPts val="150"/>
                  </a:spcBef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Typing an email address into the contact info will automatically create a hyperlink.</a:t>
                </a:r>
              </a:p>
            </p:txBody>
          </p:sp>
          <p:sp>
            <p:nvSpPr>
              <p:cNvPr id="156" name="TextBox 155">
                <a:extLst>
                  <a:ext uri="{FF2B5EF4-FFF2-40B4-BE49-F238E27FC236}">
                    <a16:creationId xmlns:a16="http://schemas.microsoft.com/office/drawing/2014/main" id="{928BBA09-01DB-5E45-9E3F-116384E13EF0}"/>
                  </a:ext>
                </a:extLst>
              </p:cNvPr>
              <p:cNvSpPr txBox="1"/>
              <p:nvPr userDrawn="1"/>
            </p:nvSpPr>
            <p:spPr>
              <a:xfrm>
                <a:off x="9830981" y="3162742"/>
                <a:ext cx="2374733" cy="107721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>
                    <a:solidFill>
                      <a:schemeClr val="bg1">
                        <a:lumMod val="65000"/>
                      </a:schemeClr>
                    </a:solidFill>
                  </a:rPr>
                  <a:t>You can use CTRL+Z or the menu button.</a:t>
                </a:r>
              </a:p>
            </p:txBody>
          </p:sp>
          <p:sp>
            <p:nvSpPr>
              <p:cNvPr id="157" name="TextBox 156">
                <a:extLst>
                  <a:ext uri="{FF2B5EF4-FFF2-40B4-BE49-F238E27FC236}">
                    <a16:creationId xmlns:a16="http://schemas.microsoft.com/office/drawing/2014/main" id="{D2E2DD0D-5C91-6840-8E42-F620FF7B593C}"/>
                  </a:ext>
                </a:extLst>
              </p:cNvPr>
              <p:cNvSpPr txBox="1"/>
              <p:nvPr userDrawn="1"/>
            </p:nvSpPr>
            <p:spPr>
              <a:xfrm>
                <a:off x="9701720" y="3337264"/>
                <a:ext cx="2384904" cy="373948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To remove an pre-existing hyperlink,</a:t>
                </a:r>
                <a:b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</a:b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right click on the hyperlink and choose “Remove Link” (                 )</a:t>
                </a:r>
              </a:p>
            </p:txBody>
          </p:sp>
          <p:pic>
            <p:nvPicPr>
              <p:cNvPr id="158" name="Picture 157">
                <a:extLst>
                  <a:ext uri="{FF2B5EF4-FFF2-40B4-BE49-F238E27FC236}">
                    <a16:creationId xmlns:a16="http://schemas.microsoft.com/office/drawing/2014/main" id="{D403EB95-EC44-9141-919C-B5D3EF377E28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7"/>
              <a:srcRect l="4852" t="17138" r="10283" b="11792"/>
              <a:stretch/>
            </p:blipFill>
            <p:spPr>
              <a:xfrm>
                <a:off x="10676602" y="3604038"/>
                <a:ext cx="478277" cy="101726"/>
              </a:xfrm>
              <a:prstGeom prst="rect">
                <a:avLst/>
              </a:prstGeom>
              <a:ln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2823091888"/>
      </p:ext>
    </p:extLst>
  </p:cSld>
  <p:clrMapOvr>
    <a:overrideClrMapping bg1="lt1" tx1="dk1" bg2="lt2" tx2="dk2" accent1="accent1" accent2="accent2" accent3="accent3" accent4="accent4" accent5="accent5" accent6="accent6" hlink="lt1" folHlink="lt1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(Plain, Int.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>
            <a:extLst>
              <a:ext uri="{FF2B5EF4-FFF2-40B4-BE49-F238E27FC236}">
                <a16:creationId xmlns:a16="http://schemas.microsoft.com/office/drawing/2014/main" id="{7FB454B8-622E-D643-B38F-8FBBFCD62ABD}"/>
              </a:ext>
            </a:extLst>
          </p:cNvPr>
          <p:cNvSpPr/>
          <p:nvPr userDrawn="1"/>
        </p:nvSpPr>
        <p:spPr>
          <a:xfrm flipH="1">
            <a:off x="1868" y="1628720"/>
            <a:ext cx="8780681" cy="1361664"/>
          </a:xfrm>
          <a:custGeom>
            <a:avLst/>
            <a:gdLst>
              <a:gd name="connsiteX0" fmla="*/ 8780681 w 8780681"/>
              <a:gd name="connsiteY0" fmla="*/ 0 h 1815552"/>
              <a:gd name="connsiteX1" fmla="*/ 861570 w 8780681"/>
              <a:gd name="connsiteY1" fmla="*/ 0 h 1815552"/>
              <a:gd name="connsiteX2" fmla="*/ 0 w 8780681"/>
              <a:gd name="connsiteY2" fmla="*/ 1815552 h 1815552"/>
              <a:gd name="connsiteX3" fmla="*/ 8780681 w 8780681"/>
              <a:gd name="connsiteY3" fmla="*/ 1815552 h 1815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780681" h="1815552">
                <a:moveTo>
                  <a:pt x="8780681" y="0"/>
                </a:moveTo>
                <a:lnTo>
                  <a:pt x="861570" y="0"/>
                </a:lnTo>
                <a:lnTo>
                  <a:pt x="0" y="1815552"/>
                </a:lnTo>
                <a:lnTo>
                  <a:pt x="8780681" y="1815552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1050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A7DAA80D-E5FC-834A-808A-ED4B4782F280}"/>
              </a:ext>
            </a:extLst>
          </p:cNvPr>
          <p:cNvSpPr/>
          <p:nvPr userDrawn="1"/>
        </p:nvSpPr>
        <p:spPr>
          <a:xfrm flipH="1">
            <a:off x="0" y="4522171"/>
            <a:ext cx="6781322" cy="320579"/>
          </a:xfrm>
          <a:custGeom>
            <a:avLst/>
            <a:gdLst>
              <a:gd name="connsiteX0" fmla="*/ 6781322 w 6781322"/>
              <a:gd name="connsiteY0" fmla="*/ 0 h 427439"/>
              <a:gd name="connsiteX1" fmla="*/ 6376846 w 6781322"/>
              <a:gd name="connsiteY1" fmla="*/ 0 h 427439"/>
              <a:gd name="connsiteX2" fmla="*/ 607317 w 6781322"/>
              <a:gd name="connsiteY2" fmla="*/ 0 h 427439"/>
              <a:gd name="connsiteX3" fmla="*/ 202841 w 6781322"/>
              <a:gd name="connsiteY3" fmla="*/ 0 h 427439"/>
              <a:gd name="connsiteX4" fmla="*/ 0 w 6781322"/>
              <a:gd name="connsiteY4" fmla="*/ 427439 h 427439"/>
              <a:gd name="connsiteX5" fmla="*/ 404476 w 6781322"/>
              <a:gd name="connsiteY5" fmla="*/ 427439 h 427439"/>
              <a:gd name="connsiteX6" fmla="*/ 6376846 w 6781322"/>
              <a:gd name="connsiteY6" fmla="*/ 427439 h 427439"/>
              <a:gd name="connsiteX7" fmla="*/ 6781322 w 6781322"/>
              <a:gd name="connsiteY7" fmla="*/ 427439 h 427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81322" h="427439">
                <a:moveTo>
                  <a:pt x="6781322" y="0"/>
                </a:moveTo>
                <a:lnTo>
                  <a:pt x="6376846" y="0"/>
                </a:lnTo>
                <a:lnTo>
                  <a:pt x="607317" y="0"/>
                </a:lnTo>
                <a:lnTo>
                  <a:pt x="202841" y="0"/>
                </a:lnTo>
                <a:lnTo>
                  <a:pt x="0" y="427439"/>
                </a:lnTo>
                <a:lnTo>
                  <a:pt x="404476" y="427439"/>
                </a:lnTo>
                <a:lnTo>
                  <a:pt x="6376846" y="427439"/>
                </a:lnTo>
                <a:lnTo>
                  <a:pt x="6781322" y="42743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05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428846E-90EC-CF46-BA3C-6E7E7F9A65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1" y="1768288"/>
            <a:ext cx="7495477" cy="1082528"/>
          </a:xfrm>
        </p:spPr>
        <p:txBody>
          <a:bodyPr anchor="ctr"/>
          <a:lstStyle>
            <a:lvl1pPr>
              <a:defRPr sz="2700"/>
            </a:lvl1pPr>
          </a:lstStyle>
          <a:p>
            <a:pPr lvl="0"/>
            <a:r>
              <a:rPr lang="en-US"/>
              <a:t>CLICK TO EDIT PRESENTATION TITLE. ALL CAPS. TWO LINES.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AC42CDE-EBE7-E741-BE32-30653614DF4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6724098" y="4474686"/>
            <a:ext cx="2151409" cy="416402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EB244C48-76C2-534E-9513-08ABA03B5E42}"/>
              </a:ext>
            </a:extLst>
          </p:cNvPr>
          <p:cNvGrpSpPr/>
          <p:nvPr userDrawn="1"/>
        </p:nvGrpSpPr>
        <p:grpSpPr>
          <a:xfrm>
            <a:off x="-256964" y="1997110"/>
            <a:ext cx="251461" cy="602901"/>
            <a:chOff x="-256404" y="360363"/>
            <a:chExt cx="251461" cy="692152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AB8F3F92-DCF4-5F4E-9BDB-FEE9A11B7567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1E3E7507-CF0A-8947-A091-45ACB7BD5AD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BDFC8032-2C2C-B742-A741-8E1CF1FA29F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D9938BCA-C53F-834C-8CEA-DB166BA68723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</p:grp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9E8B117-CE2C-1E41-AA75-B37EA0C0EBB4}"/>
                </a:ext>
              </a:extLst>
            </p:cNvPr>
            <p:cNvSpPr txBox="1"/>
            <p:nvPr userDrawn="1"/>
          </p:nvSpPr>
          <p:spPr>
            <a:xfrm rot="16200000">
              <a:off x="-236491" y="662666"/>
              <a:ext cx="211636" cy="80791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ITLE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BB85DBD-D337-C94E-8C4C-333AD3194FA9}"/>
              </a:ext>
            </a:extLst>
          </p:cNvPr>
          <p:cNvGrpSpPr/>
          <p:nvPr userDrawn="1"/>
        </p:nvGrpSpPr>
        <p:grpSpPr>
          <a:xfrm>
            <a:off x="-256964" y="4522171"/>
            <a:ext cx="251461" cy="311229"/>
            <a:chOff x="-256404" y="360363"/>
            <a:chExt cx="251461" cy="692152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DD4AC7CA-38CF-B043-AD7E-5C0106965AA3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B7A9D658-71C1-CB43-ABD7-6BD77476E27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31A0BB04-B2E3-934F-9D1D-D0346C11180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8167E939-B260-2847-99C6-20C8238CF3D0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</p:grp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EFE99EE3-3761-0D43-973C-FE9BFC88169D}"/>
                </a:ext>
              </a:extLst>
            </p:cNvPr>
            <p:cNvSpPr txBox="1"/>
            <p:nvPr userDrawn="1"/>
          </p:nvSpPr>
          <p:spPr>
            <a:xfrm rot="16200000">
              <a:off x="-330312" y="662665"/>
              <a:ext cx="399276" cy="80791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DATE</a:t>
              </a:r>
            </a:p>
          </p:txBody>
        </p:sp>
      </p:grp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F2AFBF52-EA14-5E4D-9D64-343EF5302B4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0852" y="4545906"/>
            <a:ext cx="3313429" cy="273109"/>
          </a:xfrm>
        </p:spPr>
        <p:txBody>
          <a:bodyPr anchor="ctr"/>
          <a:lstStyle>
            <a:lvl1pPr marL="7144" indent="0">
              <a:buFontTx/>
              <a:buNone/>
              <a:tabLst/>
              <a:defRPr sz="1050" b="0">
                <a:solidFill>
                  <a:schemeClr val="bg1"/>
                </a:solidFill>
              </a:defRPr>
            </a:lvl1pPr>
            <a:lvl2pPr marL="7144" indent="0">
              <a:buFontTx/>
              <a:buNone/>
              <a:tabLst/>
              <a:defRPr sz="1050">
                <a:solidFill>
                  <a:schemeClr val="bg1"/>
                </a:solidFill>
              </a:defRPr>
            </a:lvl2pPr>
            <a:lvl3pPr marL="7144" indent="0">
              <a:buFontTx/>
              <a:buNone/>
              <a:tabLst/>
              <a:defRPr sz="1050">
                <a:solidFill>
                  <a:schemeClr val="bg1"/>
                </a:solidFill>
              </a:defRPr>
            </a:lvl3pPr>
            <a:lvl4pPr marL="7144" indent="0">
              <a:buFontTx/>
              <a:buNone/>
              <a:tabLst/>
              <a:defRPr sz="1050">
                <a:solidFill>
                  <a:schemeClr val="bg1"/>
                </a:solidFill>
              </a:defRPr>
            </a:lvl4pPr>
            <a:lvl5pPr marL="7144" indent="0">
              <a:buFontTx/>
              <a:buNone/>
              <a:tabLst/>
              <a:defRPr sz="1050">
                <a:solidFill>
                  <a:schemeClr val="bg1"/>
                </a:solidFill>
              </a:defRPr>
            </a:lvl5pPr>
            <a:lvl6pPr marL="7144" indent="0">
              <a:buFontTx/>
              <a:buNone/>
              <a:tabLst/>
              <a:defRPr sz="1050">
                <a:solidFill>
                  <a:schemeClr val="bg1"/>
                </a:solidFill>
              </a:defRPr>
            </a:lvl6pPr>
            <a:lvl7pPr marL="7144" indent="0">
              <a:buFontTx/>
              <a:buNone/>
              <a:tabLst/>
              <a:defRPr sz="1050">
                <a:solidFill>
                  <a:schemeClr val="bg1"/>
                </a:solidFill>
              </a:defRPr>
            </a:lvl7pPr>
            <a:lvl8pPr marL="7144" indent="0">
              <a:buFontTx/>
              <a:buNone/>
              <a:tabLst/>
              <a:defRPr sz="1050">
                <a:solidFill>
                  <a:schemeClr val="bg1"/>
                </a:solidFill>
              </a:defRPr>
            </a:lvl8pPr>
            <a:lvl9pPr marL="7144" indent="0">
              <a:buFontTx/>
              <a:buNone/>
              <a:tabLst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date (Month DD, YYYY)</a:t>
            </a:r>
          </a:p>
        </p:txBody>
      </p:sp>
    </p:spTree>
    <p:extLst>
      <p:ext uri="{BB962C8B-B14F-4D97-AF65-F5344CB8AC3E}">
        <p14:creationId xmlns:p14="http://schemas.microsoft.com/office/powerpoint/2010/main" val="11704486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(Headshot. T.S.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A733D6C8-2947-664C-94C0-9AD79C24D8BC}"/>
              </a:ext>
            </a:extLst>
          </p:cNvPr>
          <p:cNvSpPr/>
          <p:nvPr userDrawn="1"/>
        </p:nvSpPr>
        <p:spPr>
          <a:xfrm flipH="1">
            <a:off x="-1" y="1802107"/>
            <a:ext cx="9144000" cy="24705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1050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0B98A494-7A59-1347-AC1A-9CEFC6F3BA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855972" y="1802107"/>
            <a:ext cx="4288028" cy="2470574"/>
          </a:xfrm>
          <a:custGeom>
            <a:avLst/>
            <a:gdLst>
              <a:gd name="connsiteX0" fmla="*/ 0 w 4288028"/>
              <a:gd name="connsiteY0" fmla="*/ 0 h 3294098"/>
              <a:gd name="connsiteX1" fmla="*/ 4288028 w 4288028"/>
              <a:gd name="connsiteY1" fmla="*/ 0 h 3294098"/>
              <a:gd name="connsiteX2" fmla="*/ 4288028 w 4288028"/>
              <a:gd name="connsiteY2" fmla="*/ 3294098 h 3294098"/>
              <a:gd name="connsiteX3" fmla="*/ 1563214 w 4288028"/>
              <a:gd name="connsiteY3" fmla="*/ 3294098 h 3294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88028" h="3294098">
                <a:moveTo>
                  <a:pt x="0" y="0"/>
                </a:moveTo>
                <a:lnTo>
                  <a:pt x="4288028" y="0"/>
                </a:lnTo>
                <a:lnTo>
                  <a:pt x="4288028" y="3294098"/>
                </a:lnTo>
                <a:lnTo>
                  <a:pt x="1563214" y="3294098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rIns="432000" anchor="ctr">
            <a:noAutofit/>
          </a:bodyPr>
          <a:lstStyle>
            <a:lvl1pPr marL="0" indent="0" algn="r">
              <a:buNone/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hoto or headsho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51CCCAA-D40E-B44E-A126-920CC95387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914300"/>
            <a:ext cx="8280400" cy="68580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hank-you messag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22CA3D9-DBCD-8543-9EF3-77B6B03F51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2035666"/>
            <a:ext cx="4140200" cy="200345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marL="15479" indent="0">
              <a:spcAft>
                <a:spcPts val="225"/>
              </a:spcAft>
              <a:buNone/>
              <a:tabLst/>
              <a:defRPr sz="1050" b="1">
                <a:solidFill>
                  <a:schemeClr val="bg1"/>
                </a:solidFill>
              </a:defRPr>
            </a:lvl1pPr>
            <a:lvl2pPr marL="15479" indent="0">
              <a:spcAft>
                <a:spcPts val="150"/>
              </a:spcAft>
              <a:buNone/>
              <a:tabLst/>
              <a:defRPr sz="1050">
                <a:solidFill>
                  <a:schemeClr val="bg1"/>
                </a:solidFill>
              </a:defRPr>
            </a:lvl2pPr>
            <a:lvl3pPr marL="15479" indent="0">
              <a:spcAft>
                <a:spcPts val="150"/>
              </a:spcAft>
              <a:buFont typeface="Wingdings" pitchFamily="2" charset="2"/>
              <a:buNone/>
              <a:tabLst/>
              <a:defRPr sz="1050">
                <a:solidFill>
                  <a:schemeClr val="bg1"/>
                </a:solidFill>
              </a:defRPr>
            </a:lvl3pPr>
            <a:lvl4pPr marL="15479" indent="0">
              <a:spcAft>
                <a:spcPts val="150"/>
              </a:spcAft>
              <a:buFont typeface="System Font Regular"/>
              <a:buNone/>
              <a:tabLst/>
              <a:defRPr sz="1050">
                <a:solidFill>
                  <a:schemeClr val="bg1"/>
                </a:solidFill>
              </a:defRPr>
            </a:lvl4pPr>
            <a:lvl5pPr marL="15479" indent="0">
              <a:spcAft>
                <a:spcPts val="150"/>
              </a:spcAft>
              <a:buNone/>
              <a:tabLst/>
              <a:defRPr sz="1050">
                <a:solidFill>
                  <a:schemeClr val="bg1"/>
                </a:solidFill>
              </a:defRPr>
            </a:lvl5pPr>
            <a:lvl6pPr marL="15479" indent="0">
              <a:buNone/>
              <a:tabLst/>
              <a:defRPr>
                <a:solidFill>
                  <a:schemeClr val="bg1"/>
                </a:solidFill>
              </a:defRPr>
            </a:lvl6pPr>
            <a:lvl7pPr marL="15479" indent="0">
              <a:buNone/>
              <a:tabLst/>
              <a:defRPr>
                <a:solidFill>
                  <a:schemeClr val="bg1"/>
                </a:solidFill>
              </a:defRPr>
            </a:lvl7pPr>
            <a:lvl8pPr marL="15479" indent="0">
              <a:buNone/>
              <a:tabLst/>
              <a:defRPr>
                <a:solidFill>
                  <a:schemeClr val="bg1"/>
                </a:solidFill>
              </a:defRPr>
            </a:lvl8pPr>
            <a:lvl9pPr marL="15479" indent="0">
              <a:buNone/>
              <a:tabLst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contact information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3BFD17EA-819F-DD45-8311-F838F6249E1A}"/>
              </a:ext>
            </a:extLst>
          </p:cNvPr>
          <p:cNvSpPr/>
          <p:nvPr userDrawn="1"/>
        </p:nvSpPr>
        <p:spPr>
          <a:xfrm flipH="1">
            <a:off x="0" y="4522171"/>
            <a:ext cx="6781322" cy="320579"/>
          </a:xfrm>
          <a:custGeom>
            <a:avLst/>
            <a:gdLst>
              <a:gd name="connsiteX0" fmla="*/ 6781322 w 6781322"/>
              <a:gd name="connsiteY0" fmla="*/ 0 h 427439"/>
              <a:gd name="connsiteX1" fmla="*/ 6376846 w 6781322"/>
              <a:gd name="connsiteY1" fmla="*/ 0 h 427439"/>
              <a:gd name="connsiteX2" fmla="*/ 607317 w 6781322"/>
              <a:gd name="connsiteY2" fmla="*/ 0 h 427439"/>
              <a:gd name="connsiteX3" fmla="*/ 202841 w 6781322"/>
              <a:gd name="connsiteY3" fmla="*/ 0 h 427439"/>
              <a:gd name="connsiteX4" fmla="*/ 0 w 6781322"/>
              <a:gd name="connsiteY4" fmla="*/ 427439 h 427439"/>
              <a:gd name="connsiteX5" fmla="*/ 404476 w 6781322"/>
              <a:gd name="connsiteY5" fmla="*/ 427439 h 427439"/>
              <a:gd name="connsiteX6" fmla="*/ 6376846 w 6781322"/>
              <a:gd name="connsiteY6" fmla="*/ 427439 h 427439"/>
              <a:gd name="connsiteX7" fmla="*/ 6781322 w 6781322"/>
              <a:gd name="connsiteY7" fmla="*/ 427439 h 427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81322" h="427439">
                <a:moveTo>
                  <a:pt x="6781322" y="0"/>
                </a:moveTo>
                <a:lnTo>
                  <a:pt x="6376846" y="0"/>
                </a:lnTo>
                <a:lnTo>
                  <a:pt x="607317" y="0"/>
                </a:lnTo>
                <a:lnTo>
                  <a:pt x="202841" y="0"/>
                </a:lnTo>
                <a:lnTo>
                  <a:pt x="0" y="427439"/>
                </a:lnTo>
                <a:lnTo>
                  <a:pt x="404476" y="427439"/>
                </a:lnTo>
                <a:lnTo>
                  <a:pt x="6376846" y="427439"/>
                </a:lnTo>
                <a:lnTo>
                  <a:pt x="6781322" y="42743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1050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DB32357E-8001-BB4B-B6BD-AEA8426DDEF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6724099" y="4474686"/>
            <a:ext cx="2151407" cy="416401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94A77A8F-5D12-E34B-8708-A5312423922C}"/>
              </a:ext>
            </a:extLst>
          </p:cNvPr>
          <p:cNvGrpSpPr/>
          <p:nvPr userDrawn="1"/>
        </p:nvGrpSpPr>
        <p:grpSpPr>
          <a:xfrm>
            <a:off x="-256964" y="946363"/>
            <a:ext cx="251461" cy="590721"/>
            <a:chOff x="-256404" y="360363"/>
            <a:chExt cx="251461" cy="692152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B637000E-F84A-1145-919E-5DA2FD101A77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13" name="Straight Connector 12">
                <a:extLst>
                  <a:ext uri="{FF2B5EF4-FFF2-40B4-BE49-F238E27FC236}">
                    <a16:creationId xmlns:a16="http://schemas.microsoft.com/office/drawing/2014/main" id="{7B380594-C62D-324D-AD00-233F0356024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13">
                <a:extLst>
                  <a:ext uri="{FF2B5EF4-FFF2-40B4-BE49-F238E27FC236}">
                    <a16:creationId xmlns:a16="http://schemas.microsoft.com/office/drawing/2014/main" id="{A4DA0649-4B5A-6149-AF3E-E7306EFC79C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FA9CBF1E-E8FA-9D49-99B7-933FA7F583CC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</p:grp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28F40B88-00B1-E24C-B5AC-F85B614215DD}"/>
                </a:ext>
              </a:extLst>
            </p:cNvPr>
            <p:cNvSpPr txBox="1"/>
            <p:nvPr userDrawn="1"/>
          </p:nvSpPr>
          <p:spPr>
            <a:xfrm rot="16200000">
              <a:off x="-360755" y="622269"/>
              <a:ext cx="460172" cy="161583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HANK YOU</a:t>
              </a:r>
              <a:b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MESSAGE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56FBD86-8772-2741-BD56-20A14AB5B4D0}"/>
              </a:ext>
            </a:extLst>
          </p:cNvPr>
          <p:cNvGrpSpPr/>
          <p:nvPr userDrawn="1"/>
        </p:nvGrpSpPr>
        <p:grpSpPr>
          <a:xfrm>
            <a:off x="-256964" y="2525493"/>
            <a:ext cx="251461" cy="1023800"/>
            <a:chOff x="-256404" y="360363"/>
            <a:chExt cx="251461" cy="692152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16AB86AF-2A25-B547-9EDA-F8EED4FDCFCB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724101C4-1166-584E-ACD2-2214586A319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B89C2C98-B3D1-5043-B59E-DFA49C30AF4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2DA7E2B3-4DB5-8E48-AFA9-F7FCCD3A95BD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</p:grp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24FF7AC7-18F3-1F4F-ADDF-503169DE7192}"/>
                </a:ext>
              </a:extLst>
            </p:cNvPr>
            <p:cNvSpPr txBox="1"/>
            <p:nvPr userDrawn="1"/>
          </p:nvSpPr>
          <p:spPr>
            <a:xfrm rot="16200000">
              <a:off x="-301896" y="662666"/>
              <a:ext cx="342458" cy="80791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CONTACT INFO</a:t>
              </a: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77D3FCE0-E691-3E44-A57D-ECDAE556E4FE}"/>
              </a:ext>
            </a:extLst>
          </p:cNvPr>
          <p:cNvGrpSpPr/>
          <p:nvPr userDrawn="1"/>
        </p:nvGrpSpPr>
        <p:grpSpPr>
          <a:xfrm>
            <a:off x="431241" y="-185200"/>
            <a:ext cx="8280400" cy="5510478"/>
            <a:chOff x="431240" y="-246933"/>
            <a:chExt cx="8280400" cy="7347304"/>
          </a:xfrm>
        </p:grpSpPr>
        <p:grpSp>
          <p:nvGrpSpPr>
            <p:cNvPr id="114" name="Group 113">
              <a:extLst>
                <a:ext uri="{FF2B5EF4-FFF2-40B4-BE49-F238E27FC236}">
                  <a16:creationId xmlns:a16="http://schemas.microsoft.com/office/drawing/2014/main" id="{9E931012-2003-2543-97CB-79A6045D941E}"/>
                </a:ext>
              </a:extLst>
            </p:cNvPr>
            <p:cNvGrpSpPr/>
            <p:nvPr userDrawn="1"/>
          </p:nvGrpSpPr>
          <p:grpSpPr>
            <a:xfrm>
              <a:off x="431242" y="6864579"/>
              <a:ext cx="8280398" cy="235792"/>
              <a:chOff x="431801" y="-235792"/>
              <a:chExt cx="4400550" cy="235792"/>
            </a:xfrm>
          </p:grpSpPr>
          <p:cxnSp>
            <p:nvCxnSpPr>
              <p:cNvPr id="123" name="Straight Connector 122">
                <a:extLst>
                  <a:ext uri="{FF2B5EF4-FFF2-40B4-BE49-F238E27FC236}">
                    <a16:creationId xmlns:a16="http://schemas.microsoft.com/office/drawing/2014/main" id="{B93CA922-F7B0-0748-B406-436E8B6A0F0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>
                <a:extLst>
                  <a:ext uri="{FF2B5EF4-FFF2-40B4-BE49-F238E27FC236}">
                    <a16:creationId xmlns:a16="http://schemas.microsoft.com/office/drawing/2014/main" id="{B8147241-E2F6-C348-9AC4-7BD8938A2CF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79CC637B-89E3-684C-8110-25BFEE1E0211}"/>
                </a:ext>
              </a:extLst>
            </p:cNvPr>
            <p:cNvGrpSpPr/>
            <p:nvPr userDrawn="1"/>
          </p:nvGrpSpPr>
          <p:grpSpPr>
            <a:xfrm>
              <a:off x="431240" y="-246933"/>
              <a:ext cx="8280400" cy="235792"/>
              <a:chOff x="431800" y="-240735"/>
              <a:chExt cx="8280400" cy="235792"/>
            </a:xfrm>
          </p:grpSpPr>
          <p:grpSp>
            <p:nvGrpSpPr>
              <p:cNvPr id="116" name="Group 115">
                <a:extLst>
                  <a:ext uri="{FF2B5EF4-FFF2-40B4-BE49-F238E27FC236}">
                    <a16:creationId xmlns:a16="http://schemas.microsoft.com/office/drawing/2014/main" id="{00F2606F-6D13-5440-96CF-871056AD211A}"/>
                  </a:ext>
                </a:extLst>
              </p:cNvPr>
              <p:cNvGrpSpPr/>
              <p:nvPr userDrawn="1"/>
            </p:nvGrpSpPr>
            <p:grpSpPr>
              <a:xfrm>
                <a:off x="431800" y="-240735"/>
                <a:ext cx="8280400" cy="235792"/>
                <a:chOff x="431800" y="-235792"/>
                <a:chExt cx="4400551" cy="235792"/>
              </a:xfrm>
            </p:grpSpPr>
            <p:cxnSp>
              <p:nvCxnSpPr>
                <p:cNvPr id="120" name="Straight Connector 119">
                  <a:extLst>
                    <a:ext uri="{FF2B5EF4-FFF2-40B4-BE49-F238E27FC236}">
                      <a16:creationId xmlns:a16="http://schemas.microsoft.com/office/drawing/2014/main" id="{FCFB4B41-BF85-7B40-8CCC-196A3742C4C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1" name="Straight Connector 120">
                  <a:extLst>
                    <a:ext uri="{FF2B5EF4-FFF2-40B4-BE49-F238E27FC236}">
                      <a16:creationId xmlns:a16="http://schemas.microsoft.com/office/drawing/2014/main" id="{205341C8-9176-C04A-979F-A1265E327B5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1739FE7B-2552-6F40-95CD-992E32CD500D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</p:grpSp>
          <p:sp>
            <p:nvSpPr>
              <p:cNvPr id="117" name="TextBox 116">
                <a:extLst>
                  <a:ext uri="{FF2B5EF4-FFF2-40B4-BE49-F238E27FC236}">
                    <a16:creationId xmlns:a16="http://schemas.microsoft.com/office/drawing/2014/main" id="{BCAD5F91-0EBA-A346-B9D7-BDF226AC2562}"/>
                  </a:ext>
                </a:extLst>
              </p:cNvPr>
              <p:cNvSpPr txBox="1"/>
              <p:nvPr userDrawn="1"/>
            </p:nvSpPr>
            <p:spPr>
              <a:xfrm>
                <a:off x="3883466" y="-176700"/>
                <a:ext cx="1377081" cy="107721"/>
              </a:xfrm>
              <a:prstGeom prst="rect">
                <a:avLst/>
              </a:prstGeom>
            </p:spPr>
            <p:txBody>
              <a:bodyPr vert="horz" wrap="none" lIns="108000" tIns="0" rIns="108000" bIns="0" rtlCol="0" anchor="ctr">
                <a:spAutoFit/>
              </a:bodyPr>
              <a:lstStyle/>
              <a:p>
                <a:pPr algn="ctr"/>
                <a:r>
                  <a:rPr lang="en-US" sz="5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KEEP CONTENT WITHIN THIS AREA</a:t>
                </a:r>
              </a:p>
            </p:txBody>
          </p:sp>
          <p:cxnSp>
            <p:nvCxnSpPr>
              <p:cNvPr id="118" name="Straight Arrow Connector 117">
                <a:extLst>
                  <a:ext uri="{FF2B5EF4-FFF2-40B4-BE49-F238E27FC236}">
                    <a16:creationId xmlns:a16="http://schemas.microsoft.com/office/drawing/2014/main" id="{B7483C9D-769B-A74A-871C-84AC19953014}"/>
                  </a:ext>
                </a:extLst>
              </p:cNvPr>
              <p:cNvCxnSpPr>
                <a:cxnSpLocks/>
                <a:stCxn id="117" idx="1"/>
                <a:endCxn id="122" idx="2"/>
              </p:cNvCxnSpPr>
              <p:nvPr userDrawn="1"/>
            </p:nvCxnSpPr>
            <p:spPr>
              <a:xfrm flipH="1">
                <a:off x="431800" y="-122839"/>
                <a:ext cx="3451666" cy="1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Arrow Connector 118">
                <a:extLst>
                  <a:ext uri="{FF2B5EF4-FFF2-40B4-BE49-F238E27FC236}">
                    <a16:creationId xmlns:a16="http://schemas.microsoft.com/office/drawing/2014/main" id="{FFF12A77-86E0-B349-A46C-7E1FBDCC474C}"/>
                  </a:ext>
                </a:extLst>
              </p:cNvPr>
              <p:cNvCxnSpPr>
                <a:cxnSpLocks/>
                <a:stCxn id="117" idx="3"/>
                <a:endCxn id="122" idx="0"/>
              </p:cNvCxnSpPr>
              <p:nvPr userDrawn="1"/>
            </p:nvCxnSpPr>
            <p:spPr>
              <a:xfrm>
                <a:off x="5260547" y="-122839"/>
                <a:ext cx="3451653" cy="0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25" name="Group 124">
            <a:extLst>
              <a:ext uri="{FF2B5EF4-FFF2-40B4-BE49-F238E27FC236}">
                <a16:creationId xmlns:a16="http://schemas.microsoft.com/office/drawing/2014/main" id="{AD5C5ED9-7B43-BE47-809A-7B8837E8043A}"/>
              </a:ext>
            </a:extLst>
          </p:cNvPr>
          <p:cNvGrpSpPr/>
          <p:nvPr userDrawn="1"/>
        </p:nvGrpSpPr>
        <p:grpSpPr>
          <a:xfrm>
            <a:off x="9399183" y="-1"/>
            <a:ext cx="2961715" cy="7416175"/>
            <a:chOff x="9399182" y="-1"/>
            <a:chExt cx="2961715" cy="9888233"/>
          </a:xfrm>
        </p:grpSpPr>
        <p:sp>
          <p:nvSpPr>
            <p:cNvPr id="126" name="Rectangle 125">
              <a:extLst>
                <a:ext uri="{FF2B5EF4-FFF2-40B4-BE49-F238E27FC236}">
                  <a16:creationId xmlns:a16="http://schemas.microsoft.com/office/drawing/2014/main" id="{F9BAF0BA-0BDC-1247-813B-03F7EA59E73E}"/>
                </a:ext>
              </a:extLst>
            </p:cNvPr>
            <p:cNvSpPr/>
            <p:nvPr userDrawn="1"/>
          </p:nvSpPr>
          <p:spPr>
            <a:xfrm>
              <a:off x="9399182" y="-1"/>
              <a:ext cx="2798651" cy="974868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050"/>
            </a:p>
          </p:txBody>
        </p:sp>
        <p:pic>
          <p:nvPicPr>
            <p:cNvPr id="127" name="Picture 126">
              <a:extLst>
                <a:ext uri="{FF2B5EF4-FFF2-40B4-BE49-F238E27FC236}">
                  <a16:creationId xmlns:a16="http://schemas.microsoft.com/office/drawing/2014/main" id="{061D06E5-386C-9A44-86AB-C48DF502429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r="44021" b="6017"/>
            <a:stretch/>
          </p:blipFill>
          <p:spPr>
            <a:xfrm>
              <a:off x="9558506" y="1323797"/>
              <a:ext cx="2632538" cy="532435"/>
            </a:xfrm>
            <a:prstGeom prst="rect">
              <a:avLst/>
            </a:prstGeom>
          </p:spPr>
        </p:pic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CB2E8C9A-4FB4-6445-9C60-4EE2DB6B1768}"/>
                </a:ext>
              </a:extLst>
            </p:cNvPr>
            <p:cNvSpPr txBox="1"/>
            <p:nvPr userDrawn="1"/>
          </p:nvSpPr>
          <p:spPr>
            <a:xfrm>
              <a:off x="9558507" y="3874407"/>
              <a:ext cx="1231106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sz="825">
                  <a:solidFill>
                    <a:schemeClr val="bg1"/>
                  </a:solidFill>
                </a:rPr>
                <a:t>HOW TO ADD AN IMAGE</a:t>
              </a:r>
            </a:p>
          </p:txBody>
        </p: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E8A81CC4-D4ED-6647-B722-D848B3A652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4077024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4F84C578-2664-E643-9472-A17F6E6BE6BD}"/>
                </a:ext>
              </a:extLst>
            </p:cNvPr>
            <p:cNvSpPr txBox="1"/>
            <p:nvPr userDrawn="1"/>
          </p:nvSpPr>
          <p:spPr>
            <a:xfrm>
              <a:off x="9686426" y="4935334"/>
              <a:ext cx="2297338" cy="28913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900"/>
                </a:spcBef>
                <a:spcAft>
                  <a:spcPts val="300"/>
                </a:spcAft>
                <a:defRPr sz="800" b="1" cap="all" spc="2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0" lvl="1" indent="0">
                <a:lnSpc>
                  <a:spcPct val="90000"/>
                </a:lnSpc>
                <a:spcAft>
                  <a:spcPts val="300"/>
                </a:spcAft>
                <a:tabLst/>
                <a:defRPr sz="12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marL="0" lvl="0" indent="0">
                <a:buFont typeface="Arial" panose="020B0604020202020204" pitchFamily="34" charset="0"/>
                <a:buNone/>
              </a:pPr>
              <a:r>
                <a:rPr lang="en-US" sz="450" b="1"/>
                <a:t>Method 1:</a:t>
              </a:r>
              <a:r>
                <a:rPr lang="en-US" sz="450" b="0"/>
                <a:t>from file browser</a:t>
              </a:r>
            </a:p>
            <a:p>
              <a:pPr lvl="1">
                <a:buNone/>
              </a:pPr>
              <a:r>
                <a:rPr lang="en-US" sz="788"/>
                <a:t>Drag the image onto the slide.</a:t>
              </a:r>
            </a:p>
          </p:txBody>
        </p: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E92595B0-CF39-6843-81E1-EAABD547E6A4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164" name="Rectangle 163">
                <a:extLst>
                  <a:ext uri="{FF2B5EF4-FFF2-40B4-BE49-F238E27FC236}">
                    <a16:creationId xmlns:a16="http://schemas.microsoft.com/office/drawing/2014/main" id="{66122352-90ED-2A48-8FF8-33C7B03519D9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165" name="TextBox 164">
                <a:extLst>
                  <a:ext uri="{FF2B5EF4-FFF2-40B4-BE49-F238E27FC236}">
                    <a16:creationId xmlns:a16="http://schemas.microsoft.com/office/drawing/2014/main" id="{46F342E6-6D49-BA41-A71D-B2EAF5BB7021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166" name="Picture 165">
                <a:extLst>
                  <a:ext uri="{FF2B5EF4-FFF2-40B4-BE49-F238E27FC236}">
                    <a16:creationId xmlns:a16="http://schemas.microsoft.com/office/drawing/2014/main" id="{4B56E006-7B74-2E43-8AF7-0B546803EFEF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132" name="Group 131">
              <a:extLst>
                <a:ext uri="{FF2B5EF4-FFF2-40B4-BE49-F238E27FC236}">
                  <a16:creationId xmlns:a16="http://schemas.microsoft.com/office/drawing/2014/main" id="{8ED31E1B-C47C-6444-B18D-10F07AD75967}"/>
                </a:ext>
              </a:extLst>
            </p:cNvPr>
            <p:cNvGrpSpPr/>
            <p:nvPr userDrawn="1"/>
          </p:nvGrpSpPr>
          <p:grpSpPr>
            <a:xfrm>
              <a:off x="9541497" y="8476917"/>
              <a:ext cx="2735151" cy="1411315"/>
              <a:chOff x="9296567" y="4910411"/>
              <a:chExt cx="2735151" cy="1411315"/>
            </a:xfrm>
          </p:grpSpPr>
          <p:sp>
            <p:nvSpPr>
              <p:cNvPr id="158" name="Rectangle 157">
                <a:extLst>
                  <a:ext uri="{FF2B5EF4-FFF2-40B4-BE49-F238E27FC236}">
                    <a16:creationId xmlns:a16="http://schemas.microsoft.com/office/drawing/2014/main" id="{1BC1C51A-ECC0-D846-83E1-18277AEBD125}"/>
                  </a:ext>
                </a:extLst>
              </p:cNvPr>
              <p:cNvSpPr/>
              <p:nvPr userDrawn="1"/>
            </p:nvSpPr>
            <p:spPr>
              <a:xfrm>
                <a:off x="9296567" y="4910411"/>
                <a:ext cx="2735151" cy="1411315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159" name="TextBox 158">
                <a:extLst>
                  <a:ext uri="{FF2B5EF4-FFF2-40B4-BE49-F238E27FC236}">
                    <a16:creationId xmlns:a16="http://schemas.microsoft.com/office/drawing/2014/main" id="{62F58A85-515C-0644-8065-784967D02301}"/>
                  </a:ext>
                </a:extLst>
              </p:cNvPr>
              <p:cNvSpPr txBox="1"/>
              <p:nvPr userDrawn="1"/>
            </p:nvSpPr>
            <p:spPr>
              <a:xfrm>
                <a:off x="9662758" y="5039211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Change Image</a:t>
                </a:r>
              </a:p>
            </p:txBody>
          </p:sp>
          <p:pic>
            <p:nvPicPr>
              <p:cNvPr id="160" name="Graphic 159">
                <a:extLst>
                  <a:ext uri="{FF2B5EF4-FFF2-40B4-BE49-F238E27FC236}">
                    <a16:creationId xmlns:a16="http://schemas.microsoft.com/office/drawing/2014/main" id="{34BF85D0-43E2-6C47-8BDC-135B93441BB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9456790" y="5049494"/>
                <a:ext cx="155227" cy="155227"/>
              </a:xfrm>
              <a:prstGeom prst="rect">
                <a:avLst/>
              </a:prstGeom>
            </p:spPr>
          </p:pic>
          <p:sp>
            <p:nvSpPr>
              <p:cNvPr id="161" name="TextBox 160">
                <a:extLst>
                  <a:ext uri="{FF2B5EF4-FFF2-40B4-BE49-F238E27FC236}">
                    <a16:creationId xmlns:a16="http://schemas.microsoft.com/office/drawing/2014/main" id="{A620BBCD-FCF8-A449-B62F-8347A0D2E56F}"/>
                  </a:ext>
                </a:extLst>
              </p:cNvPr>
              <p:cNvSpPr txBox="1"/>
              <p:nvPr userDrawn="1"/>
            </p:nvSpPr>
            <p:spPr>
              <a:xfrm>
                <a:off x="9471805" y="5619194"/>
                <a:ext cx="2422981" cy="373948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101204" lvl="1" indent="-98822" algn="l" defTabSz="685800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225"/>
                  </a:spcAft>
                  <a:buFont typeface="Wingdings" pitchFamily="2" charset="2"/>
                  <a:buChar char="§"/>
                  <a:tabLst/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Deleting the image may bring the image placeholder to the top layer. Right-click on the placeholder and choose “Send to Back”.</a:t>
                </a:r>
              </a:p>
            </p:txBody>
          </p:sp>
          <p:sp>
            <p:nvSpPr>
              <p:cNvPr id="162" name="TextBox 161">
                <a:extLst>
                  <a:ext uri="{FF2B5EF4-FFF2-40B4-BE49-F238E27FC236}">
                    <a16:creationId xmlns:a16="http://schemas.microsoft.com/office/drawing/2014/main" id="{A353EA54-45AB-D440-90A5-F7FFA68E8277}"/>
                  </a:ext>
                </a:extLst>
              </p:cNvPr>
              <p:cNvSpPr txBox="1"/>
              <p:nvPr userDrawn="1"/>
            </p:nvSpPr>
            <p:spPr>
              <a:xfrm>
                <a:off x="9471805" y="5300350"/>
                <a:ext cx="2422981" cy="2769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685800" rtl="0" eaLnBrk="1" latinLnBrk="0" hangingPunct="1">
                  <a:spcBef>
                    <a:spcPts val="150"/>
                  </a:spcBef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First, delete the existing image to reset the photo placeholder functionality.</a:t>
                </a:r>
              </a:p>
            </p:txBody>
          </p:sp>
          <p:sp>
            <p:nvSpPr>
              <p:cNvPr id="163" name="TextBox 162">
                <a:extLst>
                  <a:ext uri="{FF2B5EF4-FFF2-40B4-BE49-F238E27FC236}">
                    <a16:creationId xmlns:a16="http://schemas.microsoft.com/office/drawing/2014/main" id="{BEDFBBB6-E5F9-B04E-9573-E0BEE0A827D6}"/>
                  </a:ext>
                </a:extLst>
              </p:cNvPr>
              <p:cNvSpPr txBox="1"/>
              <p:nvPr userDrawn="1"/>
            </p:nvSpPr>
            <p:spPr>
              <a:xfrm>
                <a:off x="9471805" y="6068871"/>
                <a:ext cx="2422981" cy="13850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685800" rtl="0" eaLnBrk="1" latinLnBrk="0" hangingPunct="1">
                  <a:spcBef>
                    <a:spcPts val="150"/>
                  </a:spcBef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You can now add a new image as normal.</a:t>
                </a:r>
              </a:p>
            </p:txBody>
          </p:sp>
        </p:grpSp>
        <p:grpSp>
          <p:nvGrpSpPr>
            <p:cNvPr id="133" name="Group 132">
              <a:extLst>
                <a:ext uri="{FF2B5EF4-FFF2-40B4-BE49-F238E27FC236}">
                  <a16:creationId xmlns:a16="http://schemas.microsoft.com/office/drawing/2014/main" id="{55FA8466-28DE-314F-9E10-841CA5A67806}"/>
                </a:ext>
              </a:extLst>
            </p:cNvPr>
            <p:cNvGrpSpPr/>
            <p:nvPr userDrawn="1"/>
          </p:nvGrpSpPr>
          <p:grpSpPr>
            <a:xfrm>
              <a:off x="9541497" y="7120261"/>
              <a:ext cx="2735151" cy="1280928"/>
              <a:chOff x="9286315" y="6976989"/>
              <a:chExt cx="2735151" cy="1280928"/>
            </a:xfrm>
          </p:grpSpPr>
          <p:sp>
            <p:nvSpPr>
              <p:cNvPr id="153" name="Rectangle 152">
                <a:extLst>
                  <a:ext uri="{FF2B5EF4-FFF2-40B4-BE49-F238E27FC236}">
                    <a16:creationId xmlns:a16="http://schemas.microsoft.com/office/drawing/2014/main" id="{05828DAF-41DC-FF4F-AC26-F4C6A8B63055}"/>
                  </a:ext>
                </a:extLst>
              </p:cNvPr>
              <p:cNvSpPr/>
              <p:nvPr userDrawn="1"/>
            </p:nvSpPr>
            <p:spPr>
              <a:xfrm>
                <a:off x="9286315" y="6976989"/>
                <a:ext cx="2735151" cy="1280928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154" name="TextBox 153">
                <a:extLst>
                  <a:ext uri="{FF2B5EF4-FFF2-40B4-BE49-F238E27FC236}">
                    <a16:creationId xmlns:a16="http://schemas.microsoft.com/office/drawing/2014/main" id="{D8ADA2D6-D5A5-784E-A45D-83532F4E6081}"/>
                  </a:ext>
                </a:extLst>
              </p:cNvPr>
              <p:cNvSpPr txBox="1"/>
              <p:nvPr userDrawn="1"/>
            </p:nvSpPr>
            <p:spPr>
              <a:xfrm>
                <a:off x="9652506" y="7105788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Crop Image</a:t>
                </a:r>
              </a:p>
            </p:txBody>
          </p:sp>
          <p:pic>
            <p:nvPicPr>
              <p:cNvPr id="155" name="Graphic 154">
                <a:extLst>
                  <a:ext uri="{FF2B5EF4-FFF2-40B4-BE49-F238E27FC236}">
                    <a16:creationId xmlns:a16="http://schemas.microsoft.com/office/drawing/2014/main" id="{CEAC3E4D-5FCA-0645-9B99-2164C11F93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9446538" y="7116071"/>
                <a:ext cx="155227" cy="155227"/>
              </a:xfrm>
              <a:prstGeom prst="rect">
                <a:avLst/>
              </a:prstGeom>
            </p:spPr>
          </p:pic>
          <p:sp>
            <p:nvSpPr>
              <p:cNvPr id="156" name="TextBox 155">
                <a:extLst>
                  <a:ext uri="{FF2B5EF4-FFF2-40B4-BE49-F238E27FC236}">
                    <a16:creationId xmlns:a16="http://schemas.microsoft.com/office/drawing/2014/main" id="{9B42898C-5F47-3F43-B337-69341CF4C7D0}"/>
                  </a:ext>
                </a:extLst>
              </p:cNvPr>
              <p:cNvSpPr txBox="1"/>
              <p:nvPr userDrawn="1"/>
            </p:nvSpPr>
            <p:spPr>
              <a:xfrm>
                <a:off x="9446538" y="7369972"/>
                <a:ext cx="2384904" cy="777136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Right-click on the image.</a:t>
                </a:r>
              </a:p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Choose “Crop” from the menu. (       )</a:t>
                </a:r>
              </a:p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Adjust the size and position of the image.</a:t>
                </a:r>
              </a:p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Press Esc or click outside the image area to exit the cropping mode.</a:t>
                </a:r>
              </a:p>
            </p:txBody>
          </p:sp>
          <p:pic>
            <p:nvPicPr>
              <p:cNvPr id="157" name="Picture 156">
                <a:extLst>
                  <a:ext uri="{FF2B5EF4-FFF2-40B4-BE49-F238E27FC236}">
                    <a16:creationId xmlns:a16="http://schemas.microsoft.com/office/drawing/2014/main" id="{2B17B7A2-579E-264F-AFA9-A6C0D3044EE9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6"/>
              <a:srcRect l="33684" t="12097" r="43371" b="20368"/>
              <a:stretch/>
            </p:blipFill>
            <p:spPr>
              <a:xfrm>
                <a:off x="11243541" y="7454405"/>
                <a:ext cx="136897" cy="213643"/>
              </a:xfrm>
              <a:prstGeom prst="rect">
                <a:avLst/>
              </a:prstGeom>
              <a:ln w="19050"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</p:pic>
        </p:grpSp>
        <p:grpSp>
          <p:nvGrpSpPr>
            <p:cNvPr id="134" name="Group 133">
              <a:extLst>
                <a:ext uri="{FF2B5EF4-FFF2-40B4-BE49-F238E27FC236}">
                  <a16:creationId xmlns:a16="http://schemas.microsoft.com/office/drawing/2014/main" id="{4FCB2141-4630-E34F-91E8-A4B1D805FE7D}"/>
                </a:ext>
              </a:extLst>
            </p:cNvPr>
            <p:cNvGrpSpPr/>
            <p:nvPr userDrawn="1"/>
          </p:nvGrpSpPr>
          <p:grpSpPr>
            <a:xfrm>
              <a:off x="9521833" y="4199527"/>
              <a:ext cx="2617883" cy="707288"/>
              <a:chOff x="12352022" y="513115"/>
              <a:chExt cx="2617883" cy="707288"/>
            </a:xfrm>
          </p:grpSpPr>
          <p:sp>
            <p:nvSpPr>
              <p:cNvPr id="150" name="TextBox 149">
                <a:extLst>
                  <a:ext uri="{FF2B5EF4-FFF2-40B4-BE49-F238E27FC236}">
                    <a16:creationId xmlns:a16="http://schemas.microsoft.com/office/drawing/2014/main" id="{6F9AC646-EF27-2141-AEB7-4D0CDD043E30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12352022" y="538142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375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1</a:t>
                </a:r>
              </a:p>
            </p:txBody>
          </p:sp>
          <p:sp>
            <p:nvSpPr>
              <p:cNvPr id="151" name="TextBox 150">
                <a:extLst>
                  <a:ext uri="{FF2B5EF4-FFF2-40B4-BE49-F238E27FC236}">
                    <a16:creationId xmlns:a16="http://schemas.microsoft.com/office/drawing/2014/main" id="{C8872405-7363-E04E-BCBC-4D7C41A0C027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12352022" y="1033696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375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2</a:t>
                </a:r>
              </a:p>
            </p:txBody>
          </p:sp>
          <p:sp>
            <p:nvSpPr>
              <p:cNvPr id="152" name="TextBox 151">
                <a:extLst>
                  <a:ext uri="{FF2B5EF4-FFF2-40B4-BE49-F238E27FC236}">
                    <a16:creationId xmlns:a16="http://schemas.microsoft.com/office/drawing/2014/main" id="{163E301A-90B1-5142-8C9D-CBA4D2B0DDB1}"/>
                  </a:ext>
                </a:extLst>
              </p:cNvPr>
              <p:cNvSpPr txBox="1"/>
              <p:nvPr userDrawn="1"/>
            </p:nvSpPr>
            <p:spPr>
              <a:xfrm>
                <a:off x="12516615" y="513115"/>
                <a:ext cx="2453290" cy="707288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0"/>
                <a:r>
                  <a:rPr lang="en-US" sz="788"/>
                  <a:t>Select and download images from the Marketing Resource Database.</a:t>
                </a:r>
              </a:p>
              <a:p>
                <a:pPr lvl="0"/>
                <a:r>
                  <a:rPr lang="en-US" sz="788"/>
                  <a:t>Add the image to the placeholder.</a:t>
                </a:r>
              </a:p>
            </p:txBody>
          </p:sp>
        </p:grp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765364B7-0A41-A344-82EA-5CBC4E0534D1}"/>
                </a:ext>
              </a:extLst>
            </p:cNvPr>
            <p:cNvSpPr txBox="1"/>
            <p:nvPr userDrawn="1"/>
          </p:nvSpPr>
          <p:spPr>
            <a:xfrm>
              <a:off x="9674267" y="5218639"/>
              <a:ext cx="2374733" cy="32316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525"/>
                <a:t>Note: If there are multiple image placeholders on the slide, select the intended placeholder before dragging in the image to let PowerPoint know where you want it.</a:t>
              </a:r>
            </a:p>
          </p:txBody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57E30B1B-AA82-1544-9697-1536E16F1177}"/>
                </a:ext>
              </a:extLst>
            </p:cNvPr>
            <p:cNvSpPr txBox="1"/>
            <p:nvPr userDrawn="1"/>
          </p:nvSpPr>
          <p:spPr>
            <a:xfrm>
              <a:off x="9686426" y="5633896"/>
              <a:ext cx="2297338" cy="63145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900"/>
                </a:spcBef>
                <a:spcAft>
                  <a:spcPts val="300"/>
                </a:spcAft>
                <a:defRPr sz="800" b="1" cap="all" spc="2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0" lvl="1" indent="0">
                <a:lnSpc>
                  <a:spcPct val="90000"/>
                </a:lnSpc>
                <a:spcAft>
                  <a:spcPts val="300"/>
                </a:spcAft>
                <a:tabLst/>
                <a:defRPr sz="12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marL="0" lvl="0" indent="0">
                <a:buFont typeface="Arial" panose="020B0604020202020204" pitchFamily="34" charset="0"/>
                <a:buNone/>
              </a:pPr>
              <a:r>
                <a:rPr lang="en-US" sz="450"/>
                <a:t>Method 2:</a:t>
              </a:r>
              <a:r>
                <a:rPr lang="en-US" sz="450" b="0"/>
                <a:t>Paste from clipboard</a:t>
              </a:r>
            </a:p>
            <a:p>
              <a:pPr lvl="1">
                <a:buNone/>
              </a:pPr>
              <a:r>
                <a:rPr lang="en-US" sz="788"/>
                <a:t>Select the image placeholder.</a:t>
              </a:r>
            </a:p>
            <a:p>
              <a:pPr lvl="1">
                <a:buNone/>
              </a:pPr>
              <a:r>
                <a:rPr lang="en-US" sz="788"/>
                <a:t>Right-click or use keyboard shortcuts to paste the image.</a:t>
              </a:r>
            </a:p>
          </p:txBody>
        </p: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0B5B22EC-8F9C-CA4F-A61A-09D9EC55B715}"/>
                </a:ext>
              </a:extLst>
            </p:cNvPr>
            <p:cNvSpPr txBox="1"/>
            <p:nvPr userDrawn="1"/>
          </p:nvSpPr>
          <p:spPr>
            <a:xfrm>
              <a:off x="9686426" y="6353985"/>
              <a:ext cx="2297338" cy="43464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900"/>
                </a:spcBef>
                <a:spcAft>
                  <a:spcPts val="300"/>
                </a:spcAft>
                <a:defRPr sz="800" b="1" cap="all" spc="2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0" lvl="1" indent="0">
                <a:lnSpc>
                  <a:spcPct val="90000"/>
                </a:lnSpc>
                <a:spcAft>
                  <a:spcPts val="300"/>
                </a:spcAft>
                <a:tabLst/>
                <a:defRPr sz="12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marL="0" lvl="0" indent="0">
                <a:buFont typeface="Arial" panose="020B0604020202020204" pitchFamily="34" charset="0"/>
                <a:buNone/>
              </a:pPr>
              <a:r>
                <a:rPr lang="en-US" sz="450"/>
                <a:t>Method 3:</a:t>
              </a:r>
              <a:r>
                <a:rPr lang="en-US" sz="450" b="0"/>
                <a:t>Placeholder icon</a:t>
              </a:r>
            </a:p>
            <a:p>
              <a:pPr lvl="1">
                <a:buNone/>
              </a:pPr>
              <a:r>
                <a:rPr lang="en-US" sz="788"/>
                <a:t>Click the image icon inside the placeholder to browse for an image.</a:t>
              </a:r>
            </a:p>
          </p:txBody>
        </p: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0321AB7A-262C-E243-9A39-092F6CABA552}"/>
                </a:ext>
              </a:extLst>
            </p:cNvPr>
            <p:cNvSpPr txBox="1"/>
            <p:nvPr userDrawn="1"/>
          </p:nvSpPr>
          <p:spPr>
            <a:xfrm>
              <a:off x="9674267" y="6784549"/>
              <a:ext cx="2374733" cy="215444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525"/>
                <a:t>Note: This icon may be covered by another element.</a:t>
              </a:r>
              <a:br>
                <a:rPr lang="en-US" sz="525"/>
              </a:br>
              <a:r>
                <a:rPr lang="en-US" sz="525"/>
                <a:t>In this case use one of the other methods.</a:t>
              </a:r>
            </a:p>
          </p:txBody>
        </p:sp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50EAAF30-5A19-764F-8A81-E50A2CDBB443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1670329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sz="825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3DF2975D-FBB6-8D43-9A3E-31BFB4BC4C9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41" name="Group 140">
              <a:extLst>
                <a:ext uri="{FF2B5EF4-FFF2-40B4-BE49-F238E27FC236}">
                  <a16:creationId xmlns:a16="http://schemas.microsoft.com/office/drawing/2014/main" id="{14AED418-A7FD-0943-98FB-BDDDA0D8E908}"/>
                </a:ext>
              </a:extLst>
            </p:cNvPr>
            <p:cNvGrpSpPr/>
            <p:nvPr userDrawn="1"/>
          </p:nvGrpSpPr>
          <p:grpSpPr>
            <a:xfrm>
              <a:off x="9541497" y="1993090"/>
              <a:ext cx="2735151" cy="1739504"/>
              <a:chOff x="9541497" y="2125825"/>
              <a:chExt cx="2735151" cy="1739504"/>
            </a:xfrm>
          </p:grpSpPr>
          <p:sp>
            <p:nvSpPr>
              <p:cNvPr id="142" name="Rectangle 141">
                <a:extLst>
                  <a:ext uri="{FF2B5EF4-FFF2-40B4-BE49-F238E27FC236}">
                    <a16:creationId xmlns:a16="http://schemas.microsoft.com/office/drawing/2014/main" id="{96DB50A7-2B13-B747-9724-B02F5CC5FAE6}"/>
                  </a:ext>
                </a:extLst>
              </p:cNvPr>
              <p:cNvSpPr/>
              <p:nvPr userDrawn="1"/>
            </p:nvSpPr>
            <p:spPr>
              <a:xfrm>
                <a:off x="9541497" y="2125825"/>
                <a:ext cx="2735151" cy="1739504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143" name="TextBox 142">
                <a:extLst>
                  <a:ext uri="{FF2B5EF4-FFF2-40B4-BE49-F238E27FC236}">
                    <a16:creationId xmlns:a16="http://schemas.microsoft.com/office/drawing/2014/main" id="{97885988-9EEC-D24A-B627-43F68E16F4BC}"/>
                  </a:ext>
                </a:extLst>
              </p:cNvPr>
              <p:cNvSpPr txBox="1"/>
              <p:nvPr userDrawn="1"/>
            </p:nvSpPr>
            <p:spPr>
              <a:xfrm>
                <a:off x="9907688" y="2254624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Undo Hyperlink</a:t>
                </a:r>
              </a:p>
            </p:txBody>
          </p:sp>
          <p:pic>
            <p:nvPicPr>
              <p:cNvPr id="144" name="Graphic 143">
                <a:extLst>
                  <a:ext uri="{FF2B5EF4-FFF2-40B4-BE49-F238E27FC236}">
                    <a16:creationId xmlns:a16="http://schemas.microsoft.com/office/drawing/2014/main" id="{83851E78-BB9F-6449-8DF6-A0FC2CAA2BE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9701720" y="2264907"/>
                <a:ext cx="155227" cy="155227"/>
              </a:xfrm>
              <a:prstGeom prst="rect">
                <a:avLst/>
              </a:prstGeom>
            </p:spPr>
          </p:pic>
          <p:sp>
            <p:nvSpPr>
              <p:cNvPr id="145" name="TextBox 144">
                <a:extLst>
                  <a:ext uri="{FF2B5EF4-FFF2-40B4-BE49-F238E27FC236}">
                    <a16:creationId xmlns:a16="http://schemas.microsoft.com/office/drawing/2014/main" id="{EC05698B-83B1-FA41-890C-86B8BDC77CEF}"/>
                  </a:ext>
                </a:extLst>
              </p:cNvPr>
              <p:cNvSpPr txBox="1"/>
              <p:nvPr userDrawn="1"/>
            </p:nvSpPr>
            <p:spPr>
              <a:xfrm>
                <a:off x="9701720" y="2880064"/>
                <a:ext cx="2384904" cy="2492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As soon as the hyperlink formatting appears, Undo once to remove the format.</a:t>
                </a:r>
              </a:p>
            </p:txBody>
          </p:sp>
          <p:sp>
            <p:nvSpPr>
              <p:cNvPr id="146" name="TextBox 145">
                <a:extLst>
                  <a:ext uri="{FF2B5EF4-FFF2-40B4-BE49-F238E27FC236}">
                    <a16:creationId xmlns:a16="http://schemas.microsoft.com/office/drawing/2014/main" id="{7352129B-5821-294B-A6FC-0108438173D0}"/>
                  </a:ext>
                </a:extLst>
              </p:cNvPr>
              <p:cNvSpPr txBox="1"/>
              <p:nvPr userDrawn="1"/>
            </p:nvSpPr>
            <p:spPr>
              <a:xfrm>
                <a:off x="9694938" y="2522576"/>
                <a:ext cx="2422981" cy="2769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685800" rtl="0" eaLnBrk="1" latinLnBrk="0" hangingPunct="1">
                  <a:spcBef>
                    <a:spcPts val="150"/>
                  </a:spcBef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Typing an email address into the contact info will automatically create a hyperlink.</a:t>
                </a:r>
              </a:p>
            </p:txBody>
          </p:sp>
          <p:sp>
            <p:nvSpPr>
              <p:cNvPr id="147" name="TextBox 146">
                <a:extLst>
                  <a:ext uri="{FF2B5EF4-FFF2-40B4-BE49-F238E27FC236}">
                    <a16:creationId xmlns:a16="http://schemas.microsoft.com/office/drawing/2014/main" id="{95C0D103-7B69-674C-BB26-5A97DEC86380}"/>
                  </a:ext>
                </a:extLst>
              </p:cNvPr>
              <p:cNvSpPr txBox="1"/>
              <p:nvPr userDrawn="1"/>
            </p:nvSpPr>
            <p:spPr>
              <a:xfrm>
                <a:off x="9830981" y="3162742"/>
                <a:ext cx="2374733" cy="107721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>
                    <a:solidFill>
                      <a:schemeClr val="bg1">
                        <a:lumMod val="65000"/>
                      </a:schemeClr>
                    </a:solidFill>
                  </a:rPr>
                  <a:t>You can use CTRL+Z or the menu button.</a:t>
                </a:r>
              </a:p>
            </p:txBody>
          </p:sp>
          <p:sp>
            <p:nvSpPr>
              <p:cNvPr id="148" name="TextBox 147">
                <a:extLst>
                  <a:ext uri="{FF2B5EF4-FFF2-40B4-BE49-F238E27FC236}">
                    <a16:creationId xmlns:a16="http://schemas.microsoft.com/office/drawing/2014/main" id="{01F7D329-536B-8B41-B896-7592DD5B60F6}"/>
                  </a:ext>
                </a:extLst>
              </p:cNvPr>
              <p:cNvSpPr txBox="1"/>
              <p:nvPr userDrawn="1"/>
            </p:nvSpPr>
            <p:spPr>
              <a:xfrm>
                <a:off x="9701720" y="3337264"/>
                <a:ext cx="2384904" cy="373948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To remove an pre-existing hyperlink,</a:t>
                </a:r>
                <a:b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</a:b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right click on the hyperlink and choose “Remove Link” (                 )</a:t>
                </a:r>
              </a:p>
            </p:txBody>
          </p:sp>
          <p:pic>
            <p:nvPicPr>
              <p:cNvPr id="149" name="Picture 148">
                <a:extLst>
                  <a:ext uri="{FF2B5EF4-FFF2-40B4-BE49-F238E27FC236}">
                    <a16:creationId xmlns:a16="http://schemas.microsoft.com/office/drawing/2014/main" id="{DE1D17B7-BC70-8F4C-AF98-5944562B2CD6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7"/>
              <a:srcRect l="4852" t="17138" r="10283" b="11792"/>
              <a:stretch/>
            </p:blipFill>
            <p:spPr>
              <a:xfrm>
                <a:off x="10676602" y="3604038"/>
                <a:ext cx="478277" cy="101726"/>
              </a:xfrm>
              <a:prstGeom prst="rect">
                <a:avLst/>
              </a:prstGeom>
              <a:ln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1286386229"/>
      </p:ext>
    </p:extLst>
  </p:cSld>
  <p:clrMapOvr>
    <a:overrideClrMapping bg1="lt1" tx1="dk1" bg2="lt2" tx2="dk2" accent1="accent1" accent2="accent2" accent3="accent3" accent4="accent4" accent5="accent5" accent6="accent6" hlink="lt1" folHlink="lt1"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(2 Headshots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51CCCAA-D40E-B44E-A126-920CC95387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1802049"/>
            <a:ext cx="8280400" cy="69218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thank-you messag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22CA3D9-DBCD-8543-9EF3-77B6B03F51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46853" y="2703111"/>
            <a:ext cx="2301461" cy="11572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noAutofit/>
          </a:bodyPr>
          <a:lstStyle>
            <a:lvl1pPr marL="15479" indent="0">
              <a:spcAft>
                <a:spcPts val="225"/>
              </a:spcAft>
              <a:buNone/>
              <a:tabLst/>
              <a:defRPr sz="1050" b="1">
                <a:solidFill>
                  <a:schemeClr val="accent1"/>
                </a:solidFill>
              </a:defRPr>
            </a:lvl1pPr>
            <a:lvl2pPr marL="15479" indent="0">
              <a:spcAft>
                <a:spcPts val="150"/>
              </a:spcAft>
              <a:buNone/>
              <a:tabLst/>
              <a:defRPr sz="1050">
                <a:solidFill>
                  <a:schemeClr val="tx1"/>
                </a:solidFill>
              </a:defRPr>
            </a:lvl2pPr>
            <a:lvl3pPr marL="15479" indent="0">
              <a:spcAft>
                <a:spcPts val="150"/>
              </a:spcAft>
              <a:buFont typeface="Wingdings" pitchFamily="2" charset="2"/>
              <a:buNone/>
              <a:tabLst/>
              <a:defRPr sz="1050">
                <a:solidFill>
                  <a:schemeClr val="tx1"/>
                </a:solidFill>
              </a:defRPr>
            </a:lvl3pPr>
            <a:lvl4pPr marL="15479" indent="0">
              <a:spcAft>
                <a:spcPts val="150"/>
              </a:spcAft>
              <a:buFont typeface="System Font Regular"/>
              <a:buNone/>
              <a:tabLst/>
              <a:defRPr sz="1050">
                <a:solidFill>
                  <a:schemeClr val="tx1"/>
                </a:solidFill>
              </a:defRPr>
            </a:lvl4pPr>
            <a:lvl5pPr marL="15479" indent="0">
              <a:spcAft>
                <a:spcPts val="150"/>
              </a:spcAft>
              <a:buNone/>
              <a:tabLst/>
              <a:defRPr sz="1050">
                <a:solidFill>
                  <a:schemeClr val="tx1"/>
                </a:solidFill>
              </a:defRPr>
            </a:lvl5pPr>
            <a:lvl6pPr marL="15479" indent="0">
              <a:buNone/>
              <a:tabLst/>
              <a:defRPr/>
            </a:lvl6pPr>
            <a:lvl7pPr marL="15479" indent="0">
              <a:buNone/>
              <a:tabLst/>
              <a:defRPr/>
            </a:lvl7pPr>
            <a:lvl8pPr marL="15479" indent="0">
              <a:buNone/>
              <a:tabLst/>
              <a:defRPr/>
            </a:lvl8pPr>
            <a:lvl9pPr marL="15479" indent="0">
              <a:buNone/>
              <a:tabLst/>
              <a:defRPr/>
            </a:lvl9pPr>
          </a:lstStyle>
          <a:p>
            <a:pPr lvl="0"/>
            <a:r>
              <a:rPr lang="en-US"/>
              <a:t>Click to add contact information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3BFD17EA-819F-DD45-8311-F838F6249E1A}"/>
              </a:ext>
            </a:extLst>
          </p:cNvPr>
          <p:cNvSpPr/>
          <p:nvPr userDrawn="1"/>
        </p:nvSpPr>
        <p:spPr>
          <a:xfrm flipH="1">
            <a:off x="0" y="4522171"/>
            <a:ext cx="6781322" cy="320579"/>
          </a:xfrm>
          <a:custGeom>
            <a:avLst/>
            <a:gdLst>
              <a:gd name="connsiteX0" fmla="*/ 6781322 w 6781322"/>
              <a:gd name="connsiteY0" fmla="*/ 0 h 427439"/>
              <a:gd name="connsiteX1" fmla="*/ 6376846 w 6781322"/>
              <a:gd name="connsiteY1" fmla="*/ 0 h 427439"/>
              <a:gd name="connsiteX2" fmla="*/ 607317 w 6781322"/>
              <a:gd name="connsiteY2" fmla="*/ 0 h 427439"/>
              <a:gd name="connsiteX3" fmla="*/ 202841 w 6781322"/>
              <a:gd name="connsiteY3" fmla="*/ 0 h 427439"/>
              <a:gd name="connsiteX4" fmla="*/ 0 w 6781322"/>
              <a:gd name="connsiteY4" fmla="*/ 427439 h 427439"/>
              <a:gd name="connsiteX5" fmla="*/ 404476 w 6781322"/>
              <a:gd name="connsiteY5" fmla="*/ 427439 h 427439"/>
              <a:gd name="connsiteX6" fmla="*/ 6376846 w 6781322"/>
              <a:gd name="connsiteY6" fmla="*/ 427439 h 427439"/>
              <a:gd name="connsiteX7" fmla="*/ 6781322 w 6781322"/>
              <a:gd name="connsiteY7" fmla="*/ 427439 h 427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81322" h="427439">
                <a:moveTo>
                  <a:pt x="6781322" y="0"/>
                </a:moveTo>
                <a:lnTo>
                  <a:pt x="6376846" y="0"/>
                </a:lnTo>
                <a:lnTo>
                  <a:pt x="607317" y="0"/>
                </a:lnTo>
                <a:lnTo>
                  <a:pt x="202841" y="0"/>
                </a:lnTo>
                <a:lnTo>
                  <a:pt x="0" y="427439"/>
                </a:lnTo>
                <a:lnTo>
                  <a:pt x="404476" y="427439"/>
                </a:lnTo>
                <a:lnTo>
                  <a:pt x="6376846" y="427439"/>
                </a:lnTo>
                <a:lnTo>
                  <a:pt x="6781322" y="42743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1050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DB32357E-8001-BB4B-B6BD-AEA8426DDEF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6724098" y="4474686"/>
            <a:ext cx="2151409" cy="416402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329E5FF7-98BC-884F-840D-5E423F4AF849}"/>
              </a:ext>
            </a:extLst>
          </p:cNvPr>
          <p:cNvGrpSpPr/>
          <p:nvPr userDrawn="1"/>
        </p:nvGrpSpPr>
        <p:grpSpPr>
          <a:xfrm>
            <a:off x="-256964" y="1857800"/>
            <a:ext cx="251461" cy="590721"/>
            <a:chOff x="-256404" y="360363"/>
            <a:chExt cx="251461" cy="692152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3CE00DE3-4AF7-8F42-A200-B6BF002E43AF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11" name="Straight Connector 10">
                <a:extLst>
                  <a:ext uri="{FF2B5EF4-FFF2-40B4-BE49-F238E27FC236}">
                    <a16:creationId xmlns:a16="http://schemas.microsoft.com/office/drawing/2014/main" id="{662AF22C-7AFC-C247-A004-09523187568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12">
                <a:extLst>
                  <a:ext uri="{FF2B5EF4-FFF2-40B4-BE49-F238E27FC236}">
                    <a16:creationId xmlns:a16="http://schemas.microsoft.com/office/drawing/2014/main" id="{5DC57299-371A-5D49-B7E8-080D3F8E77D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2C4E3FC2-9801-F941-A31F-83FA02AAD46F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A420265-8660-8D47-879D-AE5074C73B4B}"/>
                </a:ext>
              </a:extLst>
            </p:cNvPr>
            <p:cNvSpPr txBox="1"/>
            <p:nvPr userDrawn="1"/>
          </p:nvSpPr>
          <p:spPr>
            <a:xfrm rot="16200000">
              <a:off x="-360755" y="622269"/>
              <a:ext cx="460172" cy="161583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HANK YOU</a:t>
              </a:r>
              <a:b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MESSAGE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8244616-2BA8-434E-A138-B2D5956D9EE1}"/>
              </a:ext>
            </a:extLst>
          </p:cNvPr>
          <p:cNvGrpSpPr/>
          <p:nvPr userDrawn="1"/>
        </p:nvGrpSpPr>
        <p:grpSpPr>
          <a:xfrm>
            <a:off x="-256964" y="2716972"/>
            <a:ext cx="251461" cy="1130110"/>
            <a:chOff x="-256404" y="360363"/>
            <a:chExt cx="251461" cy="692152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09CBFCC-B5CB-D24E-8728-2AAEE959FF6E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977E976A-5E64-D14B-BA4C-4F26EF696B7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100263B3-BEFA-F84D-A346-488994B5061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0D5E94FD-3E4F-7A4D-8F85-338D20425FB9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</p:grp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1C137DA0-E7A0-8348-964C-0094E9A21AD9}"/>
                </a:ext>
              </a:extLst>
            </p:cNvPr>
            <p:cNvSpPr txBox="1"/>
            <p:nvPr userDrawn="1"/>
          </p:nvSpPr>
          <p:spPr>
            <a:xfrm rot="16200000">
              <a:off x="-285789" y="662666"/>
              <a:ext cx="310243" cy="80791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CONTACT INFO</a:t>
              </a:r>
            </a:p>
          </p:txBody>
        </p:sp>
      </p:grp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953A8BD-C2FA-AE49-99CC-15B59CE56A1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1800" y="2702719"/>
            <a:ext cx="1543050" cy="1157288"/>
          </a:xfrm>
          <a:prstGeom prst="rect">
            <a:avLst/>
          </a:prstGeom>
          <a:solidFill>
            <a:schemeClr val="accent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headshot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1B6BB86B-8CCA-614F-97F8-932E6DC1B8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10740" y="2703111"/>
            <a:ext cx="2301461" cy="11572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noAutofit/>
          </a:bodyPr>
          <a:lstStyle>
            <a:lvl1pPr marL="15479" indent="0">
              <a:spcAft>
                <a:spcPts val="225"/>
              </a:spcAft>
              <a:buNone/>
              <a:tabLst/>
              <a:defRPr sz="1050" b="1">
                <a:solidFill>
                  <a:schemeClr val="accent1"/>
                </a:solidFill>
              </a:defRPr>
            </a:lvl1pPr>
            <a:lvl2pPr marL="15479" indent="0">
              <a:spcAft>
                <a:spcPts val="150"/>
              </a:spcAft>
              <a:buNone/>
              <a:tabLst/>
              <a:defRPr sz="1050">
                <a:solidFill>
                  <a:schemeClr val="tx1"/>
                </a:solidFill>
              </a:defRPr>
            </a:lvl2pPr>
            <a:lvl3pPr marL="15479" indent="0">
              <a:spcAft>
                <a:spcPts val="150"/>
              </a:spcAft>
              <a:buFont typeface="Wingdings" pitchFamily="2" charset="2"/>
              <a:buNone/>
              <a:tabLst/>
              <a:defRPr sz="1050">
                <a:solidFill>
                  <a:schemeClr val="tx1"/>
                </a:solidFill>
              </a:defRPr>
            </a:lvl3pPr>
            <a:lvl4pPr marL="15479" indent="0">
              <a:spcAft>
                <a:spcPts val="150"/>
              </a:spcAft>
              <a:buFont typeface="System Font Regular"/>
              <a:buNone/>
              <a:tabLst/>
              <a:defRPr sz="1050">
                <a:solidFill>
                  <a:schemeClr val="tx1"/>
                </a:solidFill>
              </a:defRPr>
            </a:lvl4pPr>
            <a:lvl5pPr marL="15479" indent="0">
              <a:spcAft>
                <a:spcPts val="150"/>
              </a:spcAft>
              <a:buNone/>
              <a:tabLst/>
              <a:defRPr sz="1050">
                <a:solidFill>
                  <a:schemeClr val="tx1"/>
                </a:solidFill>
              </a:defRPr>
            </a:lvl5pPr>
            <a:lvl6pPr marL="15479" indent="0">
              <a:buNone/>
              <a:tabLst/>
              <a:defRPr/>
            </a:lvl6pPr>
            <a:lvl7pPr marL="15479" indent="0">
              <a:buNone/>
              <a:tabLst/>
              <a:defRPr/>
            </a:lvl7pPr>
            <a:lvl8pPr marL="15479" indent="0">
              <a:buNone/>
              <a:tabLst/>
              <a:defRPr/>
            </a:lvl8pPr>
            <a:lvl9pPr marL="15479" indent="0">
              <a:buNone/>
              <a:tabLst/>
              <a:defRPr/>
            </a:lvl9pPr>
          </a:lstStyle>
          <a:p>
            <a:pPr lvl="0"/>
            <a:r>
              <a:rPr lang="en-US"/>
              <a:t>Click to add contact information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E582B670-FA91-C849-BD22-A066A6FE9B5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695687" y="2702719"/>
            <a:ext cx="1543050" cy="1157288"/>
          </a:xfrm>
          <a:prstGeom prst="rect">
            <a:avLst/>
          </a:prstGeom>
          <a:solidFill>
            <a:schemeClr val="accent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headsho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8C5271A-0BDF-8A4B-A174-563C1037B2D5}"/>
              </a:ext>
            </a:extLst>
          </p:cNvPr>
          <p:cNvGrpSpPr/>
          <p:nvPr userDrawn="1"/>
        </p:nvGrpSpPr>
        <p:grpSpPr>
          <a:xfrm>
            <a:off x="9399183" y="-1"/>
            <a:ext cx="2961715" cy="6287462"/>
            <a:chOff x="9399182" y="-1"/>
            <a:chExt cx="2961715" cy="8383282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545B4392-38F5-6C41-A941-E1CDFEF149BA}"/>
                </a:ext>
              </a:extLst>
            </p:cNvPr>
            <p:cNvSpPr/>
            <p:nvPr userDrawn="1"/>
          </p:nvSpPr>
          <p:spPr>
            <a:xfrm>
              <a:off x="9399182" y="-1"/>
              <a:ext cx="2798651" cy="822960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050"/>
            </a:p>
          </p:txBody>
        </p:sp>
        <p:pic>
          <p:nvPicPr>
            <p:cNvPr id="81" name="Picture 80">
              <a:extLst>
                <a:ext uri="{FF2B5EF4-FFF2-40B4-BE49-F238E27FC236}">
                  <a16:creationId xmlns:a16="http://schemas.microsoft.com/office/drawing/2014/main" id="{9505F31A-B1BD-6B43-93A4-B74F320C4E6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r="44907"/>
            <a:stretch/>
          </p:blipFill>
          <p:spPr>
            <a:xfrm>
              <a:off x="9558505" y="1326787"/>
              <a:ext cx="2639326" cy="517021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5258D4B1-E9C2-FB40-A4A9-66BEE0EF3965}"/>
                </a:ext>
              </a:extLst>
            </p:cNvPr>
            <p:cNvSpPr txBox="1"/>
            <p:nvPr userDrawn="1"/>
          </p:nvSpPr>
          <p:spPr>
            <a:xfrm>
              <a:off x="9558507" y="3863269"/>
              <a:ext cx="1614224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sz="825">
                  <a:solidFill>
                    <a:schemeClr val="bg1"/>
                  </a:solidFill>
                </a:rPr>
                <a:t>TIPS FOR ADDING HEADSHOTS</a:t>
              </a:r>
            </a:p>
          </p:txBody>
        </p: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661008D7-F48E-CB4E-99B2-9CD9ECF9FBD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4065886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EEB03B23-ECF8-7E4C-9DD0-D5EB04C22CCD}"/>
                </a:ext>
              </a:extLst>
            </p:cNvPr>
            <p:cNvSpPr/>
            <p:nvPr userDrawn="1"/>
          </p:nvSpPr>
          <p:spPr>
            <a:xfrm>
              <a:off x="9541497" y="162442"/>
              <a:ext cx="2819400" cy="814510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/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D36E3FB2-9D3F-F345-8ABF-49772659DC3C}"/>
                </a:ext>
              </a:extLst>
            </p:cNvPr>
            <p:cNvSpPr txBox="1"/>
            <p:nvPr userDrawn="1"/>
          </p:nvSpPr>
          <p:spPr>
            <a:xfrm>
              <a:off x="10147060" y="306442"/>
              <a:ext cx="2129588" cy="50783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algn="l"/>
              <a:r>
                <a:rPr lang="en-US" sz="8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Access programmed text formats by using the ‘Indent More’ button to change the indent level.</a:t>
              </a:r>
            </a:p>
          </p:txBody>
        </p:sp>
        <p:pic>
          <p:nvPicPr>
            <p:cNvPr id="68" name="Picture 67">
              <a:extLst>
                <a:ext uri="{FF2B5EF4-FFF2-40B4-BE49-F238E27FC236}">
                  <a16:creationId xmlns:a16="http://schemas.microsoft.com/office/drawing/2014/main" id="{A2E380DD-5DBC-7B40-941B-9B833C5A489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l="8882" t="5165" r="-1"/>
            <a:stretch/>
          </p:blipFill>
          <p:spPr>
            <a:xfrm>
              <a:off x="9694938" y="411250"/>
              <a:ext cx="324017" cy="289055"/>
            </a:xfrm>
            <a:prstGeom prst="roundRect">
              <a:avLst/>
            </a:prstGeom>
          </p:spPr>
        </p:pic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F9D5BAED-BA0A-B647-B7F6-5D6021FACCCF}"/>
                </a:ext>
              </a:extLst>
            </p:cNvPr>
            <p:cNvSpPr/>
            <p:nvPr userDrawn="1"/>
          </p:nvSpPr>
          <p:spPr>
            <a:xfrm>
              <a:off x="9541497" y="6971966"/>
              <a:ext cx="2735151" cy="1411315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/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0526BF7F-3849-4849-8E5B-701D9AA18384}"/>
                </a:ext>
              </a:extLst>
            </p:cNvPr>
            <p:cNvSpPr txBox="1"/>
            <p:nvPr userDrawn="1"/>
          </p:nvSpPr>
          <p:spPr>
            <a:xfrm>
              <a:off x="9907688" y="7100766"/>
              <a:ext cx="2368960" cy="169277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algn="l"/>
              <a:r>
                <a:rPr lang="en-US" sz="8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IP: Change Image</a:t>
              </a:r>
            </a:p>
          </p:txBody>
        </p:sp>
        <p:pic>
          <p:nvPicPr>
            <p:cNvPr id="62" name="Graphic 61">
              <a:extLst>
                <a:ext uri="{FF2B5EF4-FFF2-40B4-BE49-F238E27FC236}">
                  <a16:creationId xmlns:a16="http://schemas.microsoft.com/office/drawing/2014/main" id="{A349D8B4-550A-014D-9076-DDDB3624A37A}"/>
                </a:ext>
              </a:extLst>
            </p:cNvPr>
            <p:cNvPicPr>
              <a:picLocks noChangeAspect="1"/>
            </p:cNvPicPr>
            <p:nvPr userDrawn="1"/>
          </p:nvPicPr>
          <p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701720" y="7111049"/>
              <a:ext cx="155227" cy="155227"/>
            </a:xfrm>
            <a:prstGeom prst="rect">
              <a:avLst/>
            </a:prstGeom>
          </p:spPr>
        </p:pic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EE86AFA1-0C01-1D45-B393-A7B36DC10AE4}"/>
                </a:ext>
              </a:extLst>
            </p:cNvPr>
            <p:cNvSpPr txBox="1"/>
            <p:nvPr userDrawn="1"/>
          </p:nvSpPr>
          <p:spPr>
            <a:xfrm>
              <a:off x="9716735" y="7680749"/>
              <a:ext cx="2422981" cy="373948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101204" lvl="1" indent="-98822" algn="l" defTabSz="6858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225"/>
                </a:spcAft>
                <a:buFont typeface="Wingdings" pitchFamily="2" charset="2"/>
                <a:buChar char="§"/>
                <a:tabLst/>
                <a:defRPr/>
              </a:pPr>
              <a: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Deleting the image may bring the image placeholder to the top layer. Right-click on the placeholder and choose “Send to Back”.</a:t>
              </a: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B69B0D5D-8E81-F645-BCC8-64447E84902A}"/>
                </a:ext>
              </a:extLst>
            </p:cNvPr>
            <p:cNvSpPr txBox="1"/>
            <p:nvPr userDrawn="1"/>
          </p:nvSpPr>
          <p:spPr>
            <a:xfrm>
              <a:off x="9716735" y="7361905"/>
              <a:ext cx="2422981" cy="2769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0" algn="l" defTabSz="685800" rtl="0" eaLnBrk="1" latinLnBrk="0" hangingPunct="1">
                <a:spcBef>
                  <a:spcPts val="150"/>
                </a:spcBef>
              </a:pPr>
              <a: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First, delete the existing image to reset the photo placeholder functionality.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EFADA951-D7D8-B14D-82B0-66F3604EF11D}"/>
                </a:ext>
              </a:extLst>
            </p:cNvPr>
            <p:cNvSpPr txBox="1"/>
            <p:nvPr userDrawn="1"/>
          </p:nvSpPr>
          <p:spPr>
            <a:xfrm>
              <a:off x="9716735" y="8130426"/>
              <a:ext cx="2422981" cy="138500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0" algn="l" defTabSz="685800" rtl="0" eaLnBrk="1" latinLnBrk="0" hangingPunct="1">
                <a:spcBef>
                  <a:spcPts val="150"/>
                </a:spcBef>
              </a:pPr>
              <a: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You can now add a new image as normal.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1C6A9EE0-3F9B-9141-804D-7B7B3100D2F8}"/>
                </a:ext>
              </a:extLst>
            </p:cNvPr>
            <p:cNvSpPr/>
            <p:nvPr userDrawn="1"/>
          </p:nvSpPr>
          <p:spPr>
            <a:xfrm>
              <a:off x="9541497" y="5615310"/>
              <a:ext cx="2735151" cy="1280928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/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F6EBC34F-18CE-E54E-9812-7C5701913234}"/>
                </a:ext>
              </a:extLst>
            </p:cNvPr>
            <p:cNvSpPr txBox="1"/>
            <p:nvPr userDrawn="1"/>
          </p:nvSpPr>
          <p:spPr>
            <a:xfrm>
              <a:off x="9907688" y="5744109"/>
              <a:ext cx="2368960" cy="169277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algn="l"/>
              <a:r>
                <a:rPr lang="en-US" sz="8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IP: Crop Image</a:t>
              </a:r>
            </a:p>
          </p:txBody>
        </p:sp>
        <p:pic>
          <p:nvPicPr>
            <p:cNvPr id="55" name="Graphic 54">
              <a:extLst>
                <a:ext uri="{FF2B5EF4-FFF2-40B4-BE49-F238E27FC236}">
                  <a16:creationId xmlns:a16="http://schemas.microsoft.com/office/drawing/2014/main" id="{911FC2BF-E4F0-7447-8543-FE7B8063A27B}"/>
                </a:ext>
              </a:extLst>
            </p:cNvPr>
            <p:cNvPicPr>
              <a:picLocks noChangeAspect="1"/>
            </p:cNvPicPr>
            <p:nvPr userDrawn="1"/>
          </p:nvPicPr>
          <p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701720" y="5754392"/>
              <a:ext cx="155227" cy="155227"/>
            </a:xfrm>
            <a:prstGeom prst="rect">
              <a:avLst/>
            </a:prstGeom>
          </p:spPr>
        </p:pic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7A713D6E-1306-BD46-9022-2EEA5CF4E52C}"/>
                </a:ext>
              </a:extLst>
            </p:cNvPr>
            <p:cNvSpPr txBox="1"/>
            <p:nvPr userDrawn="1"/>
          </p:nvSpPr>
          <p:spPr>
            <a:xfrm>
              <a:off x="9701720" y="6008293"/>
              <a:ext cx="2384904" cy="77713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1">
                <a:defRPr/>
              </a:pPr>
              <a: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Right-click on the image.</a:t>
              </a:r>
            </a:p>
            <a:p>
              <a:pPr lvl="1">
                <a:defRPr/>
              </a:pPr>
              <a: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Choose “Crop” from the menu. (       )</a:t>
              </a:r>
            </a:p>
            <a:p>
              <a:pPr lvl="1">
                <a:defRPr/>
              </a:pPr>
              <a: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Adjust the size and position of the image.</a:t>
              </a:r>
            </a:p>
            <a:p>
              <a:pPr lvl="1">
                <a:defRPr/>
              </a:pPr>
              <a: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Press Esc or click outside the image area to exit the cropping mode.</a:t>
              </a:r>
            </a:p>
          </p:txBody>
        </p:sp>
        <p:pic>
          <p:nvPicPr>
            <p:cNvPr id="57" name="Picture 56">
              <a:extLst>
                <a:ext uri="{FF2B5EF4-FFF2-40B4-BE49-F238E27FC236}">
                  <a16:creationId xmlns:a16="http://schemas.microsoft.com/office/drawing/2014/main" id="{D30E2C41-A0A4-C34F-BD05-3F5C3C56ACC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/>
            <a:srcRect l="33684" t="12097" r="43371" b="20368"/>
            <a:stretch/>
          </p:blipFill>
          <p:spPr>
            <a:xfrm>
              <a:off x="11498723" y="6092726"/>
              <a:ext cx="136897" cy="213643"/>
            </a:xfrm>
            <a:prstGeom prst="rect">
              <a:avLst/>
            </a:prstGeom>
            <a:ln w="19050">
              <a:solidFill>
                <a:schemeClr val="accent3">
                  <a:lumMod val="60000"/>
                  <a:lumOff val="40000"/>
                </a:schemeClr>
              </a:solidFill>
            </a:ln>
          </p:spPr>
        </p:pic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6FE6E364-A45B-B842-AD58-20FEF7E057A3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9521833" y="4213416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375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1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9B2852C9-AD22-FD42-B207-3FA60EC80EE1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9521833" y="4538160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375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2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2B3D3979-13E7-BE49-84DE-225A4B2C314C}"/>
                </a:ext>
              </a:extLst>
            </p:cNvPr>
            <p:cNvSpPr txBox="1"/>
            <p:nvPr userDrawn="1"/>
          </p:nvSpPr>
          <p:spPr>
            <a:xfrm>
              <a:off x="9686426" y="4188389"/>
              <a:ext cx="2453290" cy="16166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sz="788"/>
                <a:t>Add the photos to the placeholders.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D96C0231-DDB2-674E-BA33-8934B6975490}"/>
                </a:ext>
              </a:extLst>
            </p:cNvPr>
            <p:cNvSpPr txBox="1"/>
            <p:nvPr userDrawn="1"/>
          </p:nvSpPr>
          <p:spPr>
            <a:xfrm>
              <a:off x="9686425" y="4503349"/>
              <a:ext cx="1468453" cy="958724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sz="788"/>
                <a:t>Crop the headshots so that they match:</a:t>
              </a:r>
            </a:p>
            <a:p>
              <a:pPr lvl="1"/>
              <a:r>
                <a:rPr lang="en-US" sz="675"/>
                <a:t>Heads are the same size and relative position</a:t>
              </a:r>
            </a:p>
            <a:p>
              <a:pPr marL="101204" marR="0" lvl="1" indent="-98822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225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lang="en-US" sz="675"/>
                <a:t>The entire head is visible</a:t>
              </a:r>
            </a:p>
            <a:p>
              <a:pPr lvl="1"/>
              <a:r>
                <a:rPr lang="en-US" sz="675"/>
                <a:t>Shoulders are visible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34261B0B-0443-2947-86D5-57D446CA022B}"/>
                </a:ext>
              </a:extLst>
            </p:cNvPr>
            <p:cNvSpPr/>
            <p:nvPr userDrawn="1"/>
          </p:nvSpPr>
          <p:spPr>
            <a:xfrm>
              <a:off x="9541497" y="1981952"/>
              <a:ext cx="2735151" cy="1739504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/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99B54DFE-A2F3-C645-9D97-EECBE782E039}"/>
                </a:ext>
              </a:extLst>
            </p:cNvPr>
            <p:cNvSpPr txBox="1"/>
            <p:nvPr userDrawn="1"/>
          </p:nvSpPr>
          <p:spPr>
            <a:xfrm>
              <a:off x="9907688" y="2110751"/>
              <a:ext cx="2368960" cy="169277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algn="l"/>
              <a:r>
                <a:rPr lang="en-US" sz="8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IP: Undo Hyperlink</a:t>
              </a:r>
            </a:p>
          </p:txBody>
        </p:sp>
        <p:pic>
          <p:nvPicPr>
            <p:cNvPr id="42" name="Graphic 41">
              <a:extLst>
                <a:ext uri="{FF2B5EF4-FFF2-40B4-BE49-F238E27FC236}">
                  <a16:creationId xmlns:a16="http://schemas.microsoft.com/office/drawing/2014/main" id="{78A98A1A-F2C6-8B4A-B922-D0F44DD6FD1F}"/>
                </a:ext>
              </a:extLst>
            </p:cNvPr>
            <p:cNvPicPr>
              <a:picLocks noChangeAspect="1"/>
            </p:cNvPicPr>
            <p:nvPr userDrawn="1"/>
          </p:nvPicPr>
          <p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701720" y="2121034"/>
              <a:ext cx="155227" cy="155227"/>
            </a:xfrm>
            <a:prstGeom prst="rect">
              <a:avLst/>
            </a:prstGeom>
          </p:spPr>
        </p:pic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C1821284-7515-6645-AD56-2112AB09410E}"/>
                </a:ext>
              </a:extLst>
            </p:cNvPr>
            <p:cNvSpPr txBox="1"/>
            <p:nvPr userDrawn="1"/>
          </p:nvSpPr>
          <p:spPr>
            <a:xfrm>
              <a:off x="9701720" y="2736189"/>
              <a:ext cx="2384904" cy="2492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1">
                <a:defRPr/>
              </a:pPr>
              <a: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As soon as the hyperlink formatting appears, Undo once to remove the format.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73339CCA-9476-8145-AA5E-4BF66FED48CC}"/>
                </a:ext>
              </a:extLst>
            </p:cNvPr>
            <p:cNvSpPr txBox="1"/>
            <p:nvPr userDrawn="1"/>
          </p:nvSpPr>
          <p:spPr>
            <a:xfrm>
              <a:off x="9694938" y="2378701"/>
              <a:ext cx="2422981" cy="2769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0" algn="l" defTabSz="685800" rtl="0" eaLnBrk="1" latinLnBrk="0" hangingPunct="1">
                <a:spcBef>
                  <a:spcPts val="150"/>
                </a:spcBef>
              </a:pPr>
              <a: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Typing an email address into the contact info will automatically create a hyperlink.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D59F6E3B-D6C3-5046-821A-B0958EABAE66}"/>
                </a:ext>
              </a:extLst>
            </p:cNvPr>
            <p:cNvSpPr txBox="1"/>
            <p:nvPr userDrawn="1"/>
          </p:nvSpPr>
          <p:spPr>
            <a:xfrm>
              <a:off x="9830981" y="3018869"/>
              <a:ext cx="2374733" cy="10772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525">
                  <a:solidFill>
                    <a:schemeClr val="bg1">
                      <a:lumMod val="65000"/>
                    </a:schemeClr>
                  </a:solidFill>
                </a:rPr>
                <a:t>You can use CTRL+Z or the menu button.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BB5D2460-8792-4C47-8772-D09B0975E99A}"/>
                </a:ext>
              </a:extLst>
            </p:cNvPr>
            <p:cNvSpPr txBox="1"/>
            <p:nvPr userDrawn="1"/>
          </p:nvSpPr>
          <p:spPr>
            <a:xfrm>
              <a:off x="9701720" y="3193389"/>
              <a:ext cx="2384904" cy="373948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1">
                <a:defRPr/>
              </a:pPr>
              <a: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To remove an pre-existing hyperlink, </a:t>
              </a:r>
              <a:b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</a:br>
              <a: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right click on the hyperlink and choose “Remove Link” (                 )</a:t>
              </a:r>
            </a:p>
          </p:txBody>
        </p:sp>
        <p:pic>
          <p:nvPicPr>
            <p:cNvPr id="47" name="Picture 46">
              <a:extLst>
                <a:ext uri="{FF2B5EF4-FFF2-40B4-BE49-F238E27FC236}">
                  <a16:creationId xmlns:a16="http://schemas.microsoft.com/office/drawing/2014/main" id="{2024B849-BE34-3D47-836E-F64027EBFFB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/>
            <a:srcRect l="4852" t="17138" r="10283" b="11792"/>
            <a:stretch/>
          </p:blipFill>
          <p:spPr>
            <a:xfrm>
              <a:off x="10676602" y="3460165"/>
              <a:ext cx="478277" cy="101726"/>
            </a:xfrm>
            <a:prstGeom prst="rect">
              <a:avLst/>
            </a:prstGeom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52FE0A6A-07E7-D846-9A21-107CEEAD3B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11251841" y="4562988"/>
              <a:ext cx="849028" cy="849028"/>
            </a:xfrm>
            <a:prstGeom prst="rect">
              <a:avLst/>
            </a:prstGeom>
          </p:spPr>
        </p:pic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4348059E-F311-3E49-929C-68406361B611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1670329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sz="825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6D32AA4D-A813-B740-8E61-D74D604CEE5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9230EF6E-C845-D64E-BC72-F37EFCE9B7D8}"/>
              </a:ext>
            </a:extLst>
          </p:cNvPr>
          <p:cNvGrpSpPr/>
          <p:nvPr userDrawn="1"/>
        </p:nvGrpSpPr>
        <p:grpSpPr>
          <a:xfrm>
            <a:off x="431241" y="-185200"/>
            <a:ext cx="8280400" cy="5510478"/>
            <a:chOff x="431240" y="-246933"/>
            <a:chExt cx="8280400" cy="7347304"/>
          </a:xfrm>
        </p:grpSpPr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7B5DBABC-D043-5F48-AA9E-590EFDB7EE71}"/>
                </a:ext>
              </a:extLst>
            </p:cNvPr>
            <p:cNvGrpSpPr/>
            <p:nvPr userDrawn="1"/>
          </p:nvGrpSpPr>
          <p:grpSpPr>
            <a:xfrm>
              <a:off x="431242" y="6864579"/>
              <a:ext cx="8280398" cy="235792"/>
              <a:chOff x="431801" y="-235792"/>
              <a:chExt cx="4400550" cy="235792"/>
            </a:xfrm>
          </p:grpSpPr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A5D4D379-3F76-B448-9498-84AB6A27E0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DEF8E035-72A9-FE47-AC59-8D6A909E08E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3486BB88-F072-2D44-AF2B-06DF2812AAA9}"/>
                </a:ext>
              </a:extLst>
            </p:cNvPr>
            <p:cNvGrpSpPr/>
            <p:nvPr userDrawn="1"/>
          </p:nvGrpSpPr>
          <p:grpSpPr>
            <a:xfrm>
              <a:off x="431240" y="-246933"/>
              <a:ext cx="8280400" cy="235792"/>
              <a:chOff x="431800" y="-240735"/>
              <a:chExt cx="8280400" cy="235792"/>
            </a:xfrm>
          </p:grpSpPr>
          <p:grpSp>
            <p:nvGrpSpPr>
              <p:cNvPr id="87" name="Group 86">
                <a:extLst>
                  <a:ext uri="{FF2B5EF4-FFF2-40B4-BE49-F238E27FC236}">
                    <a16:creationId xmlns:a16="http://schemas.microsoft.com/office/drawing/2014/main" id="{51F1AA18-8D70-B74C-9039-62189A303501}"/>
                  </a:ext>
                </a:extLst>
              </p:cNvPr>
              <p:cNvGrpSpPr/>
              <p:nvPr userDrawn="1"/>
            </p:nvGrpSpPr>
            <p:grpSpPr>
              <a:xfrm>
                <a:off x="431800" y="-240735"/>
                <a:ext cx="8280400" cy="235792"/>
                <a:chOff x="431800" y="-235792"/>
                <a:chExt cx="4400551" cy="235792"/>
              </a:xfrm>
            </p:grpSpPr>
            <p:cxnSp>
              <p:nvCxnSpPr>
                <p:cNvPr id="91" name="Straight Connector 90">
                  <a:extLst>
                    <a:ext uri="{FF2B5EF4-FFF2-40B4-BE49-F238E27FC236}">
                      <a16:creationId xmlns:a16="http://schemas.microsoft.com/office/drawing/2014/main" id="{55FEC584-665C-7545-84C6-2D2E1D2C0185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" name="Straight Connector 91">
                  <a:extLst>
                    <a:ext uri="{FF2B5EF4-FFF2-40B4-BE49-F238E27FC236}">
                      <a16:creationId xmlns:a16="http://schemas.microsoft.com/office/drawing/2014/main" id="{2C5C3A87-06AD-2C4F-9DC4-6000A647C55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3" name="Rectangle 92">
                  <a:extLst>
                    <a:ext uri="{FF2B5EF4-FFF2-40B4-BE49-F238E27FC236}">
                      <a16:creationId xmlns:a16="http://schemas.microsoft.com/office/drawing/2014/main" id="{281582EA-F393-1147-828A-D50AB16A9909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</p:grpSp>
          <p:sp>
            <p:nvSpPr>
              <p:cNvPr id="88" name="TextBox 87">
                <a:extLst>
                  <a:ext uri="{FF2B5EF4-FFF2-40B4-BE49-F238E27FC236}">
                    <a16:creationId xmlns:a16="http://schemas.microsoft.com/office/drawing/2014/main" id="{BACC31F5-D05D-4A41-B49F-42A54E4620F2}"/>
                  </a:ext>
                </a:extLst>
              </p:cNvPr>
              <p:cNvSpPr txBox="1"/>
              <p:nvPr userDrawn="1"/>
            </p:nvSpPr>
            <p:spPr>
              <a:xfrm>
                <a:off x="3883466" y="-176700"/>
                <a:ext cx="1377081" cy="107721"/>
              </a:xfrm>
              <a:prstGeom prst="rect">
                <a:avLst/>
              </a:prstGeom>
            </p:spPr>
            <p:txBody>
              <a:bodyPr vert="horz" wrap="none" lIns="108000" tIns="0" rIns="108000" bIns="0" rtlCol="0" anchor="ctr">
                <a:spAutoFit/>
              </a:bodyPr>
              <a:lstStyle/>
              <a:p>
                <a:pPr algn="ctr"/>
                <a:r>
                  <a:rPr lang="en-US" sz="5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KEEP CONTENT WITHIN THIS AREA</a:t>
                </a:r>
              </a:p>
            </p:txBody>
          </p:sp>
          <p:cxnSp>
            <p:nvCxnSpPr>
              <p:cNvPr id="89" name="Straight Arrow Connector 88">
                <a:extLst>
                  <a:ext uri="{FF2B5EF4-FFF2-40B4-BE49-F238E27FC236}">
                    <a16:creationId xmlns:a16="http://schemas.microsoft.com/office/drawing/2014/main" id="{405C5C4B-BD92-D543-9EAC-B93AFF2A9CB7}"/>
                  </a:ext>
                </a:extLst>
              </p:cNvPr>
              <p:cNvCxnSpPr>
                <a:cxnSpLocks/>
                <a:stCxn id="88" idx="1"/>
                <a:endCxn id="93" idx="2"/>
              </p:cNvCxnSpPr>
              <p:nvPr userDrawn="1"/>
            </p:nvCxnSpPr>
            <p:spPr>
              <a:xfrm flipH="1">
                <a:off x="431800" y="-122839"/>
                <a:ext cx="3451666" cy="1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Arrow Connector 89">
                <a:extLst>
                  <a:ext uri="{FF2B5EF4-FFF2-40B4-BE49-F238E27FC236}">
                    <a16:creationId xmlns:a16="http://schemas.microsoft.com/office/drawing/2014/main" id="{BCA96D44-28E2-B847-9649-7F42CD53BA49}"/>
                  </a:ext>
                </a:extLst>
              </p:cNvPr>
              <p:cNvCxnSpPr>
                <a:cxnSpLocks/>
                <a:stCxn id="88" idx="3"/>
                <a:endCxn id="93" idx="0"/>
              </p:cNvCxnSpPr>
              <p:nvPr userDrawn="1"/>
            </p:nvCxnSpPr>
            <p:spPr>
              <a:xfrm>
                <a:off x="5260547" y="-122839"/>
                <a:ext cx="3451653" cy="0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68983283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(2 Headshots, Int.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51CCCAA-D40E-B44E-A126-920CC95387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1802049"/>
            <a:ext cx="8280400" cy="69218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thank-you message</a:t>
            </a: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3BFD17EA-819F-DD45-8311-F838F6249E1A}"/>
              </a:ext>
            </a:extLst>
          </p:cNvPr>
          <p:cNvSpPr/>
          <p:nvPr userDrawn="1"/>
        </p:nvSpPr>
        <p:spPr>
          <a:xfrm flipH="1">
            <a:off x="0" y="4522171"/>
            <a:ext cx="6781322" cy="320579"/>
          </a:xfrm>
          <a:custGeom>
            <a:avLst/>
            <a:gdLst>
              <a:gd name="connsiteX0" fmla="*/ 6781322 w 6781322"/>
              <a:gd name="connsiteY0" fmla="*/ 0 h 427439"/>
              <a:gd name="connsiteX1" fmla="*/ 6376846 w 6781322"/>
              <a:gd name="connsiteY1" fmla="*/ 0 h 427439"/>
              <a:gd name="connsiteX2" fmla="*/ 607317 w 6781322"/>
              <a:gd name="connsiteY2" fmla="*/ 0 h 427439"/>
              <a:gd name="connsiteX3" fmla="*/ 202841 w 6781322"/>
              <a:gd name="connsiteY3" fmla="*/ 0 h 427439"/>
              <a:gd name="connsiteX4" fmla="*/ 0 w 6781322"/>
              <a:gd name="connsiteY4" fmla="*/ 427439 h 427439"/>
              <a:gd name="connsiteX5" fmla="*/ 404476 w 6781322"/>
              <a:gd name="connsiteY5" fmla="*/ 427439 h 427439"/>
              <a:gd name="connsiteX6" fmla="*/ 6376846 w 6781322"/>
              <a:gd name="connsiteY6" fmla="*/ 427439 h 427439"/>
              <a:gd name="connsiteX7" fmla="*/ 6781322 w 6781322"/>
              <a:gd name="connsiteY7" fmla="*/ 427439 h 427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81322" h="427439">
                <a:moveTo>
                  <a:pt x="6781322" y="0"/>
                </a:moveTo>
                <a:lnTo>
                  <a:pt x="6376846" y="0"/>
                </a:lnTo>
                <a:lnTo>
                  <a:pt x="607317" y="0"/>
                </a:lnTo>
                <a:lnTo>
                  <a:pt x="202841" y="0"/>
                </a:lnTo>
                <a:lnTo>
                  <a:pt x="0" y="427439"/>
                </a:lnTo>
                <a:lnTo>
                  <a:pt x="404476" y="427439"/>
                </a:lnTo>
                <a:lnTo>
                  <a:pt x="6376846" y="427439"/>
                </a:lnTo>
                <a:lnTo>
                  <a:pt x="6781322" y="42743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105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29E5FF7-98BC-884F-840D-5E423F4AF849}"/>
              </a:ext>
            </a:extLst>
          </p:cNvPr>
          <p:cNvGrpSpPr/>
          <p:nvPr userDrawn="1"/>
        </p:nvGrpSpPr>
        <p:grpSpPr>
          <a:xfrm>
            <a:off x="-256964" y="1857800"/>
            <a:ext cx="251461" cy="590721"/>
            <a:chOff x="-256404" y="360363"/>
            <a:chExt cx="251461" cy="692152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3CE00DE3-4AF7-8F42-A200-B6BF002E43AF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11" name="Straight Connector 10">
                <a:extLst>
                  <a:ext uri="{FF2B5EF4-FFF2-40B4-BE49-F238E27FC236}">
                    <a16:creationId xmlns:a16="http://schemas.microsoft.com/office/drawing/2014/main" id="{662AF22C-7AFC-C247-A004-09523187568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12">
                <a:extLst>
                  <a:ext uri="{FF2B5EF4-FFF2-40B4-BE49-F238E27FC236}">
                    <a16:creationId xmlns:a16="http://schemas.microsoft.com/office/drawing/2014/main" id="{5DC57299-371A-5D49-B7E8-080D3F8E77D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2C4E3FC2-9801-F941-A31F-83FA02AAD46F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A420265-8660-8D47-879D-AE5074C73B4B}"/>
                </a:ext>
              </a:extLst>
            </p:cNvPr>
            <p:cNvSpPr txBox="1"/>
            <p:nvPr userDrawn="1"/>
          </p:nvSpPr>
          <p:spPr>
            <a:xfrm rot="16200000">
              <a:off x="-360755" y="622269"/>
              <a:ext cx="460172" cy="161583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HANK YOU</a:t>
              </a:r>
              <a:b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MESSAGE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8244616-2BA8-434E-A138-B2D5956D9EE1}"/>
              </a:ext>
            </a:extLst>
          </p:cNvPr>
          <p:cNvGrpSpPr/>
          <p:nvPr userDrawn="1"/>
        </p:nvGrpSpPr>
        <p:grpSpPr>
          <a:xfrm>
            <a:off x="-256964" y="2716972"/>
            <a:ext cx="251461" cy="1130110"/>
            <a:chOff x="-256404" y="360363"/>
            <a:chExt cx="251461" cy="692152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09CBFCC-B5CB-D24E-8728-2AAEE959FF6E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977E976A-5E64-D14B-BA4C-4F26EF696B7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100263B3-BEFA-F84D-A346-488994B5061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0D5E94FD-3E4F-7A4D-8F85-338D20425FB9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</p:grp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1C137DA0-E7A0-8348-964C-0094E9A21AD9}"/>
                </a:ext>
              </a:extLst>
            </p:cNvPr>
            <p:cNvSpPr txBox="1"/>
            <p:nvPr userDrawn="1"/>
          </p:nvSpPr>
          <p:spPr>
            <a:xfrm rot="16200000">
              <a:off x="-285789" y="662666"/>
              <a:ext cx="310243" cy="80791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CONTACT INFO</a:t>
              </a:r>
            </a:p>
          </p:txBody>
        </p:sp>
      </p:grpSp>
      <p:pic>
        <p:nvPicPr>
          <p:cNvPr id="24" name="Graphic 23">
            <a:extLst>
              <a:ext uri="{FF2B5EF4-FFF2-40B4-BE49-F238E27FC236}">
                <a16:creationId xmlns:a16="http://schemas.microsoft.com/office/drawing/2014/main" id="{A51D81C6-D41D-9C48-B9F1-95BFC2FEC10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6724098" y="4474686"/>
            <a:ext cx="2151409" cy="416402"/>
          </a:xfrm>
          <a:prstGeom prst="rect">
            <a:avLst/>
          </a:prstGeom>
        </p:spPr>
      </p:pic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8D9716CF-B3CC-9749-B8D6-4D1852A6219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46853" y="2703111"/>
            <a:ext cx="2301461" cy="11572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noAutofit/>
          </a:bodyPr>
          <a:lstStyle>
            <a:lvl1pPr marL="15479" indent="0">
              <a:spcAft>
                <a:spcPts val="225"/>
              </a:spcAft>
              <a:buNone/>
              <a:tabLst/>
              <a:defRPr sz="1050" b="1">
                <a:solidFill>
                  <a:schemeClr val="accent1"/>
                </a:solidFill>
              </a:defRPr>
            </a:lvl1pPr>
            <a:lvl2pPr marL="15479" indent="0">
              <a:spcAft>
                <a:spcPts val="150"/>
              </a:spcAft>
              <a:buNone/>
              <a:tabLst/>
              <a:defRPr sz="1050">
                <a:solidFill>
                  <a:schemeClr val="tx1"/>
                </a:solidFill>
              </a:defRPr>
            </a:lvl2pPr>
            <a:lvl3pPr marL="15479" indent="0">
              <a:spcAft>
                <a:spcPts val="150"/>
              </a:spcAft>
              <a:buFont typeface="Wingdings" pitchFamily="2" charset="2"/>
              <a:buNone/>
              <a:tabLst/>
              <a:defRPr sz="1050">
                <a:solidFill>
                  <a:schemeClr val="tx1"/>
                </a:solidFill>
              </a:defRPr>
            </a:lvl3pPr>
            <a:lvl4pPr marL="15479" indent="0">
              <a:spcAft>
                <a:spcPts val="150"/>
              </a:spcAft>
              <a:buFont typeface="System Font Regular"/>
              <a:buNone/>
              <a:tabLst/>
              <a:defRPr sz="1050">
                <a:solidFill>
                  <a:schemeClr val="tx1"/>
                </a:solidFill>
              </a:defRPr>
            </a:lvl4pPr>
            <a:lvl5pPr marL="15479" indent="0">
              <a:spcAft>
                <a:spcPts val="150"/>
              </a:spcAft>
              <a:buNone/>
              <a:tabLst/>
              <a:defRPr sz="1050">
                <a:solidFill>
                  <a:schemeClr val="tx1"/>
                </a:solidFill>
              </a:defRPr>
            </a:lvl5pPr>
            <a:lvl6pPr marL="15479" indent="0">
              <a:buNone/>
              <a:tabLst/>
              <a:defRPr/>
            </a:lvl6pPr>
            <a:lvl7pPr marL="15479" indent="0">
              <a:buNone/>
              <a:tabLst/>
              <a:defRPr/>
            </a:lvl7pPr>
            <a:lvl8pPr marL="15479" indent="0">
              <a:buNone/>
              <a:tabLst/>
              <a:defRPr/>
            </a:lvl8pPr>
            <a:lvl9pPr marL="15479" indent="0">
              <a:buNone/>
              <a:tabLst/>
              <a:defRPr/>
            </a:lvl9pPr>
          </a:lstStyle>
          <a:p>
            <a:pPr lvl="0"/>
            <a:r>
              <a:rPr lang="en-US"/>
              <a:t>Click to add contact information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AC91DC8D-5748-6C4F-BAA3-A949A24C8EF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10740" y="2703111"/>
            <a:ext cx="2301461" cy="11572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noAutofit/>
          </a:bodyPr>
          <a:lstStyle>
            <a:lvl1pPr marL="15479" indent="0">
              <a:spcAft>
                <a:spcPts val="225"/>
              </a:spcAft>
              <a:buNone/>
              <a:tabLst/>
              <a:defRPr sz="1050" b="1">
                <a:solidFill>
                  <a:schemeClr val="accent1"/>
                </a:solidFill>
              </a:defRPr>
            </a:lvl1pPr>
            <a:lvl2pPr marL="15479" indent="0">
              <a:spcAft>
                <a:spcPts val="150"/>
              </a:spcAft>
              <a:buNone/>
              <a:tabLst/>
              <a:defRPr sz="1050">
                <a:solidFill>
                  <a:schemeClr val="tx1"/>
                </a:solidFill>
              </a:defRPr>
            </a:lvl2pPr>
            <a:lvl3pPr marL="15479" indent="0">
              <a:spcAft>
                <a:spcPts val="150"/>
              </a:spcAft>
              <a:buFont typeface="Wingdings" pitchFamily="2" charset="2"/>
              <a:buNone/>
              <a:tabLst/>
              <a:defRPr sz="1050">
                <a:solidFill>
                  <a:schemeClr val="tx1"/>
                </a:solidFill>
              </a:defRPr>
            </a:lvl3pPr>
            <a:lvl4pPr marL="15479" indent="0">
              <a:spcAft>
                <a:spcPts val="150"/>
              </a:spcAft>
              <a:buFont typeface="System Font Regular"/>
              <a:buNone/>
              <a:tabLst/>
              <a:defRPr sz="1050">
                <a:solidFill>
                  <a:schemeClr val="tx1"/>
                </a:solidFill>
              </a:defRPr>
            </a:lvl4pPr>
            <a:lvl5pPr marL="15479" indent="0">
              <a:spcAft>
                <a:spcPts val="150"/>
              </a:spcAft>
              <a:buNone/>
              <a:tabLst/>
              <a:defRPr sz="1050">
                <a:solidFill>
                  <a:schemeClr val="tx1"/>
                </a:solidFill>
              </a:defRPr>
            </a:lvl5pPr>
            <a:lvl6pPr marL="15479" indent="0">
              <a:buNone/>
              <a:tabLst/>
              <a:defRPr/>
            </a:lvl6pPr>
            <a:lvl7pPr marL="15479" indent="0">
              <a:buNone/>
              <a:tabLst/>
              <a:defRPr/>
            </a:lvl7pPr>
            <a:lvl8pPr marL="15479" indent="0">
              <a:buNone/>
              <a:tabLst/>
              <a:defRPr/>
            </a:lvl8pPr>
            <a:lvl9pPr marL="15479" indent="0">
              <a:buNone/>
              <a:tabLst/>
              <a:defRPr/>
            </a:lvl9pPr>
          </a:lstStyle>
          <a:p>
            <a:pPr lvl="0"/>
            <a:r>
              <a:rPr lang="en-US"/>
              <a:t>Click to add contact information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0216EB2D-59F4-FD47-931E-E02AB99C268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1800" y="2702719"/>
            <a:ext cx="1543050" cy="1157288"/>
          </a:xfrm>
          <a:prstGeom prst="rect">
            <a:avLst/>
          </a:prstGeom>
          <a:solidFill>
            <a:schemeClr val="accent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headshot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97F05825-72C9-7043-8C8F-2226D2DE63D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695687" y="2702719"/>
            <a:ext cx="1543050" cy="1157288"/>
          </a:xfrm>
          <a:prstGeom prst="rect">
            <a:avLst/>
          </a:prstGeom>
          <a:solidFill>
            <a:schemeClr val="accent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headshot</a:t>
            </a: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2FBAFDC7-47DA-9C4A-816F-E85B56A431AE}"/>
              </a:ext>
            </a:extLst>
          </p:cNvPr>
          <p:cNvGrpSpPr/>
          <p:nvPr userDrawn="1"/>
        </p:nvGrpSpPr>
        <p:grpSpPr>
          <a:xfrm>
            <a:off x="9399183" y="-1"/>
            <a:ext cx="2961715" cy="6287462"/>
            <a:chOff x="9399182" y="-1"/>
            <a:chExt cx="2961715" cy="8383282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A7A2DDC7-CEC7-FF41-8438-335E93560D63}"/>
                </a:ext>
              </a:extLst>
            </p:cNvPr>
            <p:cNvSpPr/>
            <p:nvPr userDrawn="1"/>
          </p:nvSpPr>
          <p:spPr>
            <a:xfrm>
              <a:off x="9399182" y="-1"/>
              <a:ext cx="2798651" cy="822960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050"/>
            </a:p>
          </p:txBody>
        </p:sp>
        <p:pic>
          <p:nvPicPr>
            <p:cNvPr id="72" name="Picture 71">
              <a:extLst>
                <a:ext uri="{FF2B5EF4-FFF2-40B4-BE49-F238E27FC236}">
                  <a16:creationId xmlns:a16="http://schemas.microsoft.com/office/drawing/2014/main" id="{3D54E816-A47F-9749-8EC0-C0EC180FF76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r="44907"/>
            <a:stretch/>
          </p:blipFill>
          <p:spPr>
            <a:xfrm>
              <a:off x="9558505" y="1326787"/>
              <a:ext cx="2639326" cy="517021"/>
            </a:xfrm>
            <a:prstGeom prst="rect">
              <a:avLst/>
            </a:prstGeom>
          </p:spPr>
        </p:pic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0ABBEEBD-B580-2448-9DEE-78136FA2421D}"/>
                </a:ext>
              </a:extLst>
            </p:cNvPr>
            <p:cNvSpPr txBox="1"/>
            <p:nvPr userDrawn="1"/>
          </p:nvSpPr>
          <p:spPr>
            <a:xfrm>
              <a:off x="9558507" y="3863269"/>
              <a:ext cx="1614224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sz="825">
                  <a:solidFill>
                    <a:schemeClr val="bg1"/>
                  </a:solidFill>
                </a:rPr>
                <a:t>TIPS FOR ADDING HEADSHOTS</a:t>
              </a:r>
            </a:p>
          </p:txBody>
        </p: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23269366-0820-BA46-81B5-20DC9631FC5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4065886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049CD1A0-1933-B347-9CB4-36408A1C9217}"/>
                </a:ext>
              </a:extLst>
            </p:cNvPr>
            <p:cNvSpPr/>
            <p:nvPr userDrawn="1"/>
          </p:nvSpPr>
          <p:spPr>
            <a:xfrm>
              <a:off x="9541497" y="162442"/>
              <a:ext cx="2819400" cy="814510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/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5FD3FB48-94EB-1B4E-81F7-1FE45EDD3C39}"/>
                </a:ext>
              </a:extLst>
            </p:cNvPr>
            <p:cNvSpPr txBox="1"/>
            <p:nvPr userDrawn="1"/>
          </p:nvSpPr>
          <p:spPr>
            <a:xfrm>
              <a:off x="10147060" y="306442"/>
              <a:ext cx="2129588" cy="50783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algn="l"/>
              <a:r>
                <a:rPr lang="en-US" sz="8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Access programmed text formats by using the ‘Indent More’ button to change the indent level.</a:t>
              </a:r>
            </a:p>
          </p:txBody>
        </p:sp>
        <p:pic>
          <p:nvPicPr>
            <p:cNvPr id="77" name="Picture 76">
              <a:extLst>
                <a:ext uri="{FF2B5EF4-FFF2-40B4-BE49-F238E27FC236}">
                  <a16:creationId xmlns:a16="http://schemas.microsoft.com/office/drawing/2014/main" id="{E9B96E12-B99E-D44E-89CE-B8A44D18D3F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l="8882" t="5165" r="-1"/>
            <a:stretch/>
          </p:blipFill>
          <p:spPr>
            <a:xfrm>
              <a:off x="9694938" y="411250"/>
              <a:ext cx="324017" cy="289055"/>
            </a:xfrm>
            <a:prstGeom prst="roundRect">
              <a:avLst/>
            </a:prstGeom>
          </p:spPr>
        </p:pic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E3DCCE05-B8D4-1F4C-8BFF-80AE234A7349}"/>
                </a:ext>
              </a:extLst>
            </p:cNvPr>
            <p:cNvSpPr/>
            <p:nvPr userDrawn="1"/>
          </p:nvSpPr>
          <p:spPr>
            <a:xfrm>
              <a:off x="9541497" y="6971966"/>
              <a:ext cx="2735151" cy="1411315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/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0169AEC9-5839-9445-8182-C14959A558B4}"/>
                </a:ext>
              </a:extLst>
            </p:cNvPr>
            <p:cNvSpPr txBox="1"/>
            <p:nvPr userDrawn="1"/>
          </p:nvSpPr>
          <p:spPr>
            <a:xfrm>
              <a:off x="9907688" y="7100766"/>
              <a:ext cx="2368960" cy="169277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algn="l"/>
              <a:r>
                <a:rPr lang="en-US" sz="8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IP: Change Image</a:t>
              </a:r>
            </a:p>
          </p:txBody>
        </p:sp>
        <p:pic>
          <p:nvPicPr>
            <p:cNvPr id="80" name="Graphic 79">
              <a:extLst>
                <a:ext uri="{FF2B5EF4-FFF2-40B4-BE49-F238E27FC236}">
                  <a16:creationId xmlns:a16="http://schemas.microsoft.com/office/drawing/2014/main" id="{B5D3FADB-81B2-5447-A92A-F89A20223BFF}"/>
                </a:ext>
              </a:extLst>
            </p:cNvPr>
            <p:cNvPicPr>
              <a:picLocks noChangeAspect="1"/>
            </p:cNvPicPr>
            <p:nvPr userDrawn="1"/>
          </p:nvPicPr>
          <p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701720" y="7111049"/>
              <a:ext cx="155227" cy="155227"/>
            </a:xfrm>
            <a:prstGeom prst="rect">
              <a:avLst/>
            </a:prstGeom>
          </p:spPr>
        </p:pic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54E5FFD5-1A47-A54C-AB01-D7E7F47A6776}"/>
                </a:ext>
              </a:extLst>
            </p:cNvPr>
            <p:cNvSpPr txBox="1"/>
            <p:nvPr userDrawn="1"/>
          </p:nvSpPr>
          <p:spPr>
            <a:xfrm>
              <a:off x="9716735" y="7680749"/>
              <a:ext cx="2422981" cy="373948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101204" lvl="1" indent="-98822" algn="l" defTabSz="6858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225"/>
                </a:spcAft>
                <a:buFont typeface="Wingdings" pitchFamily="2" charset="2"/>
                <a:buChar char="§"/>
                <a:tabLst/>
                <a:defRPr/>
              </a:pPr>
              <a: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Deleting the image may bring the image placeholder to the top layer. Right-click on the placeholder and choose “Send to Back”.</a:t>
              </a: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BD396389-F227-194B-8487-C4FE671EBEBF}"/>
                </a:ext>
              </a:extLst>
            </p:cNvPr>
            <p:cNvSpPr txBox="1"/>
            <p:nvPr userDrawn="1"/>
          </p:nvSpPr>
          <p:spPr>
            <a:xfrm>
              <a:off x="9716735" y="7361905"/>
              <a:ext cx="2422981" cy="2769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0" algn="l" defTabSz="685800" rtl="0" eaLnBrk="1" latinLnBrk="0" hangingPunct="1">
                <a:spcBef>
                  <a:spcPts val="150"/>
                </a:spcBef>
              </a:pPr>
              <a: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First, delete the existing image to reset the photo placeholder functionality.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AD61651D-60D1-2141-97AD-456E38DCC979}"/>
                </a:ext>
              </a:extLst>
            </p:cNvPr>
            <p:cNvSpPr txBox="1"/>
            <p:nvPr userDrawn="1"/>
          </p:nvSpPr>
          <p:spPr>
            <a:xfrm>
              <a:off x="9716735" y="8130426"/>
              <a:ext cx="2422981" cy="138500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0" algn="l" defTabSz="685800" rtl="0" eaLnBrk="1" latinLnBrk="0" hangingPunct="1">
                <a:spcBef>
                  <a:spcPts val="150"/>
                </a:spcBef>
              </a:pPr>
              <a: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You can now add a new image as normal.</a:t>
              </a: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ECF4C248-85A7-1545-ADEF-643AC9D31C7D}"/>
                </a:ext>
              </a:extLst>
            </p:cNvPr>
            <p:cNvSpPr/>
            <p:nvPr userDrawn="1"/>
          </p:nvSpPr>
          <p:spPr>
            <a:xfrm>
              <a:off x="9541497" y="5615310"/>
              <a:ext cx="2735151" cy="1280928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/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01F7ED9B-4120-C24F-8900-05688AA058B6}"/>
                </a:ext>
              </a:extLst>
            </p:cNvPr>
            <p:cNvSpPr txBox="1"/>
            <p:nvPr userDrawn="1"/>
          </p:nvSpPr>
          <p:spPr>
            <a:xfrm>
              <a:off x="9907688" y="5744109"/>
              <a:ext cx="2368960" cy="169277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algn="l"/>
              <a:r>
                <a:rPr lang="en-US" sz="8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IP: Crop Image</a:t>
              </a:r>
            </a:p>
          </p:txBody>
        </p:sp>
        <p:pic>
          <p:nvPicPr>
            <p:cNvPr id="86" name="Graphic 85">
              <a:extLst>
                <a:ext uri="{FF2B5EF4-FFF2-40B4-BE49-F238E27FC236}">
                  <a16:creationId xmlns:a16="http://schemas.microsoft.com/office/drawing/2014/main" id="{C51F0AD1-C4CD-AF43-B356-01B7B3AD94C3}"/>
                </a:ext>
              </a:extLst>
            </p:cNvPr>
            <p:cNvPicPr>
              <a:picLocks noChangeAspect="1"/>
            </p:cNvPicPr>
            <p:nvPr userDrawn="1"/>
          </p:nvPicPr>
          <p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701720" y="5754392"/>
              <a:ext cx="155227" cy="155227"/>
            </a:xfrm>
            <a:prstGeom prst="rect">
              <a:avLst/>
            </a:prstGeom>
          </p:spPr>
        </p:pic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B7DC1C2B-EC3F-BA43-9A91-D3ADD23C3B7A}"/>
                </a:ext>
              </a:extLst>
            </p:cNvPr>
            <p:cNvSpPr txBox="1"/>
            <p:nvPr userDrawn="1"/>
          </p:nvSpPr>
          <p:spPr>
            <a:xfrm>
              <a:off x="9701720" y="6008293"/>
              <a:ext cx="2384904" cy="77713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1">
                <a:defRPr/>
              </a:pPr>
              <a: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Right-click on the image.</a:t>
              </a:r>
            </a:p>
            <a:p>
              <a:pPr lvl="1">
                <a:defRPr/>
              </a:pPr>
              <a: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Choose “Crop” from the menu. (       )</a:t>
              </a:r>
            </a:p>
            <a:p>
              <a:pPr lvl="1">
                <a:defRPr/>
              </a:pPr>
              <a: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Adjust the size and position of the image.</a:t>
              </a:r>
            </a:p>
            <a:p>
              <a:pPr lvl="1">
                <a:defRPr/>
              </a:pPr>
              <a: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Press Esc or click outside the image area to exit the cropping mode.</a:t>
              </a:r>
            </a:p>
          </p:txBody>
        </p:sp>
        <p:pic>
          <p:nvPicPr>
            <p:cNvPr id="88" name="Picture 87">
              <a:extLst>
                <a:ext uri="{FF2B5EF4-FFF2-40B4-BE49-F238E27FC236}">
                  <a16:creationId xmlns:a16="http://schemas.microsoft.com/office/drawing/2014/main" id="{0D9C39FB-7101-2C49-A7AF-EDE1C444F04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/>
            <a:srcRect l="33684" t="12097" r="43371" b="20368"/>
            <a:stretch/>
          </p:blipFill>
          <p:spPr>
            <a:xfrm>
              <a:off x="11498723" y="6092726"/>
              <a:ext cx="136897" cy="213643"/>
            </a:xfrm>
            <a:prstGeom prst="rect">
              <a:avLst/>
            </a:prstGeom>
            <a:ln w="19050">
              <a:solidFill>
                <a:schemeClr val="accent3">
                  <a:lumMod val="60000"/>
                  <a:lumOff val="40000"/>
                </a:schemeClr>
              </a:solidFill>
            </a:ln>
          </p:spPr>
        </p:pic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9CC55C53-92B2-C546-BE73-3BD2B881D4BF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9521833" y="4213416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375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1</a:t>
              </a: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9EEB8476-E283-6A41-84A9-A2C4E784944F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9521833" y="4538160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375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2</a:t>
              </a: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AEE411E8-9BC9-C04A-88A2-8770C3CDDD21}"/>
                </a:ext>
              </a:extLst>
            </p:cNvPr>
            <p:cNvSpPr txBox="1"/>
            <p:nvPr userDrawn="1"/>
          </p:nvSpPr>
          <p:spPr>
            <a:xfrm>
              <a:off x="9686426" y="4188389"/>
              <a:ext cx="2453290" cy="16166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sz="788"/>
                <a:t>Add the photos to the placeholders.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6F252C8B-A514-954B-BC9F-E4AF5A09F0EC}"/>
                </a:ext>
              </a:extLst>
            </p:cNvPr>
            <p:cNvSpPr txBox="1"/>
            <p:nvPr userDrawn="1"/>
          </p:nvSpPr>
          <p:spPr>
            <a:xfrm>
              <a:off x="9686425" y="4503349"/>
              <a:ext cx="1468453" cy="958724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sz="788"/>
                <a:t>Crop the headshots so that they match:</a:t>
              </a:r>
            </a:p>
            <a:p>
              <a:pPr lvl="1"/>
              <a:r>
                <a:rPr lang="en-US" sz="675"/>
                <a:t>Heads are the same size and relative position</a:t>
              </a:r>
            </a:p>
            <a:p>
              <a:pPr marL="101204" marR="0" lvl="1" indent="-98822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225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lang="en-US" sz="675"/>
                <a:t>The entire head is visible</a:t>
              </a:r>
            </a:p>
            <a:p>
              <a:pPr lvl="1"/>
              <a:r>
                <a:rPr lang="en-US" sz="675"/>
                <a:t>Shoulders are visible</a:t>
              </a:r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032BB037-EDB0-194D-9E71-040FE1867B64}"/>
                </a:ext>
              </a:extLst>
            </p:cNvPr>
            <p:cNvSpPr/>
            <p:nvPr userDrawn="1"/>
          </p:nvSpPr>
          <p:spPr>
            <a:xfrm>
              <a:off x="9541497" y="1981952"/>
              <a:ext cx="2735151" cy="1739504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/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03EA2B74-83D8-7542-91F6-476FF3AC2DC4}"/>
                </a:ext>
              </a:extLst>
            </p:cNvPr>
            <p:cNvSpPr txBox="1"/>
            <p:nvPr userDrawn="1"/>
          </p:nvSpPr>
          <p:spPr>
            <a:xfrm>
              <a:off x="9907688" y="2110751"/>
              <a:ext cx="2368960" cy="169277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algn="l"/>
              <a:r>
                <a:rPr lang="en-US" sz="8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IP: Undo Hyperlink</a:t>
              </a:r>
            </a:p>
          </p:txBody>
        </p:sp>
        <p:pic>
          <p:nvPicPr>
            <p:cNvPr id="95" name="Graphic 94">
              <a:extLst>
                <a:ext uri="{FF2B5EF4-FFF2-40B4-BE49-F238E27FC236}">
                  <a16:creationId xmlns:a16="http://schemas.microsoft.com/office/drawing/2014/main" id="{11BFA0A0-D799-E747-B082-8C9228649C09}"/>
                </a:ext>
              </a:extLst>
            </p:cNvPr>
            <p:cNvPicPr>
              <a:picLocks noChangeAspect="1"/>
            </p:cNvPicPr>
            <p:nvPr userDrawn="1"/>
          </p:nvPicPr>
          <p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701720" y="2121034"/>
              <a:ext cx="155227" cy="155227"/>
            </a:xfrm>
            <a:prstGeom prst="rect">
              <a:avLst/>
            </a:prstGeom>
          </p:spPr>
        </p:pic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B54C888B-8D9B-0F49-958D-10DF1E18C36A}"/>
                </a:ext>
              </a:extLst>
            </p:cNvPr>
            <p:cNvSpPr txBox="1"/>
            <p:nvPr userDrawn="1"/>
          </p:nvSpPr>
          <p:spPr>
            <a:xfrm>
              <a:off x="9701720" y="2736189"/>
              <a:ext cx="2384904" cy="2492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1">
                <a:defRPr/>
              </a:pPr>
              <a: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As soon as the hyperlink formatting appears, Undo once to remove the format.</a:t>
              </a: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EE7842C4-CD36-214E-8855-3F2C2B51C2CB}"/>
                </a:ext>
              </a:extLst>
            </p:cNvPr>
            <p:cNvSpPr txBox="1"/>
            <p:nvPr userDrawn="1"/>
          </p:nvSpPr>
          <p:spPr>
            <a:xfrm>
              <a:off x="9694938" y="2378701"/>
              <a:ext cx="2422981" cy="2769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0" algn="l" defTabSz="685800" rtl="0" eaLnBrk="1" latinLnBrk="0" hangingPunct="1">
                <a:spcBef>
                  <a:spcPts val="150"/>
                </a:spcBef>
              </a:pPr>
              <a: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Typing an email address into the contact info will automatically create a hyperlink.</a:t>
              </a: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1B51B1E1-437F-B24F-91B7-36B605E62803}"/>
                </a:ext>
              </a:extLst>
            </p:cNvPr>
            <p:cNvSpPr txBox="1"/>
            <p:nvPr userDrawn="1"/>
          </p:nvSpPr>
          <p:spPr>
            <a:xfrm>
              <a:off x="9830981" y="3018869"/>
              <a:ext cx="2374733" cy="10772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525">
                  <a:solidFill>
                    <a:schemeClr val="bg1">
                      <a:lumMod val="65000"/>
                    </a:schemeClr>
                  </a:solidFill>
                </a:rPr>
                <a:t>You can use CTRL+Z or the menu button.</a:t>
              </a: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BD384708-F855-C94E-8FD0-900BDD4CB339}"/>
                </a:ext>
              </a:extLst>
            </p:cNvPr>
            <p:cNvSpPr txBox="1"/>
            <p:nvPr userDrawn="1"/>
          </p:nvSpPr>
          <p:spPr>
            <a:xfrm>
              <a:off x="9701720" y="3193389"/>
              <a:ext cx="2384904" cy="373948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1">
                <a:defRPr/>
              </a:pPr>
              <a: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To remove an pre-existing hyperlink, </a:t>
              </a:r>
              <a:b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</a:br>
              <a: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right click on the hyperlink and choose “Remove Link” (                 )</a:t>
              </a:r>
            </a:p>
          </p:txBody>
        </p:sp>
        <p:pic>
          <p:nvPicPr>
            <p:cNvPr id="100" name="Picture 99">
              <a:extLst>
                <a:ext uri="{FF2B5EF4-FFF2-40B4-BE49-F238E27FC236}">
                  <a16:creationId xmlns:a16="http://schemas.microsoft.com/office/drawing/2014/main" id="{87400EAF-8B50-254F-9E36-50BCDA0B4ED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/>
            <a:srcRect l="4852" t="17138" r="10283" b="11792"/>
            <a:stretch/>
          </p:blipFill>
          <p:spPr>
            <a:xfrm>
              <a:off x="10676602" y="3460165"/>
              <a:ext cx="478277" cy="101726"/>
            </a:xfrm>
            <a:prstGeom prst="rect">
              <a:avLst/>
            </a:prstGeom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</p:pic>
        <p:pic>
          <p:nvPicPr>
            <p:cNvPr id="101" name="Picture 100">
              <a:extLst>
                <a:ext uri="{FF2B5EF4-FFF2-40B4-BE49-F238E27FC236}">
                  <a16:creationId xmlns:a16="http://schemas.microsoft.com/office/drawing/2014/main" id="{1315041C-6446-BA45-BB92-81623B91BF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11251841" y="4562988"/>
              <a:ext cx="849028" cy="849028"/>
            </a:xfrm>
            <a:prstGeom prst="rect">
              <a:avLst/>
            </a:prstGeom>
          </p:spPr>
        </p:pic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C2898206-9D7A-634C-8B17-25423B6E185A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1670329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sz="825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E8D78739-06CA-C84C-8CB1-9AD8B790402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F5565709-B9E5-D144-96ED-FC30124F65FB}"/>
              </a:ext>
            </a:extLst>
          </p:cNvPr>
          <p:cNvGrpSpPr/>
          <p:nvPr userDrawn="1"/>
        </p:nvGrpSpPr>
        <p:grpSpPr>
          <a:xfrm>
            <a:off x="431241" y="-185200"/>
            <a:ext cx="8280400" cy="5510478"/>
            <a:chOff x="431240" y="-246933"/>
            <a:chExt cx="8280400" cy="7347304"/>
          </a:xfrm>
        </p:grpSpPr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E5AA293F-0CF5-7545-834F-D3B07B05575B}"/>
                </a:ext>
              </a:extLst>
            </p:cNvPr>
            <p:cNvGrpSpPr/>
            <p:nvPr userDrawn="1"/>
          </p:nvGrpSpPr>
          <p:grpSpPr>
            <a:xfrm>
              <a:off x="431242" y="6864579"/>
              <a:ext cx="8280398" cy="235792"/>
              <a:chOff x="431801" y="-235792"/>
              <a:chExt cx="4400550" cy="235792"/>
            </a:xfrm>
          </p:grpSpPr>
          <p:cxnSp>
            <p:nvCxnSpPr>
              <p:cNvPr id="114" name="Straight Connector 113">
                <a:extLst>
                  <a:ext uri="{FF2B5EF4-FFF2-40B4-BE49-F238E27FC236}">
                    <a16:creationId xmlns:a16="http://schemas.microsoft.com/office/drawing/2014/main" id="{0D0210AB-D4A2-6B4B-9766-A018ACB62B6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>
                <a:extLst>
                  <a:ext uri="{FF2B5EF4-FFF2-40B4-BE49-F238E27FC236}">
                    <a16:creationId xmlns:a16="http://schemas.microsoft.com/office/drawing/2014/main" id="{9ED0F83E-143B-4E4C-8E09-48DC265A2C3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6" name="Group 105">
              <a:extLst>
                <a:ext uri="{FF2B5EF4-FFF2-40B4-BE49-F238E27FC236}">
                  <a16:creationId xmlns:a16="http://schemas.microsoft.com/office/drawing/2014/main" id="{1230ADFF-86EA-7743-91D7-675CC975C43A}"/>
                </a:ext>
              </a:extLst>
            </p:cNvPr>
            <p:cNvGrpSpPr/>
            <p:nvPr userDrawn="1"/>
          </p:nvGrpSpPr>
          <p:grpSpPr>
            <a:xfrm>
              <a:off x="431240" y="-246933"/>
              <a:ext cx="8280400" cy="235792"/>
              <a:chOff x="431800" y="-240735"/>
              <a:chExt cx="8280400" cy="235792"/>
            </a:xfrm>
          </p:grpSpPr>
          <p:grpSp>
            <p:nvGrpSpPr>
              <p:cNvPr id="107" name="Group 106">
                <a:extLst>
                  <a:ext uri="{FF2B5EF4-FFF2-40B4-BE49-F238E27FC236}">
                    <a16:creationId xmlns:a16="http://schemas.microsoft.com/office/drawing/2014/main" id="{3202D28D-8AE8-5D41-9317-C24167899E33}"/>
                  </a:ext>
                </a:extLst>
              </p:cNvPr>
              <p:cNvGrpSpPr/>
              <p:nvPr userDrawn="1"/>
            </p:nvGrpSpPr>
            <p:grpSpPr>
              <a:xfrm>
                <a:off x="431800" y="-240735"/>
                <a:ext cx="8280400" cy="235792"/>
                <a:chOff x="431800" y="-235792"/>
                <a:chExt cx="4400551" cy="235792"/>
              </a:xfrm>
            </p:grpSpPr>
            <p:cxnSp>
              <p:nvCxnSpPr>
                <p:cNvPr id="111" name="Straight Connector 110">
                  <a:extLst>
                    <a:ext uri="{FF2B5EF4-FFF2-40B4-BE49-F238E27FC236}">
                      <a16:creationId xmlns:a16="http://schemas.microsoft.com/office/drawing/2014/main" id="{689AD7B8-DFBE-9546-9D2D-34F6F277643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" name="Straight Connector 111">
                  <a:extLst>
                    <a:ext uri="{FF2B5EF4-FFF2-40B4-BE49-F238E27FC236}">
                      <a16:creationId xmlns:a16="http://schemas.microsoft.com/office/drawing/2014/main" id="{BF892C78-5626-7D49-9B76-4630814D198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3" name="Rectangle 112">
                  <a:extLst>
                    <a:ext uri="{FF2B5EF4-FFF2-40B4-BE49-F238E27FC236}">
                      <a16:creationId xmlns:a16="http://schemas.microsoft.com/office/drawing/2014/main" id="{41E4DD53-C6B5-2D4E-B89E-E0F0EBD30FFA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</p:grpSp>
          <p:sp>
            <p:nvSpPr>
              <p:cNvPr id="108" name="TextBox 107">
                <a:extLst>
                  <a:ext uri="{FF2B5EF4-FFF2-40B4-BE49-F238E27FC236}">
                    <a16:creationId xmlns:a16="http://schemas.microsoft.com/office/drawing/2014/main" id="{FB57A5FF-FF40-4340-B648-30A3D5237DE4}"/>
                  </a:ext>
                </a:extLst>
              </p:cNvPr>
              <p:cNvSpPr txBox="1"/>
              <p:nvPr userDrawn="1"/>
            </p:nvSpPr>
            <p:spPr>
              <a:xfrm>
                <a:off x="3883466" y="-176700"/>
                <a:ext cx="1377081" cy="107721"/>
              </a:xfrm>
              <a:prstGeom prst="rect">
                <a:avLst/>
              </a:prstGeom>
            </p:spPr>
            <p:txBody>
              <a:bodyPr vert="horz" wrap="none" lIns="108000" tIns="0" rIns="108000" bIns="0" rtlCol="0" anchor="ctr">
                <a:spAutoFit/>
              </a:bodyPr>
              <a:lstStyle/>
              <a:p>
                <a:pPr algn="ctr"/>
                <a:r>
                  <a:rPr lang="en-US" sz="5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KEEP CONTENT WITHIN THIS AREA</a:t>
                </a:r>
              </a:p>
            </p:txBody>
          </p:sp>
          <p:cxnSp>
            <p:nvCxnSpPr>
              <p:cNvPr id="109" name="Straight Arrow Connector 108">
                <a:extLst>
                  <a:ext uri="{FF2B5EF4-FFF2-40B4-BE49-F238E27FC236}">
                    <a16:creationId xmlns:a16="http://schemas.microsoft.com/office/drawing/2014/main" id="{4DDC1F11-CD77-844E-A086-A78F439662B6}"/>
                  </a:ext>
                </a:extLst>
              </p:cNvPr>
              <p:cNvCxnSpPr>
                <a:cxnSpLocks/>
                <a:stCxn id="108" idx="1"/>
                <a:endCxn id="113" idx="2"/>
              </p:cNvCxnSpPr>
              <p:nvPr userDrawn="1"/>
            </p:nvCxnSpPr>
            <p:spPr>
              <a:xfrm flipH="1">
                <a:off x="431800" y="-122839"/>
                <a:ext cx="3451666" cy="1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Arrow Connector 109">
                <a:extLst>
                  <a:ext uri="{FF2B5EF4-FFF2-40B4-BE49-F238E27FC236}">
                    <a16:creationId xmlns:a16="http://schemas.microsoft.com/office/drawing/2014/main" id="{1B108CCF-6F68-F24A-A245-6872CBB92F69}"/>
                  </a:ext>
                </a:extLst>
              </p:cNvPr>
              <p:cNvCxnSpPr>
                <a:cxnSpLocks/>
                <a:stCxn id="108" idx="3"/>
                <a:endCxn id="113" idx="0"/>
              </p:cNvCxnSpPr>
              <p:nvPr userDrawn="1"/>
            </p:nvCxnSpPr>
            <p:spPr>
              <a:xfrm>
                <a:off x="5260547" y="-122839"/>
                <a:ext cx="3451653" cy="0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80379824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(2 Headshots, T.S.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51CCCAA-D40E-B44E-A126-920CC95387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1802049"/>
            <a:ext cx="8280400" cy="69218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thank-you message</a:t>
            </a: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3BFD17EA-819F-DD45-8311-F838F6249E1A}"/>
              </a:ext>
            </a:extLst>
          </p:cNvPr>
          <p:cNvSpPr/>
          <p:nvPr userDrawn="1"/>
        </p:nvSpPr>
        <p:spPr>
          <a:xfrm flipH="1">
            <a:off x="0" y="4522171"/>
            <a:ext cx="6781322" cy="320579"/>
          </a:xfrm>
          <a:custGeom>
            <a:avLst/>
            <a:gdLst>
              <a:gd name="connsiteX0" fmla="*/ 6781322 w 6781322"/>
              <a:gd name="connsiteY0" fmla="*/ 0 h 427439"/>
              <a:gd name="connsiteX1" fmla="*/ 6376846 w 6781322"/>
              <a:gd name="connsiteY1" fmla="*/ 0 h 427439"/>
              <a:gd name="connsiteX2" fmla="*/ 607317 w 6781322"/>
              <a:gd name="connsiteY2" fmla="*/ 0 h 427439"/>
              <a:gd name="connsiteX3" fmla="*/ 202841 w 6781322"/>
              <a:gd name="connsiteY3" fmla="*/ 0 h 427439"/>
              <a:gd name="connsiteX4" fmla="*/ 0 w 6781322"/>
              <a:gd name="connsiteY4" fmla="*/ 427439 h 427439"/>
              <a:gd name="connsiteX5" fmla="*/ 404476 w 6781322"/>
              <a:gd name="connsiteY5" fmla="*/ 427439 h 427439"/>
              <a:gd name="connsiteX6" fmla="*/ 6376846 w 6781322"/>
              <a:gd name="connsiteY6" fmla="*/ 427439 h 427439"/>
              <a:gd name="connsiteX7" fmla="*/ 6781322 w 6781322"/>
              <a:gd name="connsiteY7" fmla="*/ 427439 h 427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81322" h="427439">
                <a:moveTo>
                  <a:pt x="6781322" y="0"/>
                </a:moveTo>
                <a:lnTo>
                  <a:pt x="6376846" y="0"/>
                </a:lnTo>
                <a:lnTo>
                  <a:pt x="607317" y="0"/>
                </a:lnTo>
                <a:lnTo>
                  <a:pt x="202841" y="0"/>
                </a:lnTo>
                <a:lnTo>
                  <a:pt x="0" y="427439"/>
                </a:lnTo>
                <a:lnTo>
                  <a:pt x="404476" y="427439"/>
                </a:lnTo>
                <a:lnTo>
                  <a:pt x="6376846" y="427439"/>
                </a:lnTo>
                <a:lnTo>
                  <a:pt x="6781322" y="42743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105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29E5FF7-98BC-884F-840D-5E423F4AF849}"/>
              </a:ext>
            </a:extLst>
          </p:cNvPr>
          <p:cNvGrpSpPr/>
          <p:nvPr userDrawn="1"/>
        </p:nvGrpSpPr>
        <p:grpSpPr>
          <a:xfrm>
            <a:off x="-256964" y="1857800"/>
            <a:ext cx="251461" cy="590721"/>
            <a:chOff x="-256404" y="360363"/>
            <a:chExt cx="251461" cy="692152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3CE00DE3-4AF7-8F42-A200-B6BF002E43AF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11" name="Straight Connector 10">
                <a:extLst>
                  <a:ext uri="{FF2B5EF4-FFF2-40B4-BE49-F238E27FC236}">
                    <a16:creationId xmlns:a16="http://schemas.microsoft.com/office/drawing/2014/main" id="{662AF22C-7AFC-C247-A004-09523187568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12">
                <a:extLst>
                  <a:ext uri="{FF2B5EF4-FFF2-40B4-BE49-F238E27FC236}">
                    <a16:creationId xmlns:a16="http://schemas.microsoft.com/office/drawing/2014/main" id="{5DC57299-371A-5D49-B7E8-080D3F8E77D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2C4E3FC2-9801-F941-A31F-83FA02AAD46F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A420265-8660-8D47-879D-AE5074C73B4B}"/>
                </a:ext>
              </a:extLst>
            </p:cNvPr>
            <p:cNvSpPr txBox="1"/>
            <p:nvPr userDrawn="1"/>
          </p:nvSpPr>
          <p:spPr>
            <a:xfrm rot="16200000">
              <a:off x="-360755" y="622269"/>
              <a:ext cx="460172" cy="161583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HANK YOU</a:t>
              </a:r>
              <a:b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MESSAGE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8244616-2BA8-434E-A138-B2D5956D9EE1}"/>
              </a:ext>
            </a:extLst>
          </p:cNvPr>
          <p:cNvGrpSpPr/>
          <p:nvPr userDrawn="1"/>
        </p:nvGrpSpPr>
        <p:grpSpPr>
          <a:xfrm>
            <a:off x="-256964" y="2716972"/>
            <a:ext cx="251461" cy="1130110"/>
            <a:chOff x="-256404" y="360363"/>
            <a:chExt cx="251461" cy="692152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09CBFCC-B5CB-D24E-8728-2AAEE959FF6E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977E976A-5E64-D14B-BA4C-4F26EF696B7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100263B3-BEFA-F84D-A346-488994B5061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0D5E94FD-3E4F-7A4D-8F85-338D20425FB9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</p:grp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1C137DA0-E7A0-8348-964C-0094E9A21AD9}"/>
                </a:ext>
              </a:extLst>
            </p:cNvPr>
            <p:cNvSpPr txBox="1"/>
            <p:nvPr userDrawn="1"/>
          </p:nvSpPr>
          <p:spPr>
            <a:xfrm rot="16200000">
              <a:off x="-285789" y="662666"/>
              <a:ext cx="310243" cy="80791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CONTACT INFO</a:t>
              </a:r>
            </a:p>
          </p:txBody>
        </p:sp>
      </p:grpSp>
      <p:pic>
        <p:nvPicPr>
          <p:cNvPr id="25" name="Graphic 24">
            <a:extLst>
              <a:ext uri="{FF2B5EF4-FFF2-40B4-BE49-F238E27FC236}">
                <a16:creationId xmlns:a16="http://schemas.microsoft.com/office/drawing/2014/main" id="{D04C2D26-D34C-9A43-9F15-4312C0BA437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6724099" y="4474686"/>
            <a:ext cx="2151407" cy="416402"/>
          </a:xfrm>
          <a:prstGeom prst="rect">
            <a:avLst/>
          </a:prstGeom>
        </p:spPr>
      </p:pic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6BFDB021-8BC9-EA47-8986-9CAF470702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46853" y="2703111"/>
            <a:ext cx="2301461" cy="11572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noAutofit/>
          </a:bodyPr>
          <a:lstStyle>
            <a:lvl1pPr marL="15479" indent="0">
              <a:spcAft>
                <a:spcPts val="225"/>
              </a:spcAft>
              <a:buNone/>
              <a:tabLst/>
              <a:defRPr sz="1050" b="1">
                <a:solidFill>
                  <a:schemeClr val="accent1"/>
                </a:solidFill>
              </a:defRPr>
            </a:lvl1pPr>
            <a:lvl2pPr marL="15479" indent="0">
              <a:spcAft>
                <a:spcPts val="150"/>
              </a:spcAft>
              <a:buNone/>
              <a:tabLst/>
              <a:defRPr sz="1050">
                <a:solidFill>
                  <a:schemeClr val="tx1"/>
                </a:solidFill>
              </a:defRPr>
            </a:lvl2pPr>
            <a:lvl3pPr marL="15479" indent="0">
              <a:spcAft>
                <a:spcPts val="150"/>
              </a:spcAft>
              <a:buFont typeface="Wingdings" pitchFamily="2" charset="2"/>
              <a:buNone/>
              <a:tabLst/>
              <a:defRPr sz="1050">
                <a:solidFill>
                  <a:schemeClr val="tx1"/>
                </a:solidFill>
              </a:defRPr>
            </a:lvl3pPr>
            <a:lvl4pPr marL="15479" indent="0">
              <a:spcAft>
                <a:spcPts val="150"/>
              </a:spcAft>
              <a:buFont typeface="System Font Regular"/>
              <a:buNone/>
              <a:tabLst/>
              <a:defRPr sz="1050">
                <a:solidFill>
                  <a:schemeClr val="tx1"/>
                </a:solidFill>
              </a:defRPr>
            </a:lvl4pPr>
            <a:lvl5pPr marL="15479" indent="0">
              <a:spcAft>
                <a:spcPts val="150"/>
              </a:spcAft>
              <a:buNone/>
              <a:tabLst/>
              <a:defRPr sz="1050">
                <a:solidFill>
                  <a:schemeClr val="tx1"/>
                </a:solidFill>
              </a:defRPr>
            </a:lvl5pPr>
            <a:lvl6pPr marL="15479" indent="0">
              <a:buNone/>
              <a:tabLst/>
              <a:defRPr/>
            </a:lvl6pPr>
            <a:lvl7pPr marL="15479" indent="0">
              <a:buNone/>
              <a:tabLst/>
              <a:defRPr/>
            </a:lvl7pPr>
            <a:lvl8pPr marL="15479" indent="0">
              <a:buNone/>
              <a:tabLst/>
              <a:defRPr/>
            </a:lvl8pPr>
            <a:lvl9pPr marL="15479" indent="0">
              <a:buNone/>
              <a:tabLst/>
              <a:defRPr/>
            </a:lvl9pPr>
          </a:lstStyle>
          <a:p>
            <a:pPr lvl="0"/>
            <a:r>
              <a:rPr lang="en-US"/>
              <a:t>Click to add contact information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D0D2085C-21C8-514C-9468-7260886064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10740" y="2703111"/>
            <a:ext cx="2301461" cy="11572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noAutofit/>
          </a:bodyPr>
          <a:lstStyle>
            <a:lvl1pPr marL="15479" indent="0">
              <a:spcAft>
                <a:spcPts val="225"/>
              </a:spcAft>
              <a:buNone/>
              <a:tabLst/>
              <a:defRPr sz="1050" b="1">
                <a:solidFill>
                  <a:schemeClr val="accent1"/>
                </a:solidFill>
              </a:defRPr>
            </a:lvl1pPr>
            <a:lvl2pPr marL="15479" indent="0">
              <a:spcAft>
                <a:spcPts val="150"/>
              </a:spcAft>
              <a:buNone/>
              <a:tabLst/>
              <a:defRPr sz="1050">
                <a:solidFill>
                  <a:schemeClr val="tx1"/>
                </a:solidFill>
              </a:defRPr>
            </a:lvl2pPr>
            <a:lvl3pPr marL="15479" indent="0">
              <a:spcAft>
                <a:spcPts val="150"/>
              </a:spcAft>
              <a:buFont typeface="Wingdings" pitchFamily="2" charset="2"/>
              <a:buNone/>
              <a:tabLst/>
              <a:defRPr sz="1050">
                <a:solidFill>
                  <a:schemeClr val="tx1"/>
                </a:solidFill>
              </a:defRPr>
            </a:lvl3pPr>
            <a:lvl4pPr marL="15479" indent="0">
              <a:spcAft>
                <a:spcPts val="150"/>
              </a:spcAft>
              <a:buFont typeface="System Font Regular"/>
              <a:buNone/>
              <a:tabLst/>
              <a:defRPr sz="1050">
                <a:solidFill>
                  <a:schemeClr val="tx1"/>
                </a:solidFill>
              </a:defRPr>
            </a:lvl4pPr>
            <a:lvl5pPr marL="15479" indent="0">
              <a:spcAft>
                <a:spcPts val="150"/>
              </a:spcAft>
              <a:buNone/>
              <a:tabLst/>
              <a:defRPr sz="1050">
                <a:solidFill>
                  <a:schemeClr val="tx1"/>
                </a:solidFill>
              </a:defRPr>
            </a:lvl5pPr>
            <a:lvl6pPr marL="15479" indent="0">
              <a:buNone/>
              <a:tabLst/>
              <a:defRPr/>
            </a:lvl6pPr>
            <a:lvl7pPr marL="15479" indent="0">
              <a:buNone/>
              <a:tabLst/>
              <a:defRPr/>
            </a:lvl7pPr>
            <a:lvl8pPr marL="15479" indent="0">
              <a:buNone/>
              <a:tabLst/>
              <a:defRPr/>
            </a:lvl8pPr>
            <a:lvl9pPr marL="15479" indent="0">
              <a:buNone/>
              <a:tabLst/>
              <a:defRPr/>
            </a:lvl9pPr>
          </a:lstStyle>
          <a:p>
            <a:pPr lvl="0"/>
            <a:r>
              <a:rPr lang="en-US"/>
              <a:t>Click to add contact information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6956F67-281F-0940-9C57-1BE70F2D287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1800" y="2702719"/>
            <a:ext cx="1543050" cy="1157288"/>
          </a:xfrm>
          <a:prstGeom prst="rect">
            <a:avLst/>
          </a:prstGeom>
          <a:solidFill>
            <a:schemeClr val="accent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headshot</a:t>
            </a:r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F8479724-C6A7-D34A-BCE9-1A7017A9B71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695687" y="2702719"/>
            <a:ext cx="1543050" cy="1157288"/>
          </a:xfrm>
          <a:prstGeom prst="rect">
            <a:avLst/>
          </a:prstGeom>
          <a:solidFill>
            <a:schemeClr val="accent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headshot</a:t>
            </a: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7014C08B-50EC-6E40-91DC-5D199BFEE278}"/>
              </a:ext>
            </a:extLst>
          </p:cNvPr>
          <p:cNvGrpSpPr/>
          <p:nvPr userDrawn="1"/>
        </p:nvGrpSpPr>
        <p:grpSpPr>
          <a:xfrm>
            <a:off x="9399183" y="-1"/>
            <a:ext cx="2961715" cy="6287462"/>
            <a:chOff x="9399182" y="-1"/>
            <a:chExt cx="2961715" cy="8383282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8AB95FED-D242-4B4A-903E-4397DD60009E}"/>
                </a:ext>
              </a:extLst>
            </p:cNvPr>
            <p:cNvSpPr/>
            <p:nvPr userDrawn="1"/>
          </p:nvSpPr>
          <p:spPr>
            <a:xfrm>
              <a:off x="9399182" y="-1"/>
              <a:ext cx="2798651" cy="822960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050"/>
            </a:p>
          </p:txBody>
        </p:sp>
        <p:pic>
          <p:nvPicPr>
            <p:cNvPr id="72" name="Picture 71">
              <a:extLst>
                <a:ext uri="{FF2B5EF4-FFF2-40B4-BE49-F238E27FC236}">
                  <a16:creationId xmlns:a16="http://schemas.microsoft.com/office/drawing/2014/main" id="{205F4317-9E5F-014F-84FB-54546707CFB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r="44907"/>
            <a:stretch/>
          </p:blipFill>
          <p:spPr>
            <a:xfrm>
              <a:off x="9558505" y="1326787"/>
              <a:ext cx="2639326" cy="517021"/>
            </a:xfrm>
            <a:prstGeom prst="rect">
              <a:avLst/>
            </a:prstGeom>
          </p:spPr>
        </p:pic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30DDF7B1-AAA8-724F-9B80-B8A649D6417C}"/>
                </a:ext>
              </a:extLst>
            </p:cNvPr>
            <p:cNvSpPr txBox="1"/>
            <p:nvPr userDrawn="1"/>
          </p:nvSpPr>
          <p:spPr>
            <a:xfrm>
              <a:off x="9558507" y="3863269"/>
              <a:ext cx="1614224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sz="825">
                  <a:solidFill>
                    <a:schemeClr val="bg1"/>
                  </a:solidFill>
                </a:rPr>
                <a:t>TIPS FOR ADDING HEADSHOTS</a:t>
              </a:r>
            </a:p>
          </p:txBody>
        </p: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09B047C1-4D53-D74D-8F8F-3A27D79B0A5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4065886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14DB5831-A77D-084A-A4D8-66FFF852D8EC}"/>
                </a:ext>
              </a:extLst>
            </p:cNvPr>
            <p:cNvSpPr/>
            <p:nvPr userDrawn="1"/>
          </p:nvSpPr>
          <p:spPr>
            <a:xfrm>
              <a:off x="9541497" y="162442"/>
              <a:ext cx="2819400" cy="814510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/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9CB3988E-1068-5C4E-AA5D-EE2C662EF423}"/>
                </a:ext>
              </a:extLst>
            </p:cNvPr>
            <p:cNvSpPr txBox="1"/>
            <p:nvPr userDrawn="1"/>
          </p:nvSpPr>
          <p:spPr>
            <a:xfrm>
              <a:off x="10147060" y="306442"/>
              <a:ext cx="2129588" cy="50783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algn="l"/>
              <a:r>
                <a:rPr lang="en-US" sz="8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Access programmed text formats by using the ‘Indent More’ button to change the indent level.</a:t>
              </a:r>
            </a:p>
          </p:txBody>
        </p:sp>
        <p:pic>
          <p:nvPicPr>
            <p:cNvPr id="77" name="Picture 76">
              <a:extLst>
                <a:ext uri="{FF2B5EF4-FFF2-40B4-BE49-F238E27FC236}">
                  <a16:creationId xmlns:a16="http://schemas.microsoft.com/office/drawing/2014/main" id="{C6253886-63B9-DA44-93AD-DEBD64EE1C5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l="8882" t="5165" r="-1"/>
            <a:stretch/>
          </p:blipFill>
          <p:spPr>
            <a:xfrm>
              <a:off x="9694938" y="411250"/>
              <a:ext cx="324017" cy="289055"/>
            </a:xfrm>
            <a:prstGeom prst="roundRect">
              <a:avLst/>
            </a:prstGeom>
          </p:spPr>
        </p:pic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67D6DAF1-D397-A449-B81C-02FD9FC35BD2}"/>
                </a:ext>
              </a:extLst>
            </p:cNvPr>
            <p:cNvSpPr/>
            <p:nvPr userDrawn="1"/>
          </p:nvSpPr>
          <p:spPr>
            <a:xfrm>
              <a:off x="9541497" y="6971966"/>
              <a:ext cx="2735151" cy="1411315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/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38A63BD7-75CA-594F-B630-748766ED6BFD}"/>
                </a:ext>
              </a:extLst>
            </p:cNvPr>
            <p:cNvSpPr txBox="1"/>
            <p:nvPr userDrawn="1"/>
          </p:nvSpPr>
          <p:spPr>
            <a:xfrm>
              <a:off x="9907688" y="7100766"/>
              <a:ext cx="2368960" cy="169277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algn="l"/>
              <a:r>
                <a:rPr lang="en-US" sz="8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IP: Change Image</a:t>
              </a:r>
            </a:p>
          </p:txBody>
        </p:sp>
        <p:pic>
          <p:nvPicPr>
            <p:cNvPr id="80" name="Graphic 79">
              <a:extLst>
                <a:ext uri="{FF2B5EF4-FFF2-40B4-BE49-F238E27FC236}">
                  <a16:creationId xmlns:a16="http://schemas.microsoft.com/office/drawing/2014/main" id="{481143C8-3F7C-B848-881C-D21667B9C71E}"/>
                </a:ext>
              </a:extLst>
            </p:cNvPr>
            <p:cNvPicPr>
              <a:picLocks noChangeAspect="1"/>
            </p:cNvPicPr>
            <p:nvPr userDrawn="1"/>
          </p:nvPicPr>
          <p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701720" y="7111049"/>
              <a:ext cx="155227" cy="155227"/>
            </a:xfrm>
            <a:prstGeom prst="rect">
              <a:avLst/>
            </a:prstGeom>
          </p:spPr>
        </p:pic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9503076B-BE27-EC49-BB07-CDA23F607AD2}"/>
                </a:ext>
              </a:extLst>
            </p:cNvPr>
            <p:cNvSpPr txBox="1"/>
            <p:nvPr userDrawn="1"/>
          </p:nvSpPr>
          <p:spPr>
            <a:xfrm>
              <a:off x="9716735" y="7680749"/>
              <a:ext cx="2422981" cy="373948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101204" lvl="1" indent="-98822" algn="l" defTabSz="6858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225"/>
                </a:spcAft>
                <a:buFont typeface="Wingdings" pitchFamily="2" charset="2"/>
                <a:buChar char="§"/>
                <a:tabLst/>
                <a:defRPr/>
              </a:pPr>
              <a: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Deleting the image may bring the image placeholder to the top layer. Right-click on the placeholder and choose “Send to Back”.</a:t>
              </a: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59C8022A-B181-BE49-B15A-D72620C7061B}"/>
                </a:ext>
              </a:extLst>
            </p:cNvPr>
            <p:cNvSpPr txBox="1"/>
            <p:nvPr userDrawn="1"/>
          </p:nvSpPr>
          <p:spPr>
            <a:xfrm>
              <a:off x="9716735" y="7361905"/>
              <a:ext cx="2422981" cy="2769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0" algn="l" defTabSz="685800" rtl="0" eaLnBrk="1" latinLnBrk="0" hangingPunct="1">
                <a:spcBef>
                  <a:spcPts val="150"/>
                </a:spcBef>
              </a:pPr>
              <a: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First, delete the existing image to reset the photo placeholder functionality.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3587C716-0B4A-0A44-8B87-2CF438BEFEA8}"/>
                </a:ext>
              </a:extLst>
            </p:cNvPr>
            <p:cNvSpPr txBox="1"/>
            <p:nvPr userDrawn="1"/>
          </p:nvSpPr>
          <p:spPr>
            <a:xfrm>
              <a:off x="9716735" y="8130426"/>
              <a:ext cx="2422981" cy="138500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0" algn="l" defTabSz="685800" rtl="0" eaLnBrk="1" latinLnBrk="0" hangingPunct="1">
                <a:spcBef>
                  <a:spcPts val="150"/>
                </a:spcBef>
              </a:pPr>
              <a: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You can now add a new image as normal.</a:t>
              </a: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F09412C1-E102-5E48-AB9A-49A44A59E350}"/>
                </a:ext>
              </a:extLst>
            </p:cNvPr>
            <p:cNvSpPr/>
            <p:nvPr userDrawn="1"/>
          </p:nvSpPr>
          <p:spPr>
            <a:xfrm>
              <a:off x="9541497" y="5615310"/>
              <a:ext cx="2735151" cy="1280928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/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5CED197C-AF58-C44F-A26F-6391B9641BB7}"/>
                </a:ext>
              </a:extLst>
            </p:cNvPr>
            <p:cNvSpPr txBox="1"/>
            <p:nvPr userDrawn="1"/>
          </p:nvSpPr>
          <p:spPr>
            <a:xfrm>
              <a:off x="9907688" y="5744109"/>
              <a:ext cx="2368960" cy="169277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algn="l"/>
              <a:r>
                <a:rPr lang="en-US" sz="8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IP: Crop Image</a:t>
              </a:r>
            </a:p>
          </p:txBody>
        </p:sp>
        <p:pic>
          <p:nvPicPr>
            <p:cNvPr id="86" name="Graphic 85">
              <a:extLst>
                <a:ext uri="{FF2B5EF4-FFF2-40B4-BE49-F238E27FC236}">
                  <a16:creationId xmlns:a16="http://schemas.microsoft.com/office/drawing/2014/main" id="{B32AB170-21E1-7447-8797-C34B52EDD8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701720" y="5754392"/>
              <a:ext cx="155227" cy="155227"/>
            </a:xfrm>
            <a:prstGeom prst="rect">
              <a:avLst/>
            </a:prstGeom>
          </p:spPr>
        </p:pic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23ABE0DF-3A83-7644-906B-2443CF815B35}"/>
                </a:ext>
              </a:extLst>
            </p:cNvPr>
            <p:cNvSpPr txBox="1"/>
            <p:nvPr userDrawn="1"/>
          </p:nvSpPr>
          <p:spPr>
            <a:xfrm>
              <a:off x="9701720" y="6008293"/>
              <a:ext cx="2384904" cy="77713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1">
                <a:defRPr/>
              </a:pPr>
              <a: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Right-click on the image.</a:t>
              </a:r>
            </a:p>
            <a:p>
              <a:pPr lvl="1">
                <a:defRPr/>
              </a:pPr>
              <a: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Choose “Crop” from the menu. (       )</a:t>
              </a:r>
            </a:p>
            <a:p>
              <a:pPr lvl="1">
                <a:defRPr/>
              </a:pPr>
              <a: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Adjust the size and position of the image.</a:t>
              </a:r>
            </a:p>
            <a:p>
              <a:pPr lvl="1">
                <a:defRPr/>
              </a:pPr>
              <a: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Press Esc or click outside the image area to exit the cropping mode.</a:t>
              </a:r>
            </a:p>
          </p:txBody>
        </p:sp>
        <p:pic>
          <p:nvPicPr>
            <p:cNvPr id="88" name="Picture 87">
              <a:extLst>
                <a:ext uri="{FF2B5EF4-FFF2-40B4-BE49-F238E27FC236}">
                  <a16:creationId xmlns:a16="http://schemas.microsoft.com/office/drawing/2014/main" id="{5D6DF90E-ADF0-AE40-9662-5A3C4525ED0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/>
            <a:srcRect l="33684" t="12097" r="43371" b="20368"/>
            <a:stretch/>
          </p:blipFill>
          <p:spPr>
            <a:xfrm>
              <a:off x="11498723" y="6092726"/>
              <a:ext cx="136897" cy="213643"/>
            </a:xfrm>
            <a:prstGeom prst="rect">
              <a:avLst/>
            </a:prstGeom>
            <a:ln w="19050">
              <a:solidFill>
                <a:schemeClr val="accent3">
                  <a:lumMod val="60000"/>
                  <a:lumOff val="40000"/>
                </a:schemeClr>
              </a:solidFill>
            </a:ln>
          </p:spPr>
        </p:pic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624F7FAD-EDF1-9649-B62D-0EAD6312583F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9521833" y="4213416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375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1</a:t>
              </a: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07FD656E-F50E-6446-B1C9-643199745B1B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9521833" y="4538160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375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2</a:t>
              </a: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59DF2FB2-11A9-8D4C-A946-3E2F8D03A863}"/>
                </a:ext>
              </a:extLst>
            </p:cNvPr>
            <p:cNvSpPr txBox="1"/>
            <p:nvPr userDrawn="1"/>
          </p:nvSpPr>
          <p:spPr>
            <a:xfrm>
              <a:off x="9686426" y="4188389"/>
              <a:ext cx="2453290" cy="16166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sz="788"/>
                <a:t>Add the photos to the placeholders.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2ED69E6F-E242-3845-A02E-40BF00D2EC2E}"/>
                </a:ext>
              </a:extLst>
            </p:cNvPr>
            <p:cNvSpPr txBox="1"/>
            <p:nvPr userDrawn="1"/>
          </p:nvSpPr>
          <p:spPr>
            <a:xfrm>
              <a:off x="9686425" y="4503349"/>
              <a:ext cx="1468453" cy="958724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sz="788"/>
                <a:t>Crop the headshots so that they match:</a:t>
              </a:r>
            </a:p>
            <a:p>
              <a:pPr lvl="1"/>
              <a:r>
                <a:rPr lang="en-US" sz="675"/>
                <a:t>Heads are the same size and relative position</a:t>
              </a:r>
            </a:p>
            <a:p>
              <a:pPr marL="101204" marR="0" lvl="1" indent="-98822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225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lang="en-US" sz="675"/>
                <a:t>The entire head is visible</a:t>
              </a:r>
            </a:p>
            <a:p>
              <a:pPr lvl="1"/>
              <a:r>
                <a:rPr lang="en-US" sz="675"/>
                <a:t>Shoulders are visible</a:t>
              </a:r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DED3E77A-B95D-0840-B42A-F982154E5F14}"/>
                </a:ext>
              </a:extLst>
            </p:cNvPr>
            <p:cNvSpPr/>
            <p:nvPr userDrawn="1"/>
          </p:nvSpPr>
          <p:spPr>
            <a:xfrm>
              <a:off x="9541497" y="1981952"/>
              <a:ext cx="2735151" cy="1739504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/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4FA6DBF9-F11E-6C44-BE7B-0A7E8F64AA89}"/>
                </a:ext>
              </a:extLst>
            </p:cNvPr>
            <p:cNvSpPr txBox="1"/>
            <p:nvPr userDrawn="1"/>
          </p:nvSpPr>
          <p:spPr>
            <a:xfrm>
              <a:off x="9907688" y="2110751"/>
              <a:ext cx="2368960" cy="169277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algn="l"/>
              <a:r>
                <a:rPr lang="en-US" sz="8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IP: Undo Hyperlink</a:t>
              </a:r>
            </a:p>
          </p:txBody>
        </p:sp>
        <p:pic>
          <p:nvPicPr>
            <p:cNvPr id="95" name="Graphic 94">
              <a:extLst>
                <a:ext uri="{FF2B5EF4-FFF2-40B4-BE49-F238E27FC236}">
                  <a16:creationId xmlns:a16="http://schemas.microsoft.com/office/drawing/2014/main" id="{1F9E0C86-0745-CC46-AD1D-180848269E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701720" y="2121034"/>
              <a:ext cx="155227" cy="155227"/>
            </a:xfrm>
            <a:prstGeom prst="rect">
              <a:avLst/>
            </a:prstGeom>
          </p:spPr>
        </p:pic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6F6F45D1-6EFE-6B45-8B6F-DBFAE78D1437}"/>
                </a:ext>
              </a:extLst>
            </p:cNvPr>
            <p:cNvSpPr txBox="1"/>
            <p:nvPr userDrawn="1"/>
          </p:nvSpPr>
          <p:spPr>
            <a:xfrm>
              <a:off x="9701720" y="2736189"/>
              <a:ext cx="2384904" cy="2492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1">
                <a:defRPr/>
              </a:pPr>
              <a: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As soon as the hyperlink formatting appears, Undo once to remove the format.</a:t>
              </a: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0544C069-DAC2-4747-9A60-646318E43112}"/>
                </a:ext>
              </a:extLst>
            </p:cNvPr>
            <p:cNvSpPr txBox="1"/>
            <p:nvPr userDrawn="1"/>
          </p:nvSpPr>
          <p:spPr>
            <a:xfrm>
              <a:off x="9694938" y="2378701"/>
              <a:ext cx="2422981" cy="2769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0" algn="l" defTabSz="685800" rtl="0" eaLnBrk="1" latinLnBrk="0" hangingPunct="1">
                <a:spcBef>
                  <a:spcPts val="150"/>
                </a:spcBef>
              </a:pPr>
              <a: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Typing an email address into the contact info will automatically create a hyperlink.</a:t>
              </a: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6F3D0D05-5454-5E48-A04F-5CA03B6B3602}"/>
                </a:ext>
              </a:extLst>
            </p:cNvPr>
            <p:cNvSpPr txBox="1"/>
            <p:nvPr userDrawn="1"/>
          </p:nvSpPr>
          <p:spPr>
            <a:xfrm>
              <a:off x="9830981" y="3018869"/>
              <a:ext cx="2374733" cy="10772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525">
                  <a:solidFill>
                    <a:schemeClr val="bg1">
                      <a:lumMod val="65000"/>
                    </a:schemeClr>
                  </a:solidFill>
                </a:rPr>
                <a:t>You can use CTRL+Z or the menu button.</a:t>
              </a: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78D4761D-A79D-EC47-ABB0-FD3B6AF76846}"/>
                </a:ext>
              </a:extLst>
            </p:cNvPr>
            <p:cNvSpPr txBox="1"/>
            <p:nvPr userDrawn="1"/>
          </p:nvSpPr>
          <p:spPr>
            <a:xfrm>
              <a:off x="9701720" y="3193389"/>
              <a:ext cx="2384904" cy="373948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1">
                <a:defRPr/>
              </a:pPr>
              <a: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To remove an pre-existing hyperlink, </a:t>
              </a:r>
              <a:b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</a:br>
              <a: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right click on the hyperlink and choose “Remove Link” (                 )</a:t>
              </a:r>
            </a:p>
          </p:txBody>
        </p:sp>
        <p:pic>
          <p:nvPicPr>
            <p:cNvPr id="100" name="Picture 99">
              <a:extLst>
                <a:ext uri="{FF2B5EF4-FFF2-40B4-BE49-F238E27FC236}">
                  <a16:creationId xmlns:a16="http://schemas.microsoft.com/office/drawing/2014/main" id="{D8C0288D-BEA3-4347-89F3-10E891E53EC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/>
            <a:srcRect l="4852" t="17138" r="10283" b="11792"/>
            <a:stretch/>
          </p:blipFill>
          <p:spPr>
            <a:xfrm>
              <a:off x="10676602" y="3460165"/>
              <a:ext cx="478277" cy="101726"/>
            </a:xfrm>
            <a:prstGeom prst="rect">
              <a:avLst/>
            </a:prstGeom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</p:pic>
        <p:pic>
          <p:nvPicPr>
            <p:cNvPr id="101" name="Picture 100">
              <a:extLst>
                <a:ext uri="{FF2B5EF4-FFF2-40B4-BE49-F238E27FC236}">
                  <a16:creationId xmlns:a16="http://schemas.microsoft.com/office/drawing/2014/main" id="{C2EB5A16-EAA2-BC49-A6E3-EBFCAB6357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11251841" y="4562988"/>
              <a:ext cx="849028" cy="849028"/>
            </a:xfrm>
            <a:prstGeom prst="rect">
              <a:avLst/>
            </a:prstGeom>
          </p:spPr>
        </p:pic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0371FFE2-BA6B-2046-BD44-A8983AD69685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1670329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sz="825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70ACF86C-9EB8-B643-9EF3-CE5669FB41E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56F5DA9D-A83E-0E43-B12B-971AA4C127E2}"/>
              </a:ext>
            </a:extLst>
          </p:cNvPr>
          <p:cNvGrpSpPr/>
          <p:nvPr userDrawn="1"/>
        </p:nvGrpSpPr>
        <p:grpSpPr>
          <a:xfrm>
            <a:off x="431241" y="-185200"/>
            <a:ext cx="8280400" cy="5510478"/>
            <a:chOff x="431240" y="-246933"/>
            <a:chExt cx="8280400" cy="7347304"/>
          </a:xfrm>
        </p:grpSpPr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5C75549D-EBC1-9C4C-800F-8959A08EB7BB}"/>
                </a:ext>
              </a:extLst>
            </p:cNvPr>
            <p:cNvGrpSpPr/>
            <p:nvPr userDrawn="1"/>
          </p:nvGrpSpPr>
          <p:grpSpPr>
            <a:xfrm>
              <a:off x="431242" y="6864579"/>
              <a:ext cx="8280398" cy="235792"/>
              <a:chOff x="431801" y="-235792"/>
              <a:chExt cx="4400550" cy="235792"/>
            </a:xfrm>
          </p:grpSpPr>
          <p:cxnSp>
            <p:nvCxnSpPr>
              <p:cNvPr id="114" name="Straight Connector 113">
                <a:extLst>
                  <a:ext uri="{FF2B5EF4-FFF2-40B4-BE49-F238E27FC236}">
                    <a16:creationId xmlns:a16="http://schemas.microsoft.com/office/drawing/2014/main" id="{E5501523-0530-EE43-B937-C26AD69BE2C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>
                <a:extLst>
                  <a:ext uri="{FF2B5EF4-FFF2-40B4-BE49-F238E27FC236}">
                    <a16:creationId xmlns:a16="http://schemas.microsoft.com/office/drawing/2014/main" id="{9C9455B4-7F5F-604F-8654-BE1E95726C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6" name="Group 105">
              <a:extLst>
                <a:ext uri="{FF2B5EF4-FFF2-40B4-BE49-F238E27FC236}">
                  <a16:creationId xmlns:a16="http://schemas.microsoft.com/office/drawing/2014/main" id="{65666F82-53E6-824D-BC78-74E082A95A8A}"/>
                </a:ext>
              </a:extLst>
            </p:cNvPr>
            <p:cNvGrpSpPr/>
            <p:nvPr userDrawn="1"/>
          </p:nvGrpSpPr>
          <p:grpSpPr>
            <a:xfrm>
              <a:off x="431240" y="-246933"/>
              <a:ext cx="8280400" cy="235792"/>
              <a:chOff x="431800" y="-240735"/>
              <a:chExt cx="8280400" cy="235792"/>
            </a:xfrm>
          </p:grpSpPr>
          <p:grpSp>
            <p:nvGrpSpPr>
              <p:cNvPr id="107" name="Group 106">
                <a:extLst>
                  <a:ext uri="{FF2B5EF4-FFF2-40B4-BE49-F238E27FC236}">
                    <a16:creationId xmlns:a16="http://schemas.microsoft.com/office/drawing/2014/main" id="{50217315-EACD-2843-ACBF-887A99AB6B5A}"/>
                  </a:ext>
                </a:extLst>
              </p:cNvPr>
              <p:cNvGrpSpPr/>
              <p:nvPr userDrawn="1"/>
            </p:nvGrpSpPr>
            <p:grpSpPr>
              <a:xfrm>
                <a:off x="431800" y="-240735"/>
                <a:ext cx="8280400" cy="235792"/>
                <a:chOff x="431800" y="-235792"/>
                <a:chExt cx="4400551" cy="235792"/>
              </a:xfrm>
            </p:grpSpPr>
            <p:cxnSp>
              <p:nvCxnSpPr>
                <p:cNvPr id="111" name="Straight Connector 110">
                  <a:extLst>
                    <a:ext uri="{FF2B5EF4-FFF2-40B4-BE49-F238E27FC236}">
                      <a16:creationId xmlns:a16="http://schemas.microsoft.com/office/drawing/2014/main" id="{7CF4F87D-3E89-D044-AA6B-F4275E8BD254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" name="Straight Connector 111">
                  <a:extLst>
                    <a:ext uri="{FF2B5EF4-FFF2-40B4-BE49-F238E27FC236}">
                      <a16:creationId xmlns:a16="http://schemas.microsoft.com/office/drawing/2014/main" id="{3690A968-541F-ED41-B6ED-1D7566AFCC3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3" name="Rectangle 112">
                  <a:extLst>
                    <a:ext uri="{FF2B5EF4-FFF2-40B4-BE49-F238E27FC236}">
                      <a16:creationId xmlns:a16="http://schemas.microsoft.com/office/drawing/2014/main" id="{639845D3-D19F-1748-A15A-7A066F2E9459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</p:grpSp>
          <p:sp>
            <p:nvSpPr>
              <p:cNvPr id="108" name="TextBox 107">
                <a:extLst>
                  <a:ext uri="{FF2B5EF4-FFF2-40B4-BE49-F238E27FC236}">
                    <a16:creationId xmlns:a16="http://schemas.microsoft.com/office/drawing/2014/main" id="{92B5BD0C-F803-D94A-A277-DCCF5C956E2D}"/>
                  </a:ext>
                </a:extLst>
              </p:cNvPr>
              <p:cNvSpPr txBox="1"/>
              <p:nvPr userDrawn="1"/>
            </p:nvSpPr>
            <p:spPr>
              <a:xfrm>
                <a:off x="3883466" y="-176700"/>
                <a:ext cx="1377081" cy="107721"/>
              </a:xfrm>
              <a:prstGeom prst="rect">
                <a:avLst/>
              </a:prstGeom>
            </p:spPr>
            <p:txBody>
              <a:bodyPr vert="horz" wrap="none" lIns="108000" tIns="0" rIns="108000" bIns="0" rtlCol="0" anchor="ctr">
                <a:spAutoFit/>
              </a:bodyPr>
              <a:lstStyle/>
              <a:p>
                <a:pPr algn="ctr"/>
                <a:r>
                  <a:rPr lang="en-US" sz="5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KEEP CONTENT WITHIN THIS AREA</a:t>
                </a:r>
              </a:p>
            </p:txBody>
          </p:sp>
          <p:cxnSp>
            <p:nvCxnSpPr>
              <p:cNvPr id="109" name="Straight Arrow Connector 108">
                <a:extLst>
                  <a:ext uri="{FF2B5EF4-FFF2-40B4-BE49-F238E27FC236}">
                    <a16:creationId xmlns:a16="http://schemas.microsoft.com/office/drawing/2014/main" id="{32AD3739-9F2B-E348-8995-21C95F726E7B}"/>
                  </a:ext>
                </a:extLst>
              </p:cNvPr>
              <p:cNvCxnSpPr>
                <a:cxnSpLocks/>
                <a:stCxn id="108" idx="1"/>
                <a:endCxn id="113" idx="2"/>
              </p:cNvCxnSpPr>
              <p:nvPr userDrawn="1"/>
            </p:nvCxnSpPr>
            <p:spPr>
              <a:xfrm flipH="1">
                <a:off x="431800" y="-122839"/>
                <a:ext cx="3451666" cy="1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Arrow Connector 109">
                <a:extLst>
                  <a:ext uri="{FF2B5EF4-FFF2-40B4-BE49-F238E27FC236}">
                    <a16:creationId xmlns:a16="http://schemas.microsoft.com/office/drawing/2014/main" id="{6D01C25D-77F7-C345-910D-4A71A682AA58}"/>
                  </a:ext>
                </a:extLst>
              </p:cNvPr>
              <p:cNvCxnSpPr>
                <a:cxnSpLocks/>
                <a:stCxn id="108" idx="3"/>
                <a:endCxn id="113" idx="0"/>
              </p:cNvCxnSpPr>
              <p:nvPr userDrawn="1"/>
            </p:nvCxnSpPr>
            <p:spPr>
              <a:xfrm>
                <a:off x="5260547" y="-122839"/>
                <a:ext cx="3451653" cy="0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73233284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embers (6 Headsho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A3E7C59C-7AB2-FD4B-9D3E-CA7E0D8CB2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Slide TITLE. ALL CAPS. TWO LINES max.</a:t>
            </a:r>
          </a:p>
        </p:txBody>
      </p:sp>
      <p:sp>
        <p:nvSpPr>
          <p:cNvPr id="32" name="Date Placeholder 31">
            <a:extLst>
              <a:ext uri="{FF2B5EF4-FFF2-40B4-BE49-F238E27FC236}">
                <a16:creationId xmlns:a16="http://schemas.microsoft.com/office/drawing/2014/main" id="{063A222F-451A-4B49-AAE6-41BBAA48AC75}"/>
              </a:ext>
            </a:extLst>
          </p:cNvPr>
          <p:cNvSpPr>
            <a:spLocks noGrp="1"/>
          </p:cNvSpPr>
          <p:nvPr>
            <p:ph type="dt" sz="half" idx="10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3" name="Footer Placeholder 32">
            <a:extLst>
              <a:ext uri="{FF2B5EF4-FFF2-40B4-BE49-F238E27FC236}">
                <a16:creationId xmlns:a16="http://schemas.microsoft.com/office/drawing/2014/main" id="{7182972C-B32C-5242-9660-1F857E08362B}"/>
              </a:ext>
            </a:extLst>
          </p:cNvPr>
          <p:cNvSpPr>
            <a:spLocks noGrp="1"/>
          </p:cNvSpPr>
          <p:nvPr>
            <p:ph type="ftr" sz="quarter" idx="10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Slide Number Placeholder 38">
            <a:extLst>
              <a:ext uri="{FF2B5EF4-FFF2-40B4-BE49-F238E27FC236}">
                <a16:creationId xmlns:a16="http://schemas.microsoft.com/office/drawing/2014/main" id="{702F905D-B5C6-604B-A8D6-931CBE08DB32}"/>
              </a:ext>
            </a:extLst>
          </p:cNvPr>
          <p:cNvSpPr>
            <a:spLocks noGrp="1"/>
          </p:cNvSpPr>
          <p:nvPr>
            <p:ph type="sldNum" sz="quarter" idx="107"/>
          </p:nvPr>
        </p:nvSpPr>
        <p:spPr/>
        <p:txBody>
          <a:bodyPr/>
          <a:lstStyle/>
          <a:p>
            <a:pPr marL="9525"/>
            <a:fld id="{078C017C-E1B9-8443-B047-B08AAA027B45}" type="slidenum">
              <a:rPr lang="en-US" smtClean="0"/>
              <a:pPr marL="9525"/>
              <a:t>‹#›</a:t>
            </a:fld>
            <a:endParaRPr lang="en-US"/>
          </a:p>
        </p:txBody>
      </p:sp>
      <p:sp>
        <p:nvSpPr>
          <p:cNvPr id="51" name="Text Placeholder 7">
            <a:extLst>
              <a:ext uri="{FF2B5EF4-FFF2-40B4-BE49-F238E27FC236}">
                <a16:creationId xmlns:a16="http://schemas.microsoft.com/office/drawing/2014/main" id="{022CA3D9-DBCD-8543-9EF3-77B6B03F51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46853" y="925116"/>
            <a:ext cx="2301461" cy="11572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noAutofit/>
          </a:bodyPr>
          <a:lstStyle>
            <a:lvl1pPr marL="15479" indent="0">
              <a:spcAft>
                <a:spcPts val="225"/>
              </a:spcAft>
              <a:buNone/>
              <a:tabLst/>
              <a:defRPr sz="1050" b="1">
                <a:solidFill>
                  <a:schemeClr val="accent1"/>
                </a:solidFill>
              </a:defRPr>
            </a:lvl1pPr>
            <a:lvl2pPr marL="15479" indent="0">
              <a:spcAft>
                <a:spcPts val="150"/>
              </a:spcAft>
              <a:buNone/>
              <a:tabLst/>
              <a:defRPr sz="1050">
                <a:solidFill>
                  <a:schemeClr val="tx1"/>
                </a:solidFill>
              </a:defRPr>
            </a:lvl2pPr>
            <a:lvl3pPr marL="15479" indent="0">
              <a:spcAft>
                <a:spcPts val="150"/>
              </a:spcAft>
              <a:buFont typeface="Wingdings" pitchFamily="2" charset="2"/>
              <a:buNone/>
              <a:tabLst/>
              <a:defRPr sz="1050">
                <a:solidFill>
                  <a:schemeClr val="tx1"/>
                </a:solidFill>
              </a:defRPr>
            </a:lvl3pPr>
            <a:lvl4pPr marL="15479" indent="0">
              <a:spcAft>
                <a:spcPts val="150"/>
              </a:spcAft>
              <a:buFont typeface="System Font Regular"/>
              <a:buNone/>
              <a:tabLst/>
              <a:defRPr sz="1050">
                <a:solidFill>
                  <a:schemeClr val="tx1"/>
                </a:solidFill>
              </a:defRPr>
            </a:lvl4pPr>
            <a:lvl5pPr marL="15479" indent="0">
              <a:spcAft>
                <a:spcPts val="150"/>
              </a:spcAft>
              <a:buNone/>
              <a:tabLst/>
              <a:defRPr sz="1050">
                <a:solidFill>
                  <a:schemeClr val="tx1"/>
                </a:solidFill>
              </a:defRPr>
            </a:lvl5pPr>
            <a:lvl6pPr marL="15479" indent="0">
              <a:buNone/>
              <a:tabLst/>
              <a:defRPr/>
            </a:lvl6pPr>
            <a:lvl7pPr marL="15479" indent="0">
              <a:buNone/>
              <a:tabLst/>
              <a:defRPr/>
            </a:lvl7pPr>
            <a:lvl8pPr marL="15479" indent="0">
              <a:buNone/>
              <a:tabLst/>
              <a:defRPr/>
            </a:lvl8pPr>
            <a:lvl9pPr marL="15479" indent="0">
              <a:buNone/>
              <a:tabLst/>
              <a:defRPr/>
            </a:lvl9pPr>
          </a:lstStyle>
          <a:p>
            <a:pPr lvl="0"/>
            <a:r>
              <a:rPr lang="en-US"/>
              <a:t>Click to add contact information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2" name="Picture Placeholder 2">
            <a:extLst>
              <a:ext uri="{FF2B5EF4-FFF2-40B4-BE49-F238E27FC236}">
                <a16:creationId xmlns:a16="http://schemas.microsoft.com/office/drawing/2014/main" id="{3953A8BD-C2FA-AE49-99CC-15B59CE56A1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1800" y="924724"/>
            <a:ext cx="1543050" cy="1157288"/>
          </a:xfrm>
          <a:prstGeom prst="rect">
            <a:avLst/>
          </a:prstGeom>
          <a:solidFill>
            <a:schemeClr val="accent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headshot</a:t>
            </a:r>
          </a:p>
        </p:txBody>
      </p:sp>
      <p:sp>
        <p:nvSpPr>
          <p:cNvPr id="53" name="Text Placeholder 7">
            <a:extLst>
              <a:ext uri="{FF2B5EF4-FFF2-40B4-BE49-F238E27FC236}">
                <a16:creationId xmlns:a16="http://schemas.microsoft.com/office/drawing/2014/main" id="{1B6BB86B-8CCA-614F-97F8-932E6DC1B8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10740" y="925116"/>
            <a:ext cx="2301461" cy="11572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noAutofit/>
          </a:bodyPr>
          <a:lstStyle>
            <a:lvl1pPr marL="15479" indent="0">
              <a:spcAft>
                <a:spcPts val="225"/>
              </a:spcAft>
              <a:buNone/>
              <a:tabLst/>
              <a:defRPr sz="1050" b="1">
                <a:solidFill>
                  <a:schemeClr val="accent1"/>
                </a:solidFill>
              </a:defRPr>
            </a:lvl1pPr>
            <a:lvl2pPr marL="15479" indent="0">
              <a:spcAft>
                <a:spcPts val="150"/>
              </a:spcAft>
              <a:buNone/>
              <a:tabLst/>
              <a:defRPr sz="1050">
                <a:solidFill>
                  <a:schemeClr val="tx1"/>
                </a:solidFill>
              </a:defRPr>
            </a:lvl2pPr>
            <a:lvl3pPr marL="15479" indent="0">
              <a:spcAft>
                <a:spcPts val="150"/>
              </a:spcAft>
              <a:buFont typeface="Wingdings" pitchFamily="2" charset="2"/>
              <a:buNone/>
              <a:tabLst/>
              <a:defRPr sz="1050">
                <a:solidFill>
                  <a:schemeClr val="tx1"/>
                </a:solidFill>
              </a:defRPr>
            </a:lvl3pPr>
            <a:lvl4pPr marL="15479" indent="0">
              <a:spcAft>
                <a:spcPts val="150"/>
              </a:spcAft>
              <a:buFont typeface="System Font Regular"/>
              <a:buNone/>
              <a:tabLst/>
              <a:defRPr sz="1050">
                <a:solidFill>
                  <a:schemeClr val="tx1"/>
                </a:solidFill>
              </a:defRPr>
            </a:lvl4pPr>
            <a:lvl5pPr marL="15479" indent="0">
              <a:spcAft>
                <a:spcPts val="150"/>
              </a:spcAft>
              <a:buNone/>
              <a:tabLst/>
              <a:defRPr sz="1050">
                <a:solidFill>
                  <a:schemeClr val="tx1"/>
                </a:solidFill>
              </a:defRPr>
            </a:lvl5pPr>
            <a:lvl6pPr marL="15479" indent="0">
              <a:buNone/>
              <a:tabLst/>
              <a:defRPr/>
            </a:lvl6pPr>
            <a:lvl7pPr marL="15479" indent="0">
              <a:buNone/>
              <a:tabLst/>
              <a:defRPr/>
            </a:lvl7pPr>
            <a:lvl8pPr marL="15479" indent="0">
              <a:buNone/>
              <a:tabLst/>
              <a:defRPr/>
            </a:lvl8pPr>
            <a:lvl9pPr marL="15479" indent="0">
              <a:buNone/>
              <a:tabLst/>
              <a:defRPr/>
            </a:lvl9pPr>
          </a:lstStyle>
          <a:p>
            <a:pPr lvl="0"/>
            <a:r>
              <a:rPr lang="en-US"/>
              <a:t>Click to add contact information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4" name="Picture Placeholder 2">
            <a:extLst>
              <a:ext uri="{FF2B5EF4-FFF2-40B4-BE49-F238E27FC236}">
                <a16:creationId xmlns:a16="http://schemas.microsoft.com/office/drawing/2014/main" id="{E582B670-FA91-C849-BD22-A066A6FE9B5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695687" y="924724"/>
            <a:ext cx="1543050" cy="1157288"/>
          </a:xfrm>
          <a:prstGeom prst="rect">
            <a:avLst/>
          </a:prstGeom>
          <a:solidFill>
            <a:schemeClr val="accent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headshot</a:t>
            </a:r>
          </a:p>
        </p:txBody>
      </p:sp>
      <p:sp>
        <p:nvSpPr>
          <p:cNvPr id="55" name="Text Placeholder 7">
            <a:extLst>
              <a:ext uri="{FF2B5EF4-FFF2-40B4-BE49-F238E27FC236}">
                <a16:creationId xmlns:a16="http://schemas.microsoft.com/office/drawing/2014/main" id="{022CA3D9-DBCD-8543-9EF3-77B6B03F5142}"/>
              </a:ext>
            </a:extLst>
          </p:cNvPr>
          <p:cNvSpPr>
            <a:spLocks noGrp="1"/>
          </p:cNvSpPr>
          <p:nvPr>
            <p:ph type="body" sz="quarter" idx="1001" hasCustomPrompt="1"/>
          </p:nvPr>
        </p:nvSpPr>
        <p:spPr>
          <a:xfrm>
            <a:off x="2146853" y="3455701"/>
            <a:ext cx="2301461" cy="11572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noAutofit/>
          </a:bodyPr>
          <a:lstStyle>
            <a:lvl1pPr marL="15479" indent="0">
              <a:spcAft>
                <a:spcPts val="225"/>
              </a:spcAft>
              <a:buNone/>
              <a:tabLst/>
              <a:defRPr sz="1050" b="1">
                <a:solidFill>
                  <a:schemeClr val="accent1"/>
                </a:solidFill>
              </a:defRPr>
            </a:lvl1pPr>
            <a:lvl2pPr marL="15479" indent="0">
              <a:spcAft>
                <a:spcPts val="150"/>
              </a:spcAft>
              <a:buNone/>
              <a:tabLst/>
              <a:defRPr sz="1050">
                <a:solidFill>
                  <a:schemeClr val="tx1"/>
                </a:solidFill>
              </a:defRPr>
            </a:lvl2pPr>
            <a:lvl3pPr marL="15479" indent="0">
              <a:spcAft>
                <a:spcPts val="150"/>
              </a:spcAft>
              <a:buFont typeface="Wingdings" pitchFamily="2" charset="2"/>
              <a:buNone/>
              <a:tabLst/>
              <a:defRPr sz="1050">
                <a:solidFill>
                  <a:schemeClr val="tx1"/>
                </a:solidFill>
              </a:defRPr>
            </a:lvl3pPr>
            <a:lvl4pPr marL="15479" indent="0">
              <a:spcAft>
                <a:spcPts val="150"/>
              </a:spcAft>
              <a:buFont typeface="System Font Regular"/>
              <a:buNone/>
              <a:tabLst/>
              <a:defRPr sz="1050">
                <a:solidFill>
                  <a:schemeClr val="tx1"/>
                </a:solidFill>
              </a:defRPr>
            </a:lvl4pPr>
            <a:lvl5pPr marL="15479" indent="0">
              <a:spcAft>
                <a:spcPts val="150"/>
              </a:spcAft>
              <a:buNone/>
              <a:tabLst/>
              <a:defRPr sz="1050">
                <a:solidFill>
                  <a:schemeClr val="tx1"/>
                </a:solidFill>
              </a:defRPr>
            </a:lvl5pPr>
            <a:lvl6pPr marL="15479" indent="0">
              <a:buNone/>
              <a:tabLst/>
              <a:defRPr/>
            </a:lvl6pPr>
            <a:lvl7pPr marL="15479" indent="0">
              <a:buNone/>
              <a:tabLst/>
              <a:defRPr/>
            </a:lvl7pPr>
            <a:lvl8pPr marL="15479" indent="0">
              <a:buNone/>
              <a:tabLst/>
              <a:defRPr/>
            </a:lvl8pPr>
            <a:lvl9pPr marL="15479" indent="0">
              <a:buNone/>
              <a:tabLst/>
              <a:defRPr/>
            </a:lvl9pPr>
          </a:lstStyle>
          <a:p>
            <a:pPr lvl="0"/>
            <a:r>
              <a:rPr lang="en-US"/>
              <a:t>Click to add contact information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6" name="Picture Placeholder 2">
            <a:extLst>
              <a:ext uri="{FF2B5EF4-FFF2-40B4-BE49-F238E27FC236}">
                <a16:creationId xmlns:a16="http://schemas.microsoft.com/office/drawing/2014/main" id="{3953A8BD-C2FA-AE49-99CC-15B59CE56A15}"/>
              </a:ext>
            </a:extLst>
          </p:cNvPr>
          <p:cNvSpPr>
            <a:spLocks noGrp="1"/>
          </p:cNvSpPr>
          <p:nvPr>
            <p:ph type="pic" sz="quarter" idx="1002" hasCustomPrompt="1"/>
          </p:nvPr>
        </p:nvSpPr>
        <p:spPr>
          <a:xfrm>
            <a:off x="431800" y="3455308"/>
            <a:ext cx="1543050" cy="1157288"/>
          </a:xfrm>
          <a:prstGeom prst="rect">
            <a:avLst/>
          </a:prstGeom>
          <a:solidFill>
            <a:schemeClr val="accent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headshot</a:t>
            </a:r>
          </a:p>
        </p:txBody>
      </p:sp>
      <p:sp>
        <p:nvSpPr>
          <p:cNvPr id="57" name="Text Placeholder 7">
            <a:extLst>
              <a:ext uri="{FF2B5EF4-FFF2-40B4-BE49-F238E27FC236}">
                <a16:creationId xmlns:a16="http://schemas.microsoft.com/office/drawing/2014/main" id="{1B6BB86B-8CCA-614F-97F8-932E6DC1B83C}"/>
              </a:ext>
            </a:extLst>
          </p:cNvPr>
          <p:cNvSpPr>
            <a:spLocks noGrp="1"/>
          </p:cNvSpPr>
          <p:nvPr>
            <p:ph type="body" sz="quarter" idx="1003" hasCustomPrompt="1"/>
          </p:nvPr>
        </p:nvSpPr>
        <p:spPr>
          <a:xfrm>
            <a:off x="6410740" y="3455701"/>
            <a:ext cx="2301461" cy="11572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noAutofit/>
          </a:bodyPr>
          <a:lstStyle>
            <a:lvl1pPr marL="15479" indent="0">
              <a:spcAft>
                <a:spcPts val="225"/>
              </a:spcAft>
              <a:buNone/>
              <a:tabLst/>
              <a:defRPr sz="1050" b="1">
                <a:solidFill>
                  <a:schemeClr val="accent1"/>
                </a:solidFill>
              </a:defRPr>
            </a:lvl1pPr>
            <a:lvl2pPr marL="15479" indent="0">
              <a:spcAft>
                <a:spcPts val="150"/>
              </a:spcAft>
              <a:buNone/>
              <a:tabLst/>
              <a:defRPr sz="1050">
                <a:solidFill>
                  <a:schemeClr val="tx1"/>
                </a:solidFill>
              </a:defRPr>
            </a:lvl2pPr>
            <a:lvl3pPr marL="15479" indent="0">
              <a:spcAft>
                <a:spcPts val="150"/>
              </a:spcAft>
              <a:buFont typeface="Wingdings" pitchFamily="2" charset="2"/>
              <a:buNone/>
              <a:tabLst/>
              <a:defRPr sz="1050">
                <a:solidFill>
                  <a:schemeClr val="tx1"/>
                </a:solidFill>
              </a:defRPr>
            </a:lvl3pPr>
            <a:lvl4pPr marL="15479" indent="0">
              <a:spcAft>
                <a:spcPts val="150"/>
              </a:spcAft>
              <a:buFont typeface="System Font Regular"/>
              <a:buNone/>
              <a:tabLst/>
              <a:defRPr sz="1050">
                <a:solidFill>
                  <a:schemeClr val="tx1"/>
                </a:solidFill>
              </a:defRPr>
            </a:lvl4pPr>
            <a:lvl5pPr marL="15479" indent="0">
              <a:spcAft>
                <a:spcPts val="150"/>
              </a:spcAft>
              <a:buNone/>
              <a:tabLst/>
              <a:defRPr sz="1050">
                <a:solidFill>
                  <a:schemeClr val="tx1"/>
                </a:solidFill>
              </a:defRPr>
            </a:lvl5pPr>
            <a:lvl6pPr marL="15479" indent="0">
              <a:buNone/>
              <a:tabLst/>
              <a:defRPr/>
            </a:lvl6pPr>
            <a:lvl7pPr marL="15479" indent="0">
              <a:buNone/>
              <a:tabLst/>
              <a:defRPr/>
            </a:lvl7pPr>
            <a:lvl8pPr marL="15479" indent="0">
              <a:buNone/>
              <a:tabLst/>
              <a:defRPr/>
            </a:lvl8pPr>
            <a:lvl9pPr marL="15479" indent="0">
              <a:buNone/>
              <a:tabLst/>
              <a:defRPr/>
            </a:lvl9pPr>
          </a:lstStyle>
          <a:p>
            <a:pPr lvl="0"/>
            <a:r>
              <a:rPr lang="en-US"/>
              <a:t>Click to add contact information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8" name="Picture Placeholder 2">
            <a:extLst>
              <a:ext uri="{FF2B5EF4-FFF2-40B4-BE49-F238E27FC236}">
                <a16:creationId xmlns:a16="http://schemas.microsoft.com/office/drawing/2014/main" id="{E582B670-FA91-C849-BD22-A066A6FE9B53}"/>
              </a:ext>
            </a:extLst>
          </p:cNvPr>
          <p:cNvSpPr>
            <a:spLocks noGrp="1"/>
          </p:cNvSpPr>
          <p:nvPr>
            <p:ph type="pic" sz="quarter" idx="1004" hasCustomPrompt="1"/>
          </p:nvPr>
        </p:nvSpPr>
        <p:spPr>
          <a:xfrm>
            <a:off x="4695687" y="3455308"/>
            <a:ext cx="1543050" cy="1157288"/>
          </a:xfrm>
          <a:prstGeom prst="rect">
            <a:avLst/>
          </a:prstGeom>
          <a:solidFill>
            <a:schemeClr val="accent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headshot</a:t>
            </a:r>
          </a:p>
        </p:txBody>
      </p:sp>
      <p:sp>
        <p:nvSpPr>
          <p:cNvPr id="59" name="Text Placeholder 7">
            <a:extLst>
              <a:ext uri="{FF2B5EF4-FFF2-40B4-BE49-F238E27FC236}">
                <a16:creationId xmlns:a16="http://schemas.microsoft.com/office/drawing/2014/main" id="{022CA3D9-DBCD-8543-9EF3-77B6B03F5142}"/>
              </a:ext>
            </a:extLst>
          </p:cNvPr>
          <p:cNvSpPr>
            <a:spLocks noGrp="1"/>
          </p:cNvSpPr>
          <p:nvPr>
            <p:ph type="body" sz="quarter" idx="1005" hasCustomPrompt="1"/>
          </p:nvPr>
        </p:nvSpPr>
        <p:spPr>
          <a:xfrm>
            <a:off x="2146853" y="2184905"/>
            <a:ext cx="2301461" cy="11572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noAutofit/>
          </a:bodyPr>
          <a:lstStyle>
            <a:lvl1pPr marL="15479" indent="0">
              <a:spcAft>
                <a:spcPts val="225"/>
              </a:spcAft>
              <a:buNone/>
              <a:tabLst/>
              <a:defRPr sz="1050" b="1">
                <a:solidFill>
                  <a:schemeClr val="accent1"/>
                </a:solidFill>
              </a:defRPr>
            </a:lvl1pPr>
            <a:lvl2pPr marL="15479" indent="0">
              <a:spcAft>
                <a:spcPts val="150"/>
              </a:spcAft>
              <a:buNone/>
              <a:tabLst/>
              <a:defRPr sz="1050">
                <a:solidFill>
                  <a:schemeClr val="tx1"/>
                </a:solidFill>
              </a:defRPr>
            </a:lvl2pPr>
            <a:lvl3pPr marL="15479" indent="0">
              <a:spcAft>
                <a:spcPts val="150"/>
              </a:spcAft>
              <a:buFont typeface="Wingdings" pitchFamily="2" charset="2"/>
              <a:buNone/>
              <a:tabLst/>
              <a:defRPr sz="1050">
                <a:solidFill>
                  <a:schemeClr val="tx1"/>
                </a:solidFill>
              </a:defRPr>
            </a:lvl3pPr>
            <a:lvl4pPr marL="15479" indent="0">
              <a:spcAft>
                <a:spcPts val="150"/>
              </a:spcAft>
              <a:buFont typeface="System Font Regular"/>
              <a:buNone/>
              <a:tabLst/>
              <a:defRPr sz="1050">
                <a:solidFill>
                  <a:schemeClr val="tx1"/>
                </a:solidFill>
              </a:defRPr>
            </a:lvl4pPr>
            <a:lvl5pPr marL="15479" indent="0">
              <a:spcAft>
                <a:spcPts val="150"/>
              </a:spcAft>
              <a:buNone/>
              <a:tabLst/>
              <a:defRPr sz="1050">
                <a:solidFill>
                  <a:schemeClr val="tx1"/>
                </a:solidFill>
              </a:defRPr>
            </a:lvl5pPr>
            <a:lvl6pPr marL="15479" indent="0">
              <a:buNone/>
              <a:tabLst/>
              <a:defRPr/>
            </a:lvl6pPr>
            <a:lvl7pPr marL="15479" indent="0">
              <a:buNone/>
              <a:tabLst/>
              <a:defRPr/>
            </a:lvl7pPr>
            <a:lvl8pPr marL="15479" indent="0">
              <a:buNone/>
              <a:tabLst/>
              <a:defRPr/>
            </a:lvl8pPr>
            <a:lvl9pPr marL="15479" indent="0">
              <a:buNone/>
              <a:tabLst/>
              <a:defRPr/>
            </a:lvl9pPr>
          </a:lstStyle>
          <a:p>
            <a:pPr lvl="0"/>
            <a:r>
              <a:rPr lang="en-US"/>
              <a:t>Click to add contact information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0" name="Picture Placeholder 2">
            <a:extLst>
              <a:ext uri="{FF2B5EF4-FFF2-40B4-BE49-F238E27FC236}">
                <a16:creationId xmlns:a16="http://schemas.microsoft.com/office/drawing/2014/main" id="{3953A8BD-C2FA-AE49-99CC-15B59CE56A15}"/>
              </a:ext>
            </a:extLst>
          </p:cNvPr>
          <p:cNvSpPr>
            <a:spLocks noGrp="1"/>
          </p:cNvSpPr>
          <p:nvPr>
            <p:ph type="pic" sz="quarter" idx="1006" hasCustomPrompt="1"/>
          </p:nvPr>
        </p:nvSpPr>
        <p:spPr>
          <a:xfrm>
            <a:off x="431800" y="2184512"/>
            <a:ext cx="1543050" cy="1157288"/>
          </a:xfrm>
          <a:prstGeom prst="rect">
            <a:avLst/>
          </a:prstGeom>
          <a:solidFill>
            <a:schemeClr val="accent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headshot</a:t>
            </a:r>
          </a:p>
        </p:txBody>
      </p:sp>
      <p:sp>
        <p:nvSpPr>
          <p:cNvPr id="61" name="Text Placeholder 7">
            <a:extLst>
              <a:ext uri="{FF2B5EF4-FFF2-40B4-BE49-F238E27FC236}">
                <a16:creationId xmlns:a16="http://schemas.microsoft.com/office/drawing/2014/main" id="{1B6BB86B-8CCA-614F-97F8-932E6DC1B83C}"/>
              </a:ext>
            </a:extLst>
          </p:cNvPr>
          <p:cNvSpPr>
            <a:spLocks noGrp="1"/>
          </p:cNvSpPr>
          <p:nvPr>
            <p:ph type="body" sz="quarter" idx="1007" hasCustomPrompt="1"/>
          </p:nvPr>
        </p:nvSpPr>
        <p:spPr>
          <a:xfrm>
            <a:off x="6410740" y="2184905"/>
            <a:ext cx="2301461" cy="11572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noAutofit/>
          </a:bodyPr>
          <a:lstStyle>
            <a:lvl1pPr marL="15479" indent="0">
              <a:spcAft>
                <a:spcPts val="225"/>
              </a:spcAft>
              <a:buNone/>
              <a:tabLst/>
              <a:defRPr sz="1050" b="1">
                <a:solidFill>
                  <a:schemeClr val="accent1"/>
                </a:solidFill>
              </a:defRPr>
            </a:lvl1pPr>
            <a:lvl2pPr marL="15479" indent="0">
              <a:spcAft>
                <a:spcPts val="150"/>
              </a:spcAft>
              <a:buNone/>
              <a:tabLst/>
              <a:defRPr sz="1050">
                <a:solidFill>
                  <a:schemeClr val="tx1"/>
                </a:solidFill>
              </a:defRPr>
            </a:lvl2pPr>
            <a:lvl3pPr marL="15479" indent="0">
              <a:spcAft>
                <a:spcPts val="150"/>
              </a:spcAft>
              <a:buFont typeface="Wingdings" pitchFamily="2" charset="2"/>
              <a:buNone/>
              <a:tabLst/>
              <a:defRPr sz="1050">
                <a:solidFill>
                  <a:schemeClr val="tx1"/>
                </a:solidFill>
              </a:defRPr>
            </a:lvl3pPr>
            <a:lvl4pPr marL="15479" indent="0">
              <a:spcAft>
                <a:spcPts val="150"/>
              </a:spcAft>
              <a:buFont typeface="System Font Regular"/>
              <a:buNone/>
              <a:tabLst/>
              <a:defRPr sz="1050">
                <a:solidFill>
                  <a:schemeClr val="tx1"/>
                </a:solidFill>
              </a:defRPr>
            </a:lvl4pPr>
            <a:lvl5pPr marL="15479" indent="0">
              <a:spcAft>
                <a:spcPts val="150"/>
              </a:spcAft>
              <a:buNone/>
              <a:tabLst/>
              <a:defRPr sz="1050">
                <a:solidFill>
                  <a:schemeClr val="tx1"/>
                </a:solidFill>
              </a:defRPr>
            </a:lvl5pPr>
            <a:lvl6pPr marL="15479" indent="0">
              <a:buNone/>
              <a:tabLst/>
              <a:defRPr/>
            </a:lvl6pPr>
            <a:lvl7pPr marL="15479" indent="0">
              <a:buNone/>
              <a:tabLst/>
              <a:defRPr/>
            </a:lvl7pPr>
            <a:lvl8pPr marL="15479" indent="0">
              <a:buNone/>
              <a:tabLst/>
              <a:defRPr/>
            </a:lvl8pPr>
            <a:lvl9pPr marL="15479" indent="0">
              <a:buNone/>
              <a:tabLst/>
              <a:defRPr/>
            </a:lvl9pPr>
          </a:lstStyle>
          <a:p>
            <a:pPr lvl="0"/>
            <a:r>
              <a:rPr lang="en-US"/>
              <a:t>Click to add contact information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2" name="Picture Placeholder 2">
            <a:extLst>
              <a:ext uri="{FF2B5EF4-FFF2-40B4-BE49-F238E27FC236}">
                <a16:creationId xmlns:a16="http://schemas.microsoft.com/office/drawing/2014/main" id="{E582B670-FA91-C849-BD22-A066A6FE9B53}"/>
              </a:ext>
            </a:extLst>
          </p:cNvPr>
          <p:cNvSpPr>
            <a:spLocks noGrp="1"/>
          </p:cNvSpPr>
          <p:nvPr>
            <p:ph type="pic" sz="quarter" idx="1008" hasCustomPrompt="1"/>
          </p:nvPr>
        </p:nvSpPr>
        <p:spPr>
          <a:xfrm>
            <a:off x="4695687" y="2184512"/>
            <a:ext cx="1543050" cy="1157288"/>
          </a:xfrm>
          <a:prstGeom prst="rect">
            <a:avLst/>
          </a:prstGeom>
          <a:solidFill>
            <a:schemeClr val="accent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headshot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766E2A4-7A9C-6B40-BD3F-4DD3FBAE2121}"/>
              </a:ext>
            </a:extLst>
          </p:cNvPr>
          <p:cNvGrpSpPr/>
          <p:nvPr userDrawn="1"/>
        </p:nvGrpSpPr>
        <p:grpSpPr>
          <a:xfrm>
            <a:off x="9399183" y="-1"/>
            <a:ext cx="2961715" cy="6287462"/>
            <a:chOff x="9399182" y="-1"/>
            <a:chExt cx="2961715" cy="8383282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034C8B5B-FB2C-7C44-AAFB-0A322448A16B}"/>
                </a:ext>
              </a:extLst>
            </p:cNvPr>
            <p:cNvSpPr/>
            <p:nvPr userDrawn="1"/>
          </p:nvSpPr>
          <p:spPr>
            <a:xfrm>
              <a:off x="9399182" y="-1"/>
              <a:ext cx="2798651" cy="822960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050"/>
            </a:p>
          </p:txBody>
        </p:sp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535BEB65-F661-CA44-BF4A-4739FD15E76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44907"/>
            <a:stretch/>
          </p:blipFill>
          <p:spPr>
            <a:xfrm>
              <a:off x="9558505" y="1326787"/>
              <a:ext cx="2639326" cy="517021"/>
            </a:xfrm>
            <a:prstGeom prst="rect">
              <a:avLst/>
            </a:prstGeom>
          </p:spPr>
        </p:pic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7E0FF283-DF06-F948-94DA-DE9EF964F624}"/>
                </a:ext>
              </a:extLst>
            </p:cNvPr>
            <p:cNvSpPr txBox="1"/>
            <p:nvPr userDrawn="1"/>
          </p:nvSpPr>
          <p:spPr>
            <a:xfrm>
              <a:off x="9558507" y="3863269"/>
              <a:ext cx="1614224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sz="825">
                  <a:solidFill>
                    <a:schemeClr val="bg1"/>
                  </a:solidFill>
                </a:rPr>
                <a:t>TIPS FOR ADDING HEADSHOTS</a:t>
              </a:r>
            </a:p>
          </p:txBody>
        </p: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E8F507BA-3C92-8644-BDBD-45B4FDF18BF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4065886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C71155CD-BB6D-C646-8CC8-AF1F24B7C98C}"/>
                </a:ext>
              </a:extLst>
            </p:cNvPr>
            <p:cNvSpPr/>
            <p:nvPr userDrawn="1"/>
          </p:nvSpPr>
          <p:spPr>
            <a:xfrm>
              <a:off x="9541497" y="162442"/>
              <a:ext cx="2819400" cy="814510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/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CCC62A9D-5394-674A-BEAB-97FADBEC0916}"/>
                </a:ext>
              </a:extLst>
            </p:cNvPr>
            <p:cNvSpPr txBox="1"/>
            <p:nvPr userDrawn="1"/>
          </p:nvSpPr>
          <p:spPr>
            <a:xfrm>
              <a:off x="10147060" y="306442"/>
              <a:ext cx="2129588" cy="50783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algn="l"/>
              <a:r>
                <a:rPr lang="en-US" sz="8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Access programmed text formats by using the ‘Indent More’ button to change the indent level.</a:t>
              </a:r>
            </a:p>
          </p:txBody>
        </p:sp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0E89AECA-429D-484C-90EB-560EABFCF66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8882" t="5165" r="-1"/>
            <a:stretch/>
          </p:blipFill>
          <p:spPr>
            <a:xfrm>
              <a:off x="9694938" y="411250"/>
              <a:ext cx="324017" cy="289055"/>
            </a:xfrm>
            <a:prstGeom prst="roundRect">
              <a:avLst/>
            </a:prstGeom>
          </p:spPr>
        </p:pic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D2341F3F-7DFB-874E-A13E-07D7F7B9D8F1}"/>
                </a:ext>
              </a:extLst>
            </p:cNvPr>
            <p:cNvSpPr/>
            <p:nvPr userDrawn="1"/>
          </p:nvSpPr>
          <p:spPr>
            <a:xfrm>
              <a:off x="9541497" y="6971966"/>
              <a:ext cx="2735151" cy="1411315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/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85D71E54-D6BA-0E40-A53B-AF7E62071130}"/>
                </a:ext>
              </a:extLst>
            </p:cNvPr>
            <p:cNvSpPr txBox="1"/>
            <p:nvPr userDrawn="1"/>
          </p:nvSpPr>
          <p:spPr>
            <a:xfrm>
              <a:off x="9907688" y="7100766"/>
              <a:ext cx="2368960" cy="169277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algn="l"/>
              <a:r>
                <a:rPr lang="en-US" sz="8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IP: Change Image</a:t>
              </a:r>
            </a:p>
          </p:txBody>
        </p:sp>
        <p:pic>
          <p:nvPicPr>
            <p:cNvPr id="68" name="Graphic 67">
              <a:extLst>
                <a:ext uri="{FF2B5EF4-FFF2-40B4-BE49-F238E27FC236}">
                  <a16:creationId xmlns:a16="http://schemas.microsoft.com/office/drawing/2014/main" id="{BB5031F7-D2AF-CA4F-A8CB-7CFFD0DFE745}"/>
                </a:ext>
              </a:extLst>
            </p:cNvPr>
            <p:cNvPicPr>
              <a:picLocks noChangeAspect="1"/>
            </p:cNvPicPr>
            <p:nvPr userDrawn="1"/>
          </p:nvPicPr>
          <p:blipFill>
            <a:blip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9701720" y="7111049"/>
              <a:ext cx="155227" cy="155227"/>
            </a:xfrm>
            <a:prstGeom prst="rect">
              <a:avLst/>
            </a:prstGeom>
          </p:spPr>
        </p:pic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BCF278F6-1885-9845-A8B6-104A81007CE1}"/>
                </a:ext>
              </a:extLst>
            </p:cNvPr>
            <p:cNvSpPr txBox="1"/>
            <p:nvPr userDrawn="1"/>
          </p:nvSpPr>
          <p:spPr>
            <a:xfrm>
              <a:off x="9716735" y="7680749"/>
              <a:ext cx="2422981" cy="373948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101204" lvl="1" indent="-98822" algn="l" defTabSz="6858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225"/>
                </a:spcAft>
                <a:buFont typeface="Wingdings" pitchFamily="2" charset="2"/>
                <a:buChar char="§"/>
                <a:tabLst/>
                <a:defRPr/>
              </a:pPr>
              <a: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Deleting the image may bring the image placeholder to the top layer. Right-click on the placeholder and choose “Send to Back”.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66ACDF17-388A-C643-B5AD-ED6E1C649F65}"/>
                </a:ext>
              </a:extLst>
            </p:cNvPr>
            <p:cNvSpPr txBox="1"/>
            <p:nvPr userDrawn="1"/>
          </p:nvSpPr>
          <p:spPr>
            <a:xfrm>
              <a:off x="9716735" y="7361905"/>
              <a:ext cx="2422981" cy="2769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0" algn="l" defTabSz="685800" rtl="0" eaLnBrk="1" latinLnBrk="0" hangingPunct="1">
                <a:spcBef>
                  <a:spcPts val="150"/>
                </a:spcBef>
              </a:pPr>
              <a: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First, delete the existing image to reset the photo placeholder functionality.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938CA5F0-0B3E-8343-A9CF-99D356C37500}"/>
                </a:ext>
              </a:extLst>
            </p:cNvPr>
            <p:cNvSpPr txBox="1"/>
            <p:nvPr userDrawn="1"/>
          </p:nvSpPr>
          <p:spPr>
            <a:xfrm>
              <a:off x="9716735" y="8130426"/>
              <a:ext cx="2422981" cy="138500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0" algn="l" defTabSz="685800" rtl="0" eaLnBrk="1" latinLnBrk="0" hangingPunct="1">
                <a:spcBef>
                  <a:spcPts val="150"/>
                </a:spcBef>
              </a:pPr>
              <a: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You can now add a new image as normal.</a:t>
              </a: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5D42C796-9096-EE43-BA39-054BDFD8C7DC}"/>
                </a:ext>
              </a:extLst>
            </p:cNvPr>
            <p:cNvSpPr/>
            <p:nvPr userDrawn="1"/>
          </p:nvSpPr>
          <p:spPr>
            <a:xfrm>
              <a:off x="9541497" y="5615310"/>
              <a:ext cx="2735151" cy="1280928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/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45520887-BC9C-114D-AD47-51EA84357B7B}"/>
                </a:ext>
              </a:extLst>
            </p:cNvPr>
            <p:cNvSpPr txBox="1"/>
            <p:nvPr userDrawn="1"/>
          </p:nvSpPr>
          <p:spPr>
            <a:xfrm>
              <a:off x="9907688" y="5744109"/>
              <a:ext cx="2368960" cy="169277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algn="l"/>
              <a:r>
                <a:rPr lang="en-US" sz="8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IP: Crop Image</a:t>
              </a:r>
            </a:p>
          </p:txBody>
        </p:sp>
        <p:pic>
          <p:nvPicPr>
            <p:cNvPr id="77" name="Graphic 76">
              <a:extLst>
                <a:ext uri="{FF2B5EF4-FFF2-40B4-BE49-F238E27FC236}">
                  <a16:creationId xmlns:a16="http://schemas.microsoft.com/office/drawing/2014/main" id="{3577901F-4F1C-6E43-AE9A-07AC98F7E643}"/>
                </a:ext>
              </a:extLst>
            </p:cNvPr>
            <p:cNvPicPr>
              <a:picLocks noChangeAspect="1"/>
            </p:cNvPicPr>
            <p:nvPr userDrawn="1"/>
          </p:nvPicPr>
          <p:blipFill>
            <a:blip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9701720" y="5754392"/>
              <a:ext cx="155227" cy="155227"/>
            </a:xfrm>
            <a:prstGeom prst="rect">
              <a:avLst/>
            </a:prstGeom>
          </p:spPr>
        </p:pic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7B01DCF4-9CAD-3E46-8A50-BC4709155B06}"/>
                </a:ext>
              </a:extLst>
            </p:cNvPr>
            <p:cNvSpPr txBox="1"/>
            <p:nvPr userDrawn="1"/>
          </p:nvSpPr>
          <p:spPr>
            <a:xfrm>
              <a:off x="9701720" y="6008293"/>
              <a:ext cx="2384904" cy="77713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1">
                <a:defRPr/>
              </a:pPr>
              <a: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Right-click on the image.</a:t>
              </a:r>
            </a:p>
            <a:p>
              <a:pPr lvl="1">
                <a:defRPr/>
              </a:pPr>
              <a: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Choose “Crop” from the menu. (       )</a:t>
              </a:r>
            </a:p>
            <a:p>
              <a:pPr lvl="1">
                <a:defRPr/>
              </a:pPr>
              <a: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Adjust the size and position of the image.</a:t>
              </a:r>
            </a:p>
            <a:p>
              <a:pPr lvl="1">
                <a:defRPr/>
              </a:pPr>
              <a: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Press Esc or click outside the image area to exit the cropping mode.</a:t>
              </a:r>
            </a:p>
          </p:txBody>
        </p:sp>
        <p:pic>
          <p:nvPicPr>
            <p:cNvPr id="79" name="Picture 78">
              <a:extLst>
                <a:ext uri="{FF2B5EF4-FFF2-40B4-BE49-F238E27FC236}">
                  <a16:creationId xmlns:a16="http://schemas.microsoft.com/office/drawing/2014/main" id="{C7C815DD-9D6F-524D-8717-D4D467D9AC1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/>
            <a:srcRect l="33684" t="12097" r="43371" b="20368"/>
            <a:stretch/>
          </p:blipFill>
          <p:spPr>
            <a:xfrm>
              <a:off x="11498723" y="6092726"/>
              <a:ext cx="136897" cy="213643"/>
            </a:xfrm>
            <a:prstGeom prst="rect">
              <a:avLst/>
            </a:prstGeom>
            <a:ln w="19050">
              <a:solidFill>
                <a:schemeClr val="accent3">
                  <a:lumMod val="60000"/>
                  <a:lumOff val="40000"/>
                </a:schemeClr>
              </a:solidFill>
            </a:ln>
          </p:spPr>
        </p:pic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2A45E990-D01D-064A-A20A-E8C8CC6E4ABD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9521833" y="4213416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375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1</a:t>
              </a: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8AA89570-2399-5847-8669-4AAF530EA38A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9521833" y="4538160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375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2</a:t>
              </a: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28BE45B5-340E-F641-B09F-AD59D8FD0DD5}"/>
                </a:ext>
              </a:extLst>
            </p:cNvPr>
            <p:cNvSpPr txBox="1"/>
            <p:nvPr userDrawn="1"/>
          </p:nvSpPr>
          <p:spPr>
            <a:xfrm>
              <a:off x="9686426" y="4188389"/>
              <a:ext cx="2453290" cy="16166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sz="788"/>
                <a:t>Add the photos to the placeholders.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DAB12CD4-A662-8E4E-A50D-9F0F7977FB9C}"/>
                </a:ext>
              </a:extLst>
            </p:cNvPr>
            <p:cNvSpPr txBox="1"/>
            <p:nvPr userDrawn="1"/>
          </p:nvSpPr>
          <p:spPr>
            <a:xfrm>
              <a:off x="9686425" y="4503349"/>
              <a:ext cx="1468453" cy="958724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sz="788"/>
                <a:t>Crop the headshots so that they match:</a:t>
              </a:r>
            </a:p>
            <a:p>
              <a:pPr lvl="1"/>
              <a:r>
                <a:rPr lang="en-US" sz="675"/>
                <a:t>Heads are the same size and relative position</a:t>
              </a:r>
            </a:p>
            <a:p>
              <a:pPr marL="101204" marR="0" lvl="1" indent="-98822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225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lang="en-US" sz="675"/>
                <a:t>The entire head is visible</a:t>
              </a:r>
            </a:p>
            <a:p>
              <a:pPr lvl="1"/>
              <a:r>
                <a:rPr lang="en-US" sz="675"/>
                <a:t>Shoulders are visible</a:t>
              </a: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DE9B88A4-46AB-6C41-B3DF-20247111449B}"/>
                </a:ext>
              </a:extLst>
            </p:cNvPr>
            <p:cNvSpPr/>
            <p:nvPr userDrawn="1"/>
          </p:nvSpPr>
          <p:spPr>
            <a:xfrm>
              <a:off x="9541497" y="1981952"/>
              <a:ext cx="2735151" cy="1739504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/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2D7C5D91-095D-0049-BECC-ACFE7362EAB2}"/>
                </a:ext>
              </a:extLst>
            </p:cNvPr>
            <p:cNvSpPr txBox="1"/>
            <p:nvPr userDrawn="1"/>
          </p:nvSpPr>
          <p:spPr>
            <a:xfrm>
              <a:off x="9907688" y="2110751"/>
              <a:ext cx="2368960" cy="169277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algn="l"/>
              <a:r>
                <a:rPr lang="en-US" sz="8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IP: Undo Hyperlink</a:t>
              </a:r>
            </a:p>
          </p:txBody>
        </p:sp>
        <p:pic>
          <p:nvPicPr>
            <p:cNvPr id="86" name="Graphic 85">
              <a:extLst>
                <a:ext uri="{FF2B5EF4-FFF2-40B4-BE49-F238E27FC236}">
                  <a16:creationId xmlns:a16="http://schemas.microsoft.com/office/drawing/2014/main" id="{BC467E62-41AB-1547-BAA0-0497DA492F31}"/>
                </a:ext>
              </a:extLst>
            </p:cNvPr>
            <p:cNvPicPr>
              <a:picLocks noChangeAspect="1"/>
            </p:cNvPicPr>
            <p:nvPr userDrawn="1"/>
          </p:nvPicPr>
          <p:blipFill>
            <a:blip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9701720" y="2121034"/>
              <a:ext cx="155227" cy="155227"/>
            </a:xfrm>
            <a:prstGeom prst="rect">
              <a:avLst/>
            </a:prstGeom>
          </p:spPr>
        </p:pic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B99EEBE7-201D-0E4C-927E-FE3966451069}"/>
                </a:ext>
              </a:extLst>
            </p:cNvPr>
            <p:cNvSpPr txBox="1"/>
            <p:nvPr userDrawn="1"/>
          </p:nvSpPr>
          <p:spPr>
            <a:xfrm>
              <a:off x="9701720" y="2736189"/>
              <a:ext cx="2384904" cy="2492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1">
                <a:defRPr/>
              </a:pPr>
              <a: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As soon as the hyperlink formatting appears, Undo once to remove the format.</a:t>
              </a: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0A515CD1-7A4D-5943-AF1E-A861CA3992AF}"/>
                </a:ext>
              </a:extLst>
            </p:cNvPr>
            <p:cNvSpPr txBox="1"/>
            <p:nvPr userDrawn="1"/>
          </p:nvSpPr>
          <p:spPr>
            <a:xfrm>
              <a:off x="9694938" y="2378701"/>
              <a:ext cx="2422981" cy="2769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0" algn="l" defTabSz="685800" rtl="0" eaLnBrk="1" latinLnBrk="0" hangingPunct="1">
                <a:spcBef>
                  <a:spcPts val="150"/>
                </a:spcBef>
              </a:pPr>
              <a: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Typing an email address into the contact info will automatically create a hyperlink.</a:t>
              </a: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FE15B6C7-CC3C-9547-B859-96AB175C6BDB}"/>
                </a:ext>
              </a:extLst>
            </p:cNvPr>
            <p:cNvSpPr txBox="1"/>
            <p:nvPr userDrawn="1"/>
          </p:nvSpPr>
          <p:spPr>
            <a:xfrm>
              <a:off x="9830981" y="3018869"/>
              <a:ext cx="2374733" cy="10772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525">
                  <a:solidFill>
                    <a:schemeClr val="bg1">
                      <a:lumMod val="65000"/>
                    </a:schemeClr>
                  </a:solidFill>
                </a:rPr>
                <a:t>You can use CTRL+Z or the menu button.</a:t>
              </a: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0BB739D9-93EF-604B-B664-982F20E91B52}"/>
                </a:ext>
              </a:extLst>
            </p:cNvPr>
            <p:cNvSpPr txBox="1"/>
            <p:nvPr userDrawn="1"/>
          </p:nvSpPr>
          <p:spPr>
            <a:xfrm>
              <a:off x="9701720" y="3193389"/>
              <a:ext cx="2384904" cy="373948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1">
                <a:defRPr/>
              </a:pPr>
              <a: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To remove an pre-existing hyperlink, </a:t>
              </a:r>
              <a:b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</a:br>
              <a:r>
                <a:rPr lang="en-US" sz="675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right click on the hyperlink and choose “Remove Link” (                 )</a:t>
              </a:r>
            </a:p>
          </p:txBody>
        </p:sp>
        <p:pic>
          <p:nvPicPr>
            <p:cNvPr id="91" name="Picture 90">
              <a:extLst>
                <a:ext uri="{FF2B5EF4-FFF2-40B4-BE49-F238E27FC236}">
                  <a16:creationId xmlns:a16="http://schemas.microsoft.com/office/drawing/2014/main" id="{E9A7FBA7-E4BB-6D46-9DD5-F4390A8393F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/>
            <a:srcRect l="4852" t="17138" r="10283" b="11792"/>
            <a:stretch/>
          </p:blipFill>
          <p:spPr>
            <a:xfrm>
              <a:off x="10676602" y="3460165"/>
              <a:ext cx="478277" cy="101726"/>
            </a:xfrm>
            <a:prstGeom prst="rect">
              <a:avLst/>
            </a:prstGeom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</p:pic>
        <p:pic>
          <p:nvPicPr>
            <p:cNvPr id="92" name="Picture 91">
              <a:extLst>
                <a:ext uri="{FF2B5EF4-FFF2-40B4-BE49-F238E27FC236}">
                  <a16:creationId xmlns:a16="http://schemas.microsoft.com/office/drawing/2014/main" id="{6DCE73ED-99FF-1B46-9E34-8D926E9613F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11251841" y="4562988"/>
              <a:ext cx="849028" cy="849028"/>
            </a:xfrm>
            <a:prstGeom prst="rect">
              <a:avLst/>
            </a:prstGeom>
          </p:spPr>
        </p:pic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654D58EA-8928-9A46-9612-5FEB15C79CF5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1670329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sz="825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590BEFA3-64F0-8A46-A705-CC6B636E92B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92741020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(Plain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FE32CCA1-CED9-294A-A470-F78E958FA780}"/>
              </a:ext>
            </a:extLst>
          </p:cNvPr>
          <p:cNvGrpSpPr/>
          <p:nvPr userDrawn="1"/>
        </p:nvGrpSpPr>
        <p:grpSpPr>
          <a:xfrm>
            <a:off x="9399183" y="-1"/>
            <a:ext cx="2961715" cy="5143502"/>
            <a:chOff x="9399182" y="-1"/>
            <a:chExt cx="2961715" cy="6858002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B6D6B989-9284-9D44-BE14-8A6C89EF3E32}"/>
                </a:ext>
              </a:extLst>
            </p:cNvPr>
            <p:cNvSpPr/>
            <p:nvPr userDrawn="1"/>
          </p:nvSpPr>
          <p:spPr>
            <a:xfrm>
              <a:off x="9399182" y="-1"/>
              <a:ext cx="2798651" cy="685800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050"/>
            </a:p>
          </p:txBody>
        </p:sp>
        <p:pic>
          <p:nvPicPr>
            <p:cNvPr id="58" name="Picture 57">
              <a:extLst>
                <a:ext uri="{FF2B5EF4-FFF2-40B4-BE49-F238E27FC236}">
                  <a16:creationId xmlns:a16="http://schemas.microsoft.com/office/drawing/2014/main" id="{16F5F437-7152-D647-BE19-CA5CFF0C6F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44907"/>
            <a:stretch/>
          </p:blipFill>
          <p:spPr>
            <a:xfrm>
              <a:off x="9558505" y="1326787"/>
              <a:ext cx="2639326" cy="517021"/>
            </a:xfrm>
            <a:prstGeom prst="rect">
              <a:avLst/>
            </a:prstGeom>
          </p:spPr>
        </p:pic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0AC109CA-765B-F445-89D7-F9A56CF3160E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49BBD5DE-FD33-6944-B905-2592D7F1C5E0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E610496C-239D-1644-8DAD-0730905DFAD3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65" name="Picture 64">
                <a:extLst>
                  <a:ext uri="{FF2B5EF4-FFF2-40B4-BE49-F238E27FC236}">
                    <a16:creationId xmlns:a16="http://schemas.microsoft.com/office/drawing/2014/main" id="{A8368BC6-66AD-7E4A-919D-4EE710C4C09E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C7000E6E-6E99-204E-BA7D-E4CA1E9BD536}"/>
                </a:ext>
              </a:extLst>
            </p:cNvPr>
            <p:cNvGrpSpPr/>
            <p:nvPr userDrawn="1"/>
          </p:nvGrpSpPr>
          <p:grpSpPr>
            <a:xfrm>
              <a:off x="9541497" y="2001128"/>
              <a:ext cx="2735151" cy="1739504"/>
              <a:chOff x="9541497" y="2125825"/>
              <a:chExt cx="2735151" cy="1739504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D5C7E2DD-B9AA-7542-BB1C-4EDF4B2874A6}"/>
                  </a:ext>
                </a:extLst>
              </p:cNvPr>
              <p:cNvSpPr/>
              <p:nvPr userDrawn="1"/>
            </p:nvSpPr>
            <p:spPr>
              <a:xfrm>
                <a:off x="9541497" y="2125825"/>
                <a:ext cx="2735151" cy="1739504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A835F353-E20F-7145-A34F-6F386E09121D}"/>
                  </a:ext>
                </a:extLst>
              </p:cNvPr>
              <p:cNvSpPr txBox="1"/>
              <p:nvPr userDrawn="1"/>
            </p:nvSpPr>
            <p:spPr>
              <a:xfrm>
                <a:off x="9907688" y="2254624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Undo Hyperlink</a:t>
                </a:r>
              </a:p>
            </p:txBody>
          </p:sp>
          <p:pic>
            <p:nvPicPr>
              <p:cNvPr id="40" name="Graphic 39">
                <a:extLst>
                  <a:ext uri="{FF2B5EF4-FFF2-40B4-BE49-F238E27FC236}">
                    <a16:creationId xmlns:a16="http://schemas.microsoft.com/office/drawing/2014/main" id="{ACEEC605-AF63-5242-8C8C-3968205B314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9701720" y="2264907"/>
                <a:ext cx="155227" cy="155227"/>
              </a:xfrm>
              <a:prstGeom prst="rect">
                <a:avLst/>
              </a:prstGeom>
            </p:spPr>
          </p:pic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A7DCE96D-FB91-1648-BC3A-ADACF2DFD6A2}"/>
                  </a:ext>
                </a:extLst>
              </p:cNvPr>
              <p:cNvSpPr txBox="1"/>
              <p:nvPr userDrawn="1"/>
            </p:nvSpPr>
            <p:spPr>
              <a:xfrm>
                <a:off x="9701720" y="2880064"/>
                <a:ext cx="2384904" cy="2492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As soon as the hyperlink formatting appears, Undo once to remove the format.</a:t>
                </a:r>
              </a:p>
            </p:txBody>
          </p: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2B0A90B8-B226-E44B-94F1-478141C501EF}"/>
                  </a:ext>
                </a:extLst>
              </p:cNvPr>
              <p:cNvSpPr txBox="1"/>
              <p:nvPr userDrawn="1"/>
            </p:nvSpPr>
            <p:spPr>
              <a:xfrm>
                <a:off x="9694938" y="2522576"/>
                <a:ext cx="2422981" cy="2769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685800" rtl="0" eaLnBrk="1" latinLnBrk="0" hangingPunct="1">
                  <a:spcBef>
                    <a:spcPts val="150"/>
                  </a:spcBef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Typing an email address into the contact info will automatically create a hyperlink.</a:t>
                </a:r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F319E11B-79DC-9145-9D0C-0A5D3FA1DCA8}"/>
                  </a:ext>
                </a:extLst>
              </p:cNvPr>
              <p:cNvSpPr txBox="1"/>
              <p:nvPr userDrawn="1"/>
            </p:nvSpPr>
            <p:spPr>
              <a:xfrm>
                <a:off x="9830981" y="3162742"/>
                <a:ext cx="2374733" cy="107721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>
                    <a:solidFill>
                      <a:schemeClr val="bg1">
                        <a:lumMod val="65000"/>
                      </a:schemeClr>
                    </a:solidFill>
                  </a:rPr>
                  <a:t>You can use CTRL+Z or the menu button.</a:t>
                </a:r>
              </a:p>
            </p:txBody>
          </p: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5A40DD8A-8575-3A45-BCC4-A27FBEB7E728}"/>
                  </a:ext>
                </a:extLst>
              </p:cNvPr>
              <p:cNvSpPr txBox="1"/>
              <p:nvPr userDrawn="1"/>
            </p:nvSpPr>
            <p:spPr>
              <a:xfrm>
                <a:off x="9701720" y="3337264"/>
                <a:ext cx="2384904" cy="373948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To remove an pre-existing hyperlink, </a:t>
                </a:r>
                <a:b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</a:b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right click on the hyperlink and choose “Remove Link” (                 )</a:t>
                </a:r>
              </a:p>
            </p:txBody>
          </p:sp>
          <p:pic>
            <p:nvPicPr>
              <p:cNvPr id="45" name="Picture 44">
                <a:extLst>
                  <a:ext uri="{FF2B5EF4-FFF2-40B4-BE49-F238E27FC236}">
                    <a16:creationId xmlns:a16="http://schemas.microsoft.com/office/drawing/2014/main" id="{81F14588-1C54-AC43-BC7C-54BD1667AB52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5"/>
              <a:srcRect l="4852" t="17138" r="10283" b="11792"/>
              <a:stretch/>
            </p:blipFill>
            <p:spPr>
              <a:xfrm>
                <a:off x="10676602" y="3604038"/>
                <a:ext cx="478277" cy="101726"/>
              </a:xfrm>
              <a:prstGeom prst="rect">
                <a:avLst/>
              </a:prstGeom>
              <a:ln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</p:pic>
        </p:grp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06BE892A-D470-B745-A06E-4422FF2B46B5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1670329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sz="825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F98EF2F6-212E-284F-8D82-E01FF28977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E51CCCAA-D40E-B44E-A126-920CC95387F8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431800" y="1802049"/>
            <a:ext cx="8280400" cy="69218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thank-you messag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22CA3D9-DBCD-8543-9EF3-77B6B03F5142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31800" y="2703111"/>
            <a:ext cx="8280400" cy="11572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noAutofit/>
          </a:bodyPr>
          <a:lstStyle>
            <a:lvl1pPr marL="15479" indent="0">
              <a:spcAft>
                <a:spcPts val="225"/>
              </a:spcAft>
              <a:buNone/>
              <a:tabLst/>
              <a:defRPr sz="1050" b="1">
                <a:solidFill>
                  <a:schemeClr val="accent1"/>
                </a:solidFill>
              </a:defRPr>
            </a:lvl1pPr>
            <a:lvl2pPr marL="15479" indent="0">
              <a:spcAft>
                <a:spcPts val="150"/>
              </a:spcAft>
              <a:buNone/>
              <a:tabLst/>
              <a:defRPr sz="1050">
                <a:solidFill>
                  <a:schemeClr val="tx1"/>
                </a:solidFill>
              </a:defRPr>
            </a:lvl2pPr>
            <a:lvl3pPr marL="15479" indent="0">
              <a:spcAft>
                <a:spcPts val="150"/>
              </a:spcAft>
              <a:buFont typeface="Wingdings" pitchFamily="2" charset="2"/>
              <a:buNone/>
              <a:tabLst/>
              <a:defRPr sz="1050">
                <a:solidFill>
                  <a:schemeClr val="tx1"/>
                </a:solidFill>
              </a:defRPr>
            </a:lvl3pPr>
            <a:lvl4pPr marL="15479" indent="0">
              <a:spcAft>
                <a:spcPts val="150"/>
              </a:spcAft>
              <a:buFont typeface="System Font Regular"/>
              <a:buNone/>
              <a:tabLst/>
              <a:defRPr sz="1050">
                <a:solidFill>
                  <a:schemeClr val="tx1"/>
                </a:solidFill>
              </a:defRPr>
            </a:lvl4pPr>
            <a:lvl5pPr marL="15479" indent="0">
              <a:spcAft>
                <a:spcPts val="150"/>
              </a:spcAft>
              <a:buNone/>
              <a:tabLst/>
              <a:defRPr sz="1050">
                <a:solidFill>
                  <a:schemeClr val="tx1"/>
                </a:solidFill>
              </a:defRPr>
            </a:lvl5pPr>
            <a:lvl6pPr marL="15479" indent="0">
              <a:buNone/>
              <a:tabLst/>
              <a:defRPr/>
            </a:lvl6pPr>
            <a:lvl7pPr marL="15479" indent="0">
              <a:buNone/>
              <a:tabLst/>
              <a:defRPr/>
            </a:lvl7pPr>
            <a:lvl8pPr marL="15479" indent="0">
              <a:buNone/>
              <a:tabLst/>
              <a:defRPr/>
            </a:lvl8pPr>
            <a:lvl9pPr marL="15479" indent="0">
              <a:buNone/>
              <a:tabLst/>
              <a:defRPr/>
            </a:lvl9pPr>
          </a:lstStyle>
          <a:p>
            <a:pPr lvl="0"/>
            <a:r>
              <a:rPr lang="en-US"/>
              <a:t>Click to add contact information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3BFD17EA-819F-DD45-8311-F838F6249E1A}"/>
              </a:ext>
            </a:extLst>
          </p:cNvPr>
          <p:cNvSpPr/>
          <p:nvPr userDrawn="1"/>
        </p:nvSpPr>
        <p:spPr>
          <a:xfrm flipH="1">
            <a:off x="0" y="4522171"/>
            <a:ext cx="6781322" cy="320579"/>
          </a:xfrm>
          <a:custGeom>
            <a:avLst/>
            <a:gdLst>
              <a:gd name="connsiteX0" fmla="*/ 6781322 w 6781322"/>
              <a:gd name="connsiteY0" fmla="*/ 0 h 427439"/>
              <a:gd name="connsiteX1" fmla="*/ 6376846 w 6781322"/>
              <a:gd name="connsiteY1" fmla="*/ 0 h 427439"/>
              <a:gd name="connsiteX2" fmla="*/ 607317 w 6781322"/>
              <a:gd name="connsiteY2" fmla="*/ 0 h 427439"/>
              <a:gd name="connsiteX3" fmla="*/ 202841 w 6781322"/>
              <a:gd name="connsiteY3" fmla="*/ 0 h 427439"/>
              <a:gd name="connsiteX4" fmla="*/ 0 w 6781322"/>
              <a:gd name="connsiteY4" fmla="*/ 427439 h 427439"/>
              <a:gd name="connsiteX5" fmla="*/ 404476 w 6781322"/>
              <a:gd name="connsiteY5" fmla="*/ 427439 h 427439"/>
              <a:gd name="connsiteX6" fmla="*/ 6376846 w 6781322"/>
              <a:gd name="connsiteY6" fmla="*/ 427439 h 427439"/>
              <a:gd name="connsiteX7" fmla="*/ 6781322 w 6781322"/>
              <a:gd name="connsiteY7" fmla="*/ 427439 h 427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81322" h="427439">
                <a:moveTo>
                  <a:pt x="6781322" y="0"/>
                </a:moveTo>
                <a:lnTo>
                  <a:pt x="6376846" y="0"/>
                </a:lnTo>
                <a:lnTo>
                  <a:pt x="607317" y="0"/>
                </a:lnTo>
                <a:lnTo>
                  <a:pt x="202841" y="0"/>
                </a:lnTo>
                <a:lnTo>
                  <a:pt x="0" y="427439"/>
                </a:lnTo>
                <a:lnTo>
                  <a:pt x="404476" y="427439"/>
                </a:lnTo>
                <a:lnTo>
                  <a:pt x="6376846" y="427439"/>
                </a:lnTo>
                <a:lnTo>
                  <a:pt x="6781322" y="42743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1050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DB32357E-8001-BB4B-B6BD-AEA8426DDEF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724098" y="4474686"/>
            <a:ext cx="2151409" cy="416402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329E5FF7-98BC-884F-840D-5E423F4AF849}"/>
              </a:ext>
            </a:extLst>
          </p:cNvPr>
          <p:cNvGrpSpPr/>
          <p:nvPr userDrawn="1"/>
        </p:nvGrpSpPr>
        <p:grpSpPr>
          <a:xfrm>
            <a:off x="-256964" y="1857800"/>
            <a:ext cx="251461" cy="590721"/>
            <a:chOff x="-256404" y="360363"/>
            <a:chExt cx="251461" cy="692152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3CE00DE3-4AF7-8F42-A200-B6BF002E43AF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11" name="Straight Connector 10">
                <a:extLst>
                  <a:ext uri="{FF2B5EF4-FFF2-40B4-BE49-F238E27FC236}">
                    <a16:creationId xmlns:a16="http://schemas.microsoft.com/office/drawing/2014/main" id="{662AF22C-7AFC-C247-A004-09523187568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12">
                <a:extLst>
                  <a:ext uri="{FF2B5EF4-FFF2-40B4-BE49-F238E27FC236}">
                    <a16:creationId xmlns:a16="http://schemas.microsoft.com/office/drawing/2014/main" id="{5DC57299-371A-5D49-B7E8-080D3F8E77D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2C4E3FC2-9801-F941-A31F-83FA02AAD46F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A420265-8660-8D47-879D-AE5074C73B4B}"/>
                </a:ext>
              </a:extLst>
            </p:cNvPr>
            <p:cNvSpPr txBox="1"/>
            <p:nvPr userDrawn="1"/>
          </p:nvSpPr>
          <p:spPr>
            <a:xfrm rot="16200000">
              <a:off x="-360755" y="622269"/>
              <a:ext cx="460172" cy="161583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HANK YOU</a:t>
              </a:r>
              <a:b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MESSAGE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7E46CEE4-894D-624D-A955-EB76D7DD0E0A}"/>
              </a:ext>
            </a:extLst>
          </p:cNvPr>
          <p:cNvGrpSpPr/>
          <p:nvPr userDrawn="1"/>
        </p:nvGrpSpPr>
        <p:grpSpPr>
          <a:xfrm>
            <a:off x="-256964" y="2716972"/>
            <a:ext cx="251461" cy="1130110"/>
            <a:chOff x="-256404" y="360363"/>
            <a:chExt cx="251461" cy="692152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B3D4B207-ECDC-2149-9289-837E9CD2BA4E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C5DB3F20-EFB9-A342-95DF-42A3963D185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9EC292F3-7787-8C42-8363-0B3D8175AC8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32F0246A-EFD3-2048-A326-3DE0B12CA2DE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</p:grp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A0BB0B9-B04C-F344-9EAD-266B7195FA13}"/>
                </a:ext>
              </a:extLst>
            </p:cNvPr>
            <p:cNvSpPr txBox="1"/>
            <p:nvPr userDrawn="1"/>
          </p:nvSpPr>
          <p:spPr>
            <a:xfrm rot="16200000">
              <a:off x="-285789" y="662666"/>
              <a:ext cx="310243" cy="80791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CONTACT INFO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36470FD9-6E01-0B4F-9293-5E77836108A7}"/>
              </a:ext>
            </a:extLst>
          </p:cNvPr>
          <p:cNvGrpSpPr/>
          <p:nvPr userDrawn="1"/>
        </p:nvGrpSpPr>
        <p:grpSpPr>
          <a:xfrm>
            <a:off x="431241" y="-185200"/>
            <a:ext cx="8280400" cy="5510478"/>
            <a:chOff x="431240" y="-246933"/>
            <a:chExt cx="8280400" cy="7347304"/>
          </a:xfrm>
        </p:grpSpPr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A2E8BA8C-8FF3-254C-8529-17D81E9A3EA9}"/>
                </a:ext>
              </a:extLst>
            </p:cNvPr>
            <p:cNvGrpSpPr/>
            <p:nvPr userDrawn="1"/>
          </p:nvGrpSpPr>
          <p:grpSpPr>
            <a:xfrm>
              <a:off x="431242" y="6864579"/>
              <a:ext cx="8280398" cy="235792"/>
              <a:chOff x="431801" y="-235792"/>
              <a:chExt cx="4400550" cy="235792"/>
            </a:xfrm>
          </p:grpSpPr>
          <p:cxnSp>
            <p:nvCxnSpPr>
              <p:cNvPr id="56" name="Straight Connector 55">
                <a:extLst>
                  <a:ext uri="{FF2B5EF4-FFF2-40B4-BE49-F238E27FC236}">
                    <a16:creationId xmlns:a16="http://schemas.microsoft.com/office/drawing/2014/main" id="{50F328EC-B503-354C-8736-5D64EE2969C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Straight Connector 56">
                <a:extLst>
                  <a:ext uri="{FF2B5EF4-FFF2-40B4-BE49-F238E27FC236}">
                    <a16:creationId xmlns:a16="http://schemas.microsoft.com/office/drawing/2014/main" id="{5A29AA69-4035-F742-B4C9-50563DD5BD2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B0AEC935-9C4F-7543-96BF-78796BCB2423}"/>
                </a:ext>
              </a:extLst>
            </p:cNvPr>
            <p:cNvGrpSpPr/>
            <p:nvPr userDrawn="1"/>
          </p:nvGrpSpPr>
          <p:grpSpPr>
            <a:xfrm>
              <a:off x="431240" y="-246933"/>
              <a:ext cx="8280400" cy="235792"/>
              <a:chOff x="431800" y="-240735"/>
              <a:chExt cx="8280400" cy="235792"/>
            </a:xfrm>
          </p:grpSpPr>
          <p:grpSp>
            <p:nvGrpSpPr>
              <p:cNvPr id="49" name="Group 48">
                <a:extLst>
                  <a:ext uri="{FF2B5EF4-FFF2-40B4-BE49-F238E27FC236}">
                    <a16:creationId xmlns:a16="http://schemas.microsoft.com/office/drawing/2014/main" id="{848838DC-C092-C842-8204-37BB10FF8D4C}"/>
                  </a:ext>
                </a:extLst>
              </p:cNvPr>
              <p:cNvGrpSpPr/>
              <p:nvPr userDrawn="1"/>
            </p:nvGrpSpPr>
            <p:grpSpPr>
              <a:xfrm>
                <a:off x="431800" y="-240735"/>
                <a:ext cx="8280400" cy="235792"/>
                <a:chOff x="431800" y="-235792"/>
                <a:chExt cx="4400551" cy="235792"/>
              </a:xfrm>
            </p:grpSpPr>
            <p:cxnSp>
              <p:nvCxnSpPr>
                <p:cNvPr id="53" name="Straight Connector 52">
                  <a:extLst>
                    <a:ext uri="{FF2B5EF4-FFF2-40B4-BE49-F238E27FC236}">
                      <a16:creationId xmlns:a16="http://schemas.microsoft.com/office/drawing/2014/main" id="{5AE9D414-9B70-1A40-A283-B9BE3316F27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4" name="Straight Connector 53">
                  <a:extLst>
                    <a:ext uri="{FF2B5EF4-FFF2-40B4-BE49-F238E27FC236}">
                      <a16:creationId xmlns:a16="http://schemas.microsoft.com/office/drawing/2014/main" id="{E5D2DCCD-9E6B-4941-B2DD-BCF9A00279B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5" name="Rectangle 54">
                  <a:extLst>
                    <a:ext uri="{FF2B5EF4-FFF2-40B4-BE49-F238E27FC236}">
                      <a16:creationId xmlns:a16="http://schemas.microsoft.com/office/drawing/2014/main" id="{CFA68C3E-5FA0-2147-8F3D-878AC5BEAC4F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</p:grpSp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CECDBD12-780D-2643-8288-D1E6A75E0714}"/>
                  </a:ext>
                </a:extLst>
              </p:cNvPr>
              <p:cNvSpPr txBox="1"/>
              <p:nvPr userDrawn="1"/>
            </p:nvSpPr>
            <p:spPr>
              <a:xfrm>
                <a:off x="3883466" y="-176700"/>
                <a:ext cx="1377081" cy="107721"/>
              </a:xfrm>
              <a:prstGeom prst="rect">
                <a:avLst/>
              </a:prstGeom>
            </p:spPr>
            <p:txBody>
              <a:bodyPr vert="horz" wrap="none" lIns="108000" tIns="0" rIns="108000" bIns="0" rtlCol="0" anchor="ctr">
                <a:spAutoFit/>
              </a:bodyPr>
              <a:lstStyle/>
              <a:p>
                <a:pPr algn="ctr"/>
                <a:r>
                  <a:rPr lang="en-US" sz="5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KEEP CONTENT WITHIN THIS AREA</a:t>
                </a:r>
              </a:p>
            </p:txBody>
          </p:sp>
          <p:cxnSp>
            <p:nvCxnSpPr>
              <p:cNvPr id="51" name="Straight Arrow Connector 50">
                <a:extLst>
                  <a:ext uri="{FF2B5EF4-FFF2-40B4-BE49-F238E27FC236}">
                    <a16:creationId xmlns:a16="http://schemas.microsoft.com/office/drawing/2014/main" id="{62B0D30E-8CF5-E041-A33B-9048CF7AA145}"/>
                  </a:ext>
                </a:extLst>
              </p:cNvPr>
              <p:cNvCxnSpPr>
                <a:cxnSpLocks/>
                <a:stCxn id="50" idx="1"/>
                <a:endCxn id="55" idx="2"/>
              </p:cNvCxnSpPr>
              <p:nvPr userDrawn="1"/>
            </p:nvCxnSpPr>
            <p:spPr>
              <a:xfrm flipH="1">
                <a:off x="431800" y="-122839"/>
                <a:ext cx="3451666" cy="1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Arrow Connector 51">
                <a:extLst>
                  <a:ext uri="{FF2B5EF4-FFF2-40B4-BE49-F238E27FC236}">
                    <a16:creationId xmlns:a16="http://schemas.microsoft.com/office/drawing/2014/main" id="{600B5CB1-1C7E-0744-9B21-78D2AC6FD7AD}"/>
                  </a:ext>
                </a:extLst>
              </p:cNvPr>
              <p:cNvCxnSpPr>
                <a:cxnSpLocks/>
                <a:stCxn id="50" idx="3"/>
                <a:endCxn id="55" idx="0"/>
              </p:cNvCxnSpPr>
              <p:nvPr userDrawn="1"/>
            </p:nvCxnSpPr>
            <p:spPr>
              <a:xfrm>
                <a:off x="5260547" y="-122839"/>
                <a:ext cx="3451653" cy="0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51577803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(Plain, Int.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51CCCAA-D40E-B44E-A126-920CC95387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1794753"/>
            <a:ext cx="8280400" cy="699476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thank-you message</a:t>
            </a: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3BFD17EA-819F-DD45-8311-F838F6249E1A}"/>
              </a:ext>
            </a:extLst>
          </p:cNvPr>
          <p:cNvSpPr/>
          <p:nvPr userDrawn="1"/>
        </p:nvSpPr>
        <p:spPr>
          <a:xfrm flipH="1">
            <a:off x="0" y="4522171"/>
            <a:ext cx="6781322" cy="320579"/>
          </a:xfrm>
          <a:custGeom>
            <a:avLst/>
            <a:gdLst>
              <a:gd name="connsiteX0" fmla="*/ 6781322 w 6781322"/>
              <a:gd name="connsiteY0" fmla="*/ 0 h 427439"/>
              <a:gd name="connsiteX1" fmla="*/ 6376846 w 6781322"/>
              <a:gd name="connsiteY1" fmla="*/ 0 h 427439"/>
              <a:gd name="connsiteX2" fmla="*/ 607317 w 6781322"/>
              <a:gd name="connsiteY2" fmla="*/ 0 h 427439"/>
              <a:gd name="connsiteX3" fmla="*/ 202841 w 6781322"/>
              <a:gd name="connsiteY3" fmla="*/ 0 h 427439"/>
              <a:gd name="connsiteX4" fmla="*/ 0 w 6781322"/>
              <a:gd name="connsiteY4" fmla="*/ 427439 h 427439"/>
              <a:gd name="connsiteX5" fmla="*/ 404476 w 6781322"/>
              <a:gd name="connsiteY5" fmla="*/ 427439 h 427439"/>
              <a:gd name="connsiteX6" fmla="*/ 6376846 w 6781322"/>
              <a:gd name="connsiteY6" fmla="*/ 427439 h 427439"/>
              <a:gd name="connsiteX7" fmla="*/ 6781322 w 6781322"/>
              <a:gd name="connsiteY7" fmla="*/ 427439 h 427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81322" h="427439">
                <a:moveTo>
                  <a:pt x="6781322" y="0"/>
                </a:moveTo>
                <a:lnTo>
                  <a:pt x="6376846" y="0"/>
                </a:lnTo>
                <a:lnTo>
                  <a:pt x="607317" y="0"/>
                </a:lnTo>
                <a:lnTo>
                  <a:pt x="202841" y="0"/>
                </a:lnTo>
                <a:lnTo>
                  <a:pt x="0" y="427439"/>
                </a:lnTo>
                <a:lnTo>
                  <a:pt x="404476" y="427439"/>
                </a:lnTo>
                <a:lnTo>
                  <a:pt x="6376846" y="427439"/>
                </a:lnTo>
                <a:lnTo>
                  <a:pt x="6781322" y="42743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1050"/>
          </a:p>
        </p:txBody>
      </p:sp>
      <p:pic>
        <p:nvPicPr>
          <p:cNvPr id="54" name="Graphic 53">
            <a:extLst>
              <a:ext uri="{FF2B5EF4-FFF2-40B4-BE49-F238E27FC236}">
                <a16:creationId xmlns:a16="http://schemas.microsoft.com/office/drawing/2014/main" id="{8EC34710-1C9F-5947-B0E6-4240B16E01D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6724098" y="4474686"/>
            <a:ext cx="2151409" cy="416402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77651239-376F-4149-96FC-21160EE4BDA4}"/>
              </a:ext>
            </a:extLst>
          </p:cNvPr>
          <p:cNvGrpSpPr/>
          <p:nvPr userDrawn="1"/>
        </p:nvGrpSpPr>
        <p:grpSpPr>
          <a:xfrm>
            <a:off x="-256964" y="1857800"/>
            <a:ext cx="251461" cy="590721"/>
            <a:chOff x="-256404" y="360363"/>
            <a:chExt cx="251461" cy="692152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AFDC3AAE-8083-C045-9C2F-F5399AB54128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11" name="Straight Connector 10">
                <a:extLst>
                  <a:ext uri="{FF2B5EF4-FFF2-40B4-BE49-F238E27FC236}">
                    <a16:creationId xmlns:a16="http://schemas.microsoft.com/office/drawing/2014/main" id="{30513AF8-FEF3-C44A-9F4F-AD1FF66E82F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12">
                <a:extLst>
                  <a:ext uri="{FF2B5EF4-FFF2-40B4-BE49-F238E27FC236}">
                    <a16:creationId xmlns:a16="http://schemas.microsoft.com/office/drawing/2014/main" id="{8CEA8E20-DDEC-B841-8C60-E187621550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4A087970-2162-2046-8746-A371C450CADC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D90C0D8-6B9B-C74A-B73B-C80616B60E69}"/>
                </a:ext>
              </a:extLst>
            </p:cNvPr>
            <p:cNvSpPr txBox="1"/>
            <p:nvPr userDrawn="1"/>
          </p:nvSpPr>
          <p:spPr>
            <a:xfrm rot="16200000">
              <a:off x="-360755" y="622269"/>
              <a:ext cx="460172" cy="161583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HANK YOU</a:t>
              </a:r>
              <a:b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MESSAGE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0186D92C-157F-7E4C-9A4A-9488AFA4F0A7}"/>
              </a:ext>
            </a:extLst>
          </p:cNvPr>
          <p:cNvGrpSpPr/>
          <p:nvPr userDrawn="1"/>
        </p:nvGrpSpPr>
        <p:grpSpPr>
          <a:xfrm>
            <a:off x="-256964" y="2716972"/>
            <a:ext cx="251461" cy="1130110"/>
            <a:chOff x="-256404" y="360363"/>
            <a:chExt cx="251461" cy="692152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E7E2FD30-BB16-AF4F-AF56-0B6E3A8C03B8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24D293D7-9859-C841-9B8B-8666310CB91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11CA2944-97B1-984C-983E-C4166C79BF7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81839677-726C-2B47-BEFD-17513B8B229B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</p:grp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0851E76E-6C66-8B4B-ADA8-7C90E8F627AA}"/>
                </a:ext>
              </a:extLst>
            </p:cNvPr>
            <p:cNvSpPr txBox="1"/>
            <p:nvPr userDrawn="1"/>
          </p:nvSpPr>
          <p:spPr>
            <a:xfrm rot="16200000">
              <a:off x="-285789" y="662666"/>
              <a:ext cx="310243" cy="80791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CONTACT INFO</a:t>
              </a:r>
            </a:p>
          </p:txBody>
        </p:sp>
      </p:grp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7C3458D3-53F7-0E45-8873-C6BA06BC854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2703111"/>
            <a:ext cx="8280400" cy="11572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noAutofit/>
          </a:bodyPr>
          <a:lstStyle>
            <a:lvl1pPr marL="15479" indent="0">
              <a:spcAft>
                <a:spcPts val="225"/>
              </a:spcAft>
              <a:buNone/>
              <a:tabLst/>
              <a:defRPr sz="1050" b="1">
                <a:solidFill>
                  <a:schemeClr val="accent1"/>
                </a:solidFill>
              </a:defRPr>
            </a:lvl1pPr>
            <a:lvl2pPr marL="15479" indent="0">
              <a:spcAft>
                <a:spcPts val="150"/>
              </a:spcAft>
              <a:buNone/>
              <a:tabLst/>
              <a:defRPr sz="1050">
                <a:solidFill>
                  <a:schemeClr val="tx1"/>
                </a:solidFill>
              </a:defRPr>
            </a:lvl2pPr>
            <a:lvl3pPr marL="15479" indent="0">
              <a:spcAft>
                <a:spcPts val="150"/>
              </a:spcAft>
              <a:buFont typeface="Wingdings" pitchFamily="2" charset="2"/>
              <a:buNone/>
              <a:tabLst/>
              <a:defRPr sz="1050">
                <a:solidFill>
                  <a:schemeClr val="tx1"/>
                </a:solidFill>
              </a:defRPr>
            </a:lvl3pPr>
            <a:lvl4pPr marL="15479" indent="0">
              <a:spcAft>
                <a:spcPts val="150"/>
              </a:spcAft>
              <a:buFont typeface="System Font Regular"/>
              <a:buNone/>
              <a:tabLst/>
              <a:defRPr sz="1050">
                <a:solidFill>
                  <a:schemeClr val="tx1"/>
                </a:solidFill>
              </a:defRPr>
            </a:lvl4pPr>
            <a:lvl5pPr marL="15479" indent="0">
              <a:spcAft>
                <a:spcPts val="150"/>
              </a:spcAft>
              <a:buNone/>
              <a:tabLst/>
              <a:defRPr sz="1050">
                <a:solidFill>
                  <a:schemeClr val="tx1"/>
                </a:solidFill>
              </a:defRPr>
            </a:lvl5pPr>
            <a:lvl6pPr marL="15479" indent="0">
              <a:buNone/>
              <a:tabLst/>
              <a:defRPr/>
            </a:lvl6pPr>
            <a:lvl7pPr marL="15479" indent="0">
              <a:buNone/>
              <a:tabLst/>
              <a:defRPr/>
            </a:lvl7pPr>
            <a:lvl8pPr marL="15479" indent="0">
              <a:buNone/>
              <a:tabLst/>
              <a:defRPr/>
            </a:lvl8pPr>
            <a:lvl9pPr marL="15479" indent="0">
              <a:buNone/>
              <a:tabLst/>
              <a:defRPr/>
            </a:lvl9pPr>
          </a:lstStyle>
          <a:p>
            <a:pPr lvl="0"/>
            <a:r>
              <a:rPr lang="en-US"/>
              <a:t>Click to add contact information</a:t>
            </a:r>
          </a:p>
          <a:p>
            <a:pPr lvl="1"/>
            <a:r>
              <a:rPr lang="en-US"/>
              <a:t>Second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0B6BF69-0EEF-BC4C-A91B-03BDFC7C92B3}"/>
              </a:ext>
            </a:extLst>
          </p:cNvPr>
          <p:cNvGrpSpPr/>
          <p:nvPr userDrawn="1"/>
        </p:nvGrpSpPr>
        <p:grpSpPr>
          <a:xfrm>
            <a:off x="431241" y="-185200"/>
            <a:ext cx="8280400" cy="5510478"/>
            <a:chOff x="431240" y="-246933"/>
            <a:chExt cx="8280400" cy="7347304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FEE1EEFE-BDB3-A543-98F1-DCDFF9D524E5}"/>
                </a:ext>
              </a:extLst>
            </p:cNvPr>
            <p:cNvGrpSpPr/>
            <p:nvPr userDrawn="1"/>
          </p:nvGrpSpPr>
          <p:grpSpPr>
            <a:xfrm>
              <a:off x="431242" y="6864579"/>
              <a:ext cx="8280398" cy="235792"/>
              <a:chOff x="431801" y="-235792"/>
              <a:chExt cx="4400550" cy="235792"/>
            </a:xfrm>
          </p:grpSpPr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6641443C-C572-9C45-BA89-02883243CA8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Straight Connector 55">
                <a:extLst>
                  <a:ext uri="{FF2B5EF4-FFF2-40B4-BE49-F238E27FC236}">
                    <a16:creationId xmlns:a16="http://schemas.microsoft.com/office/drawing/2014/main" id="{BAFA3AD9-0800-0945-BFF5-96DAD5F01DA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04D642EC-3C16-1744-BAEB-BBE65388C5A0}"/>
                </a:ext>
              </a:extLst>
            </p:cNvPr>
            <p:cNvGrpSpPr/>
            <p:nvPr userDrawn="1"/>
          </p:nvGrpSpPr>
          <p:grpSpPr>
            <a:xfrm>
              <a:off x="431240" y="-246933"/>
              <a:ext cx="8280400" cy="235792"/>
              <a:chOff x="431800" y="-240735"/>
              <a:chExt cx="8280400" cy="235792"/>
            </a:xfrm>
          </p:grpSpPr>
          <p:grpSp>
            <p:nvGrpSpPr>
              <p:cNvPr id="47" name="Group 46">
                <a:extLst>
                  <a:ext uri="{FF2B5EF4-FFF2-40B4-BE49-F238E27FC236}">
                    <a16:creationId xmlns:a16="http://schemas.microsoft.com/office/drawing/2014/main" id="{9526B61A-B175-1F4A-8574-DF91C1E65CE5}"/>
                  </a:ext>
                </a:extLst>
              </p:cNvPr>
              <p:cNvGrpSpPr/>
              <p:nvPr userDrawn="1"/>
            </p:nvGrpSpPr>
            <p:grpSpPr>
              <a:xfrm>
                <a:off x="431800" y="-240735"/>
                <a:ext cx="8280400" cy="235792"/>
                <a:chOff x="431800" y="-235792"/>
                <a:chExt cx="4400551" cy="235792"/>
              </a:xfrm>
            </p:grpSpPr>
            <p:cxnSp>
              <p:nvCxnSpPr>
                <p:cNvPr id="51" name="Straight Connector 50">
                  <a:extLst>
                    <a:ext uri="{FF2B5EF4-FFF2-40B4-BE49-F238E27FC236}">
                      <a16:creationId xmlns:a16="http://schemas.microsoft.com/office/drawing/2014/main" id="{584DE61C-1208-C44B-AE72-AA251DCCC6C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" name="Straight Connector 51">
                  <a:extLst>
                    <a:ext uri="{FF2B5EF4-FFF2-40B4-BE49-F238E27FC236}">
                      <a16:creationId xmlns:a16="http://schemas.microsoft.com/office/drawing/2014/main" id="{A4ABBE2B-285D-8C48-B44B-23D7F037468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3" name="Rectangle 52">
                  <a:extLst>
                    <a:ext uri="{FF2B5EF4-FFF2-40B4-BE49-F238E27FC236}">
                      <a16:creationId xmlns:a16="http://schemas.microsoft.com/office/drawing/2014/main" id="{0B34404F-69A4-544C-A2F9-C056F24CFC00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</p:grp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BCD5F804-74F2-CA49-8ADB-27B7F888C71C}"/>
                  </a:ext>
                </a:extLst>
              </p:cNvPr>
              <p:cNvSpPr txBox="1"/>
              <p:nvPr userDrawn="1"/>
            </p:nvSpPr>
            <p:spPr>
              <a:xfrm>
                <a:off x="3883466" y="-176700"/>
                <a:ext cx="1377081" cy="107721"/>
              </a:xfrm>
              <a:prstGeom prst="rect">
                <a:avLst/>
              </a:prstGeom>
            </p:spPr>
            <p:txBody>
              <a:bodyPr vert="horz" wrap="none" lIns="108000" tIns="0" rIns="108000" bIns="0" rtlCol="0" anchor="ctr">
                <a:spAutoFit/>
              </a:bodyPr>
              <a:lstStyle/>
              <a:p>
                <a:pPr algn="ctr"/>
                <a:r>
                  <a:rPr lang="en-US" sz="5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KEEP CONTENT WITHIN THIS AREA</a:t>
                </a:r>
              </a:p>
            </p:txBody>
          </p:sp>
          <p:cxnSp>
            <p:nvCxnSpPr>
              <p:cNvPr id="49" name="Straight Arrow Connector 48">
                <a:extLst>
                  <a:ext uri="{FF2B5EF4-FFF2-40B4-BE49-F238E27FC236}">
                    <a16:creationId xmlns:a16="http://schemas.microsoft.com/office/drawing/2014/main" id="{19156B4A-40D1-9A48-B99F-B19CD25D36EB}"/>
                  </a:ext>
                </a:extLst>
              </p:cNvPr>
              <p:cNvCxnSpPr>
                <a:cxnSpLocks/>
                <a:stCxn id="48" idx="1"/>
                <a:endCxn id="53" idx="2"/>
              </p:cNvCxnSpPr>
              <p:nvPr userDrawn="1"/>
            </p:nvCxnSpPr>
            <p:spPr>
              <a:xfrm flipH="1">
                <a:off x="431800" y="-122839"/>
                <a:ext cx="3451666" cy="1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Arrow Connector 49">
                <a:extLst>
                  <a:ext uri="{FF2B5EF4-FFF2-40B4-BE49-F238E27FC236}">
                    <a16:creationId xmlns:a16="http://schemas.microsoft.com/office/drawing/2014/main" id="{5D54EFAB-AD3C-FC43-BFCA-E1F34016DB9F}"/>
                  </a:ext>
                </a:extLst>
              </p:cNvPr>
              <p:cNvCxnSpPr>
                <a:cxnSpLocks/>
                <a:stCxn id="48" idx="3"/>
                <a:endCxn id="53" idx="0"/>
              </p:cNvCxnSpPr>
              <p:nvPr userDrawn="1"/>
            </p:nvCxnSpPr>
            <p:spPr>
              <a:xfrm>
                <a:off x="5260547" y="-122839"/>
                <a:ext cx="3451653" cy="0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D6F29292-F9A7-FC49-86FB-8EC134A6383C}"/>
              </a:ext>
            </a:extLst>
          </p:cNvPr>
          <p:cNvGrpSpPr/>
          <p:nvPr userDrawn="1"/>
        </p:nvGrpSpPr>
        <p:grpSpPr>
          <a:xfrm>
            <a:off x="9399183" y="-1"/>
            <a:ext cx="2961715" cy="5143502"/>
            <a:chOff x="9399182" y="-1"/>
            <a:chExt cx="2961715" cy="6858002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0E784191-11D3-4D4E-8362-825AEBB8AD8E}"/>
                </a:ext>
              </a:extLst>
            </p:cNvPr>
            <p:cNvSpPr/>
            <p:nvPr userDrawn="1"/>
          </p:nvSpPr>
          <p:spPr>
            <a:xfrm>
              <a:off x="9399182" y="-1"/>
              <a:ext cx="2798651" cy="685800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050"/>
            </a:p>
          </p:txBody>
        </p:sp>
        <p:pic>
          <p:nvPicPr>
            <p:cNvPr id="59" name="Picture 58">
              <a:extLst>
                <a:ext uri="{FF2B5EF4-FFF2-40B4-BE49-F238E27FC236}">
                  <a16:creationId xmlns:a16="http://schemas.microsoft.com/office/drawing/2014/main" id="{FA8C3748-7C03-0B4E-B3FF-CAF4AB6E3C5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r="44907"/>
            <a:stretch/>
          </p:blipFill>
          <p:spPr>
            <a:xfrm>
              <a:off x="9558505" y="1326787"/>
              <a:ext cx="2639326" cy="517021"/>
            </a:xfrm>
            <a:prstGeom prst="rect">
              <a:avLst/>
            </a:prstGeom>
          </p:spPr>
        </p:pic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3AB78FBD-B034-C34F-8B34-D0776918BC3B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7A352831-5886-5F4E-84E4-553F400B5518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1E3E24A5-FDC5-6D40-A181-FE78DC155B43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74" name="Picture 73">
                <a:extLst>
                  <a:ext uri="{FF2B5EF4-FFF2-40B4-BE49-F238E27FC236}">
                    <a16:creationId xmlns:a16="http://schemas.microsoft.com/office/drawing/2014/main" id="{7089C08D-27F2-EA4D-A591-1B564B23F146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E4BA23D8-F740-FB4D-9559-C01FD26BE47F}"/>
                </a:ext>
              </a:extLst>
            </p:cNvPr>
            <p:cNvGrpSpPr/>
            <p:nvPr userDrawn="1"/>
          </p:nvGrpSpPr>
          <p:grpSpPr>
            <a:xfrm>
              <a:off x="9541497" y="2001128"/>
              <a:ext cx="2735151" cy="1739504"/>
              <a:chOff x="9541497" y="2125825"/>
              <a:chExt cx="2735151" cy="1739504"/>
            </a:xfrm>
          </p:grpSpPr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FB3ACB90-CF5D-2B4B-8756-646CC22CD6D6}"/>
                  </a:ext>
                </a:extLst>
              </p:cNvPr>
              <p:cNvSpPr/>
              <p:nvPr userDrawn="1"/>
            </p:nvSpPr>
            <p:spPr>
              <a:xfrm>
                <a:off x="9541497" y="2125825"/>
                <a:ext cx="2735151" cy="1739504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53D91C97-69F8-5E4E-9B49-1565A3502855}"/>
                  </a:ext>
                </a:extLst>
              </p:cNvPr>
              <p:cNvSpPr txBox="1"/>
              <p:nvPr userDrawn="1"/>
            </p:nvSpPr>
            <p:spPr>
              <a:xfrm>
                <a:off x="9907688" y="2254624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Undo Hyperlink</a:t>
                </a:r>
              </a:p>
            </p:txBody>
          </p:sp>
          <p:pic>
            <p:nvPicPr>
              <p:cNvPr id="66" name="Graphic 65">
                <a:extLst>
                  <a:ext uri="{FF2B5EF4-FFF2-40B4-BE49-F238E27FC236}">
                    <a16:creationId xmlns:a16="http://schemas.microsoft.com/office/drawing/2014/main" id="{EB09DA06-373A-7F4A-8858-5D0CE9C6C0F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9701720" y="2264907"/>
                <a:ext cx="155227" cy="155227"/>
              </a:xfrm>
              <a:prstGeom prst="rect">
                <a:avLst/>
              </a:prstGeom>
            </p:spPr>
          </p:pic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552E8C3B-638E-544C-82D3-D7B40228C070}"/>
                  </a:ext>
                </a:extLst>
              </p:cNvPr>
              <p:cNvSpPr txBox="1"/>
              <p:nvPr userDrawn="1"/>
            </p:nvSpPr>
            <p:spPr>
              <a:xfrm>
                <a:off x="9701720" y="2880064"/>
                <a:ext cx="2384904" cy="2492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As soon as the hyperlink formatting appears, Undo once to remove the format.</a:t>
                </a:r>
              </a:p>
            </p:txBody>
          </p:sp>
          <p:sp>
            <p:nvSpPr>
              <p:cNvPr id="68" name="TextBox 67">
                <a:extLst>
                  <a:ext uri="{FF2B5EF4-FFF2-40B4-BE49-F238E27FC236}">
                    <a16:creationId xmlns:a16="http://schemas.microsoft.com/office/drawing/2014/main" id="{8CE1C63A-594A-4445-B3FC-6764DC0BDABD}"/>
                  </a:ext>
                </a:extLst>
              </p:cNvPr>
              <p:cNvSpPr txBox="1"/>
              <p:nvPr userDrawn="1"/>
            </p:nvSpPr>
            <p:spPr>
              <a:xfrm>
                <a:off x="9694938" y="2522576"/>
                <a:ext cx="2422981" cy="2769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685800" rtl="0" eaLnBrk="1" latinLnBrk="0" hangingPunct="1">
                  <a:spcBef>
                    <a:spcPts val="150"/>
                  </a:spcBef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Typing an email address into the contact info will automatically create a hyperlink.</a:t>
                </a:r>
              </a:p>
            </p:txBody>
          </p:sp>
          <p:sp>
            <p:nvSpPr>
              <p:cNvPr id="69" name="TextBox 68">
                <a:extLst>
                  <a:ext uri="{FF2B5EF4-FFF2-40B4-BE49-F238E27FC236}">
                    <a16:creationId xmlns:a16="http://schemas.microsoft.com/office/drawing/2014/main" id="{12C61A23-7896-B14E-8B22-0695FE395AFC}"/>
                  </a:ext>
                </a:extLst>
              </p:cNvPr>
              <p:cNvSpPr txBox="1"/>
              <p:nvPr userDrawn="1"/>
            </p:nvSpPr>
            <p:spPr>
              <a:xfrm>
                <a:off x="9830981" y="3162742"/>
                <a:ext cx="2374733" cy="107721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>
                    <a:solidFill>
                      <a:schemeClr val="bg1">
                        <a:lumMod val="65000"/>
                      </a:schemeClr>
                    </a:solidFill>
                  </a:rPr>
                  <a:t>You can use CTRL+Z or the menu button.</a:t>
                </a:r>
              </a:p>
            </p:txBody>
          </p:sp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194DB09E-F3CD-DB4D-85FA-90394501DA0F}"/>
                  </a:ext>
                </a:extLst>
              </p:cNvPr>
              <p:cNvSpPr txBox="1"/>
              <p:nvPr userDrawn="1"/>
            </p:nvSpPr>
            <p:spPr>
              <a:xfrm>
                <a:off x="9701720" y="3337264"/>
                <a:ext cx="2384904" cy="373948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To remove an pre-existing hyperlink, </a:t>
                </a:r>
                <a:b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</a:b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right click on the hyperlink and choose “Remove Link” (                 )</a:t>
                </a:r>
              </a:p>
            </p:txBody>
          </p:sp>
          <p:pic>
            <p:nvPicPr>
              <p:cNvPr id="71" name="Picture 70">
                <a:extLst>
                  <a:ext uri="{FF2B5EF4-FFF2-40B4-BE49-F238E27FC236}">
                    <a16:creationId xmlns:a16="http://schemas.microsoft.com/office/drawing/2014/main" id="{30CA1E45-C57A-4340-B73D-8AC99F316659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6"/>
              <a:srcRect l="4852" t="17138" r="10283" b="11792"/>
              <a:stretch/>
            </p:blipFill>
            <p:spPr>
              <a:xfrm>
                <a:off x="10676602" y="3604038"/>
                <a:ext cx="478277" cy="101726"/>
              </a:xfrm>
              <a:prstGeom prst="rect">
                <a:avLst/>
              </a:prstGeom>
              <a:ln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</p:pic>
        </p:grp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F5460527-35E4-EE43-B313-C4A78A64A05A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1670329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sz="825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92A81776-5FDE-E748-88EA-1670E942742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9570059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(Plain, T.S.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51CCCAA-D40E-B44E-A126-920CC95387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1802049"/>
            <a:ext cx="8280400" cy="69218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thank-you message</a:t>
            </a: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3BFD17EA-819F-DD45-8311-F838F6249E1A}"/>
              </a:ext>
            </a:extLst>
          </p:cNvPr>
          <p:cNvSpPr/>
          <p:nvPr userDrawn="1"/>
        </p:nvSpPr>
        <p:spPr>
          <a:xfrm flipH="1">
            <a:off x="0" y="4522171"/>
            <a:ext cx="6781322" cy="320579"/>
          </a:xfrm>
          <a:custGeom>
            <a:avLst/>
            <a:gdLst>
              <a:gd name="connsiteX0" fmla="*/ 6781322 w 6781322"/>
              <a:gd name="connsiteY0" fmla="*/ 0 h 427439"/>
              <a:gd name="connsiteX1" fmla="*/ 6376846 w 6781322"/>
              <a:gd name="connsiteY1" fmla="*/ 0 h 427439"/>
              <a:gd name="connsiteX2" fmla="*/ 607317 w 6781322"/>
              <a:gd name="connsiteY2" fmla="*/ 0 h 427439"/>
              <a:gd name="connsiteX3" fmla="*/ 202841 w 6781322"/>
              <a:gd name="connsiteY3" fmla="*/ 0 h 427439"/>
              <a:gd name="connsiteX4" fmla="*/ 0 w 6781322"/>
              <a:gd name="connsiteY4" fmla="*/ 427439 h 427439"/>
              <a:gd name="connsiteX5" fmla="*/ 404476 w 6781322"/>
              <a:gd name="connsiteY5" fmla="*/ 427439 h 427439"/>
              <a:gd name="connsiteX6" fmla="*/ 6376846 w 6781322"/>
              <a:gd name="connsiteY6" fmla="*/ 427439 h 427439"/>
              <a:gd name="connsiteX7" fmla="*/ 6781322 w 6781322"/>
              <a:gd name="connsiteY7" fmla="*/ 427439 h 427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81322" h="427439">
                <a:moveTo>
                  <a:pt x="6781322" y="0"/>
                </a:moveTo>
                <a:lnTo>
                  <a:pt x="6376846" y="0"/>
                </a:lnTo>
                <a:lnTo>
                  <a:pt x="607317" y="0"/>
                </a:lnTo>
                <a:lnTo>
                  <a:pt x="202841" y="0"/>
                </a:lnTo>
                <a:lnTo>
                  <a:pt x="0" y="427439"/>
                </a:lnTo>
                <a:lnTo>
                  <a:pt x="404476" y="427439"/>
                </a:lnTo>
                <a:lnTo>
                  <a:pt x="6376846" y="427439"/>
                </a:lnTo>
                <a:lnTo>
                  <a:pt x="6781322" y="42743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1050"/>
          </a:p>
        </p:txBody>
      </p:sp>
      <p:pic>
        <p:nvPicPr>
          <p:cNvPr id="54" name="Graphic 53">
            <a:extLst>
              <a:ext uri="{FF2B5EF4-FFF2-40B4-BE49-F238E27FC236}">
                <a16:creationId xmlns:a16="http://schemas.microsoft.com/office/drawing/2014/main" id="{8EC34710-1C9F-5947-B0E6-4240B16E01D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6724099" y="4474686"/>
            <a:ext cx="2151407" cy="416402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0C1838D0-087C-C84C-BD20-8662027BCFD8}"/>
              </a:ext>
            </a:extLst>
          </p:cNvPr>
          <p:cNvGrpSpPr/>
          <p:nvPr userDrawn="1"/>
        </p:nvGrpSpPr>
        <p:grpSpPr>
          <a:xfrm>
            <a:off x="-256964" y="1857800"/>
            <a:ext cx="251461" cy="590721"/>
            <a:chOff x="-256404" y="360363"/>
            <a:chExt cx="251461" cy="692152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C9F63503-981B-C241-AA66-C5F4235499ED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11" name="Straight Connector 10">
                <a:extLst>
                  <a:ext uri="{FF2B5EF4-FFF2-40B4-BE49-F238E27FC236}">
                    <a16:creationId xmlns:a16="http://schemas.microsoft.com/office/drawing/2014/main" id="{9426E31B-0302-7C41-9536-CDFE2167773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12">
                <a:extLst>
                  <a:ext uri="{FF2B5EF4-FFF2-40B4-BE49-F238E27FC236}">
                    <a16:creationId xmlns:a16="http://schemas.microsoft.com/office/drawing/2014/main" id="{EE6A6390-C8A9-C34D-9106-B3D35D21DB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0FA3F01B-9379-334E-A217-91E4E7840B0A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72FC0E1-17BD-D74D-8B57-B0DE86A24E8D}"/>
                </a:ext>
              </a:extLst>
            </p:cNvPr>
            <p:cNvSpPr txBox="1"/>
            <p:nvPr userDrawn="1"/>
          </p:nvSpPr>
          <p:spPr>
            <a:xfrm rot="16200000">
              <a:off x="-360755" y="622269"/>
              <a:ext cx="460172" cy="161583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HANK YOU</a:t>
              </a:r>
              <a:b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MESSAGE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6679DDA-6F88-6A48-B266-850A75491A83}"/>
              </a:ext>
            </a:extLst>
          </p:cNvPr>
          <p:cNvGrpSpPr/>
          <p:nvPr userDrawn="1"/>
        </p:nvGrpSpPr>
        <p:grpSpPr>
          <a:xfrm>
            <a:off x="-256964" y="2716972"/>
            <a:ext cx="251461" cy="1130110"/>
            <a:chOff x="-256404" y="360363"/>
            <a:chExt cx="251461" cy="692152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CF645CF7-7BD0-B04F-86BA-E40A933FF6B5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686C0C3F-F9AB-5D4F-B6F9-E49DAEB7B2B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E8F3CF3D-2A02-CA4C-BAE5-30716FE5112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BBBD618-8C93-5144-A9F2-14FA66324671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</p:grp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AB4CB1C9-A8C8-8C4C-9D8F-D9EBB7ADC67E}"/>
                </a:ext>
              </a:extLst>
            </p:cNvPr>
            <p:cNvSpPr txBox="1"/>
            <p:nvPr userDrawn="1"/>
          </p:nvSpPr>
          <p:spPr>
            <a:xfrm rot="16200000">
              <a:off x="-285789" y="662666"/>
              <a:ext cx="310243" cy="80791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CONTACT INFO</a:t>
              </a:r>
            </a:p>
          </p:txBody>
        </p:sp>
      </p:grp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34B9718-6380-F245-B99D-BC20E3A8B5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2703111"/>
            <a:ext cx="8280400" cy="11572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noAutofit/>
          </a:bodyPr>
          <a:lstStyle>
            <a:lvl1pPr marL="15479" indent="0">
              <a:spcAft>
                <a:spcPts val="225"/>
              </a:spcAft>
              <a:buNone/>
              <a:tabLst/>
              <a:defRPr sz="1050" b="1">
                <a:solidFill>
                  <a:schemeClr val="accent1"/>
                </a:solidFill>
              </a:defRPr>
            </a:lvl1pPr>
            <a:lvl2pPr marL="15479" indent="0">
              <a:spcAft>
                <a:spcPts val="150"/>
              </a:spcAft>
              <a:buNone/>
              <a:tabLst/>
              <a:defRPr sz="1050">
                <a:solidFill>
                  <a:schemeClr val="tx1"/>
                </a:solidFill>
              </a:defRPr>
            </a:lvl2pPr>
            <a:lvl3pPr marL="15479" indent="0">
              <a:spcAft>
                <a:spcPts val="150"/>
              </a:spcAft>
              <a:buFont typeface="Wingdings" pitchFamily="2" charset="2"/>
              <a:buNone/>
              <a:tabLst/>
              <a:defRPr sz="1050">
                <a:solidFill>
                  <a:schemeClr val="tx1"/>
                </a:solidFill>
              </a:defRPr>
            </a:lvl3pPr>
            <a:lvl4pPr marL="15479" indent="0">
              <a:spcAft>
                <a:spcPts val="150"/>
              </a:spcAft>
              <a:buFont typeface="System Font Regular"/>
              <a:buNone/>
              <a:tabLst/>
              <a:defRPr sz="1050">
                <a:solidFill>
                  <a:schemeClr val="tx1"/>
                </a:solidFill>
              </a:defRPr>
            </a:lvl4pPr>
            <a:lvl5pPr marL="15479" indent="0">
              <a:spcAft>
                <a:spcPts val="150"/>
              </a:spcAft>
              <a:buNone/>
              <a:tabLst/>
              <a:defRPr sz="1050">
                <a:solidFill>
                  <a:schemeClr val="tx1"/>
                </a:solidFill>
              </a:defRPr>
            </a:lvl5pPr>
            <a:lvl6pPr marL="15479" indent="0">
              <a:buNone/>
              <a:tabLst/>
              <a:defRPr/>
            </a:lvl6pPr>
            <a:lvl7pPr marL="15479" indent="0">
              <a:buNone/>
              <a:tabLst/>
              <a:defRPr/>
            </a:lvl7pPr>
            <a:lvl8pPr marL="15479" indent="0">
              <a:buNone/>
              <a:tabLst/>
              <a:defRPr/>
            </a:lvl8pPr>
            <a:lvl9pPr marL="15479" indent="0">
              <a:buNone/>
              <a:tabLst/>
              <a:defRPr/>
            </a:lvl9pPr>
          </a:lstStyle>
          <a:p>
            <a:pPr lvl="0"/>
            <a:r>
              <a:rPr lang="en-US"/>
              <a:t>Click to add contact information</a:t>
            </a:r>
          </a:p>
          <a:p>
            <a:pPr lvl="1"/>
            <a:r>
              <a:rPr lang="en-US"/>
              <a:t>Second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88AD61A7-E23A-1F49-AAEB-30A8DD651FCB}"/>
              </a:ext>
            </a:extLst>
          </p:cNvPr>
          <p:cNvGrpSpPr/>
          <p:nvPr userDrawn="1"/>
        </p:nvGrpSpPr>
        <p:grpSpPr>
          <a:xfrm>
            <a:off x="431241" y="-185200"/>
            <a:ext cx="8280400" cy="5510478"/>
            <a:chOff x="431240" y="-246933"/>
            <a:chExt cx="8280400" cy="7347304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6C46D37E-ED5C-DC41-9697-2DA5AF3897B9}"/>
                </a:ext>
              </a:extLst>
            </p:cNvPr>
            <p:cNvGrpSpPr/>
            <p:nvPr userDrawn="1"/>
          </p:nvGrpSpPr>
          <p:grpSpPr>
            <a:xfrm>
              <a:off x="431242" y="6864579"/>
              <a:ext cx="8280398" cy="235792"/>
              <a:chOff x="431801" y="-235792"/>
              <a:chExt cx="4400550" cy="235792"/>
            </a:xfrm>
          </p:grpSpPr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70A33EDA-B4A8-0B4E-A842-B2C1DC673D7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Straight Connector 55">
                <a:extLst>
                  <a:ext uri="{FF2B5EF4-FFF2-40B4-BE49-F238E27FC236}">
                    <a16:creationId xmlns:a16="http://schemas.microsoft.com/office/drawing/2014/main" id="{468E3C4C-8265-5D47-8903-B814EC1B2DD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701DC5A2-785F-ED4D-9388-D43323B87370}"/>
                </a:ext>
              </a:extLst>
            </p:cNvPr>
            <p:cNvGrpSpPr/>
            <p:nvPr userDrawn="1"/>
          </p:nvGrpSpPr>
          <p:grpSpPr>
            <a:xfrm>
              <a:off x="431240" y="-246933"/>
              <a:ext cx="8280400" cy="235792"/>
              <a:chOff x="431800" y="-240735"/>
              <a:chExt cx="8280400" cy="235792"/>
            </a:xfrm>
          </p:grpSpPr>
          <p:grpSp>
            <p:nvGrpSpPr>
              <p:cNvPr id="47" name="Group 46">
                <a:extLst>
                  <a:ext uri="{FF2B5EF4-FFF2-40B4-BE49-F238E27FC236}">
                    <a16:creationId xmlns:a16="http://schemas.microsoft.com/office/drawing/2014/main" id="{31007021-C162-9C43-823F-4F582A7C05AB}"/>
                  </a:ext>
                </a:extLst>
              </p:cNvPr>
              <p:cNvGrpSpPr/>
              <p:nvPr userDrawn="1"/>
            </p:nvGrpSpPr>
            <p:grpSpPr>
              <a:xfrm>
                <a:off x="431800" y="-240735"/>
                <a:ext cx="8280400" cy="235792"/>
                <a:chOff x="431800" y="-235792"/>
                <a:chExt cx="4400551" cy="235792"/>
              </a:xfrm>
            </p:grpSpPr>
            <p:cxnSp>
              <p:nvCxnSpPr>
                <p:cNvPr id="51" name="Straight Connector 50">
                  <a:extLst>
                    <a:ext uri="{FF2B5EF4-FFF2-40B4-BE49-F238E27FC236}">
                      <a16:creationId xmlns:a16="http://schemas.microsoft.com/office/drawing/2014/main" id="{5E98A604-56B2-9345-ACCF-AF38353ED425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" name="Straight Connector 51">
                  <a:extLst>
                    <a:ext uri="{FF2B5EF4-FFF2-40B4-BE49-F238E27FC236}">
                      <a16:creationId xmlns:a16="http://schemas.microsoft.com/office/drawing/2014/main" id="{AA6AF58A-87FD-804F-AA49-6AD574A07FE0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3" name="Rectangle 52">
                  <a:extLst>
                    <a:ext uri="{FF2B5EF4-FFF2-40B4-BE49-F238E27FC236}">
                      <a16:creationId xmlns:a16="http://schemas.microsoft.com/office/drawing/2014/main" id="{86F36FDF-5B20-8E4C-85DF-714AB19EA435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</p:grp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E5A09468-1709-984C-8EC1-C1F9FFADE57C}"/>
                  </a:ext>
                </a:extLst>
              </p:cNvPr>
              <p:cNvSpPr txBox="1"/>
              <p:nvPr userDrawn="1"/>
            </p:nvSpPr>
            <p:spPr>
              <a:xfrm>
                <a:off x="3883466" y="-176700"/>
                <a:ext cx="1377081" cy="107721"/>
              </a:xfrm>
              <a:prstGeom prst="rect">
                <a:avLst/>
              </a:prstGeom>
            </p:spPr>
            <p:txBody>
              <a:bodyPr vert="horz" wrap="none" lIns="108000" tIns="0" rIns="108000" bIns="0" rtlCol="0" anchor="ctr">
                <a:spAutoFit/>
              </a:bodyPr>
              <a:lstStyle/>
              <a:p>
                <a:pPr algn="ctr"/>
                <a:r>
                  <a:rPr lang="en-US" sz="5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KEEP CONTENT WITHIN THIS AREA</a:t>
                </a:r>
              </a:p>
            </p:txBody>
          </p:sp>
          <p:cxnSp>
            <p:nvCxnSpPr>
              <p:cNvPr id="49" name="Straight Arrow Connector 48">
                <a:extLst>
                  <a:ext uri="{FF2B5EF4-FFF2-40B4-BE49-F238E27FC236}">
                    <a16:creationId xmlns:a16="http://schemas.microsoft.com/office/drawing/2014/main" id="{CDE2C67D-8BD6-DC41-AF20-7FAA9675C716}"/>
                  </a:ext>
                </a:extLst>
              </p:cNvPr>
              <p:cNvCxnSpPr>
                <a:cxnSpLocks/>
                <a:stCxn id="48" idx="1"/>
                <a:endCxn id="53" idx="2"/>
              </p:cNvCxnSpPr>
              <p:nvPr userDrawn="1"/>
            </p:nvCxnSpPr>
            <p:spPr>
              <a:xfrm flipH="1">
                <a:off x="431800" y="-122839"/>
                <a:ext cx="3451666" cy="1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Arrow Connector 49">
                <a:extLst>
                  <a:ext uri="{FF2B5EF4-FFF2-40B4-BE49-F238E27FC236}">
                    <a16:creationId xmlns:a16="http://schemas.microsoft.com/office/drawing/2014/main" id="{FE530C30-B79E-8F43-940C-FCF8970BE6EB}"/>
                  </a:ext>
                </a:extLst>
              </p:cNvPr>
              <p:cNvCxnSpPr>
                <a:cxnSpLocks/>
                <a:stCxn id="48" idx="3"/>
                <a:endCxn id="53" idx="0"/>
              </p:cNvCxnSpPr>
              <p:nvPr userDrawn="1"/>
            </p:nvCxnSpPr>
            <p:spPr>
              <a:xfrm>
                <a:off x="5260547" y="-122839"/>
                <a:ext cx="3451653" cy="0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7F96F018-A664-B540-B004-D45CCFE76A75}"/>
              </a:ext>
            </a:extLst>
          </p:cNvPr>
          <p:cNvGrpSpPr/>
          <p:nvPr userDrawn="1"/>
        </p:nvGrpSpPr>
        <p:grpSpPr>
          <a:xfrm>
            <a:off x="9399183" y="-1"/>
            <a:ext cx="2961715" cy="5143502"/>
            <a:chOff x="9399182" y="-1"/>
            <a:chExt cx="2961715" cy="6858002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6D987FAF-CC7B-0640-8722-7EE6471E6901}"/>
                </a:ext>
              </a:extLst>
            </p:cNvPr>
            <p:cNvSpPr/>
            <p:nvPr userDrawn="1"/>
          </p:nvSpPr>
          <p:spPr>
            <a:xfrm>
              <a:off x="9399182" y="-1"/>
              <a:ext cx="2798651" cy="685800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050"/>
            </a:p>
          </p:txBody>
        </p:sp>
        <p:pic>
          <p:nvPicPr>
            <p:cNvPr id="59" name="Picture 58">
              <a:extLst>
                <a:ext uri="{FF2B5EF4-FFF2-40B4-BE49-F238E27FC236}">
                  <a16:creationId xmlns:a16="http://schemas.microsoft.com/office/drawing/2014/main" id="{26FE57B3-F850-1E48-B661-0B3DB802A6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r="44907"/>
            <a:stretch/>
          </p:blipFill>
          <p:spPr>
            <a:xfrm>
              <a:off x="9558505" y="1326787"/>
              <a:ext cx="2639326" cy="517021"/>
            </a:xfrm>
            <a:prstGeom prst="rect">
              <a:avLst/>
            </a:prstGeom>
          </p:spPr>
        </p:pic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27F2EFCC-B85A-7243-AD55-5815FF040AB8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ED713B88-98F1-FF49-9219-D32C4B2740D3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EF3E53F2-95E7-9F47-A4FD-AD7DB6BC66E4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74" name="Picture 73">
                <a:extLst>
                  <a:ext uri="{FF2B5EF4-FFF2-40B4-BE49-F238E27FC236}">
                    <a16:creationId xmlns:a16="http://schemas.microsoft.com/office/drawing/2014/main" id="{90F9AF66-5251-5142-AB15-993088249142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C7F6F6A6-5B3F-5E4D-AA2D-D18E32AF2B33}"/>
                </a:ext>
              </a:extLst>
            </p:cNvPr>
            <p:cNvGrpSpPr/>
            <p:nvPr userDrawn="1"/>
          </p:nvGrpSpPr>
          <p:grpSpPr>
            <a:xfrm>
              <a:off x="9541497" y="2001128"/>
              <a:ext cx="2735151" cy="1739504"/>
              <a:chOff x="9541497" y="2125825"/>
              <a:chExt cx="2735151" cy="1739504"/>
            </a:xfrm>
          </p:grpSpPr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10E3E0B5-442E-D342-B713-2C7D475F1ABD}"/>
                  </a:ext>
                </a:extLst>
              </p:cNvPr>
              <p:cNvSpPr/>
              <p:nvPr userDrawn="1"/>
            </p:nvSpPr>
            <p:spPr>
              <a:xfrm>
                <a:off x="9541497" y="2125825"/>
                <a:ext cx="2735151" cy="1739504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30B9E3F6-CBF5-F54B-8469-B59DF5B1B45F}"/>
                  </a:ext>
                </a:extLst>
              </p:cNvPr>
              <p:cNvSpPr txBox="1"/>
              <p:nvPr userDrawn="1"/>
            </p:nvSpPr>
            <p:spPr>
              <a:xfrm>
                <a:off x="9907688" y="2254624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8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Undo Hyperlink</a:t>
                </a:r>
              </a:p>
            </p:txBody>
          </p:sp>
          <p:pic>
            <p:nvPicPr>
              <p:cNvPr id="66" name="Graphic 65">
                <a:extLst>
                  <a:ext uri="{FF2B5EF4-FFF2-40B4-BE49-F238E27FC236}">
                    <a16:creationId xmlns:a16="http://schemas.microsoft.com/office/drawing/2014/main" id="{9258BA04-2516-F041-AC6E-418C990D96D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9701720" y="2264907"/>
                <a:ext cx="155227" cy="155227"/>
              </a:xfrm>
              <a:prstGeom prst="rect">
                <a:avLst/>
              </a:prstGeom>
            </p:spPr>
          </p:pic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B74EED98-2E62-DD49-A384-EA4382C505E1}"/>
                  </a:ext>
                </a:extLst>
              </p:cNvPr>
              <p:cNvSpPr txBox="1"/>
              <p:nvPr userDrawn="1"/>
            </p:nvSpPr>
            <p:spPr>
              <a:xfrm>
                <a:off x="9701720" y="2880064"/>
                <a:ext cx="2384904" cy="2492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As soon as the hyperlink formatting appears, Undo once to remove the format.</a:t>
                </a:r>
              </a:p>
            </p:txBody>
          </p:sp>
          <p:sp>
            <p:nvSpPr>
              <p:cNvPr id="68" name="TextBox 67">
                <a:extLst>
                  <a:ext uri="{FF2B5EF4-FFF2-40B4-BE49-F238E27FC236}">
                    <a16:creationId xmlns:a16="http://schemas.microsoft.com/office/drawing/2014/main" id="{F384A55C-D7CF-FF48-B0FF-2456C82E6EBE}"/>
                  </a:ext>
                </a:extLst>
              </p:cNvPr>
              <p:cNvSpPr txBox="1"/>
              <p:nvPr userDrawn="1"/>
            </p:nvSpPr>
            <p:spPr>
              <a:xfrm>
                <a:off x="9694938" y="2522576"/>
                <a:ext cx="2422981" cy="2769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685800" rtl="0" eaLnBrk="1" latinLnBrk="0" hangingPunct="1">
                  <a:spcBef>
                    <a:spcPts val="150"/>
                  </a:spcBef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Typing an email address into the contact info will automatically create a hyperlink.</a:t>
                </a:r>
              </a:p>
            </p:txBody>
          </p:sp>
          <p:sp>
            <p:nvSpPr>
              <p:cNvPr id="69" name="TextBox 68">
                <a:extLst>
                  <a:ext uri="{FF2B5EF4-FFF2-40B4-BE49-F238E27FC236}">
                    <a16:creationId xmlns:a16="http://schemas.microsoft.com/office/drawing/2014/main" id="{E2302EA8-8733-DD40-AAB2-9F1D1EF06B7C}"/>
                  </a:ext>
                </a:extLst>
              </p:cNvPr>
              <p:cNvSpPr txBox="1"/>
              <p:nvPr userDrawn="1"/>
            </p:nvSpPr>
            <p:spPr>
              <a:xfrm>
                <a:off x="9830981" y="3162742"/>
                <a:ext cx="2374733" cy="107721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>
                    <a:solidFill>
                      <a:schemeClr val="bg1">
                        <a:lumMod val="65000"/>
                      </a:schemeClr>
                    </a:solidFill>
                  </a:rPr>
                  <a:t>You can use CTRL+Z or the menu button.</a:t>
                </a:r>
              </a:p>
            </p:txBody>
          </p:sp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636FE2CE-37D5-BF40-B558-5246FB50D8FF}"/>
                  </a:ext>
                </a:extLst>
              </p:cNvPr>
              <p:cNvSpPr txBox="1"/>
              <p:nvPr userDrawn="1"/>
            </p:nvSpPr>
            <p:spPr>
              <a:xfrm>
                <a:off x="9701720" y="3337264"/>
                <a:ext cx="2384904" cy="373948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To remove an pre-existing hyperlink, </a:t>
                </a:r>
                <a:b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</a:br>
                <a:r>
                  <a:rPr lang="en-US" sz="675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right click on the hyperlink and choose “Remove Link” (                 )</a:t>
                </a:r>
              </a:p>
            </p:txBody>
          </p:sp>
          <p:pic>
            <p:nvPicPr>
              <p:cNvPr id="71" name="Picture 70">
                <a:extLst>
                  <a:ext uri="{FF2B5EF4-FFF2-40B4-BE49-F238E27FC236}">
                    <a16:creationId xmlns:a16="http://schemas.microsoft.com/office/drawing/2014/main" id="{5BABAB4D-B3D4-6846-98D9-70059E3456A4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6"/>
              <a:srcRect l="4852" t="17138" r="10283" b="11792"/>
              <a:stretch/>
            </p:blipFill>
            <p:spPr>
              <a:xfrm>
                <a:off x="10676602" y="3604038"/>
                <a:ext cx="478277" cy="101726"/>
              </a:xfrm>
              <a:prstGeom prst="rect">
                <a:avLst/>
              </a:prstGeom>
              <a:ln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</p:pic>
        </p:grp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94956E66-A974-8749-AE46-D644207B685E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1670329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sz="825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558A9D8A-09FA-EB45-86D2-0B16C31ED98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22624787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White_BlueBox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754380"/>
            <a:ext cx="5438042" cy="1577340"/>
          </a:xfrm>
        </p:spPr>
        <p:txBody>
          <a:bodyPr/>
          <a:lstStyle>
            <a:lvl1pPr>
              <a:defRPr>
                <a:latin typeface="ITC Franklin Gothic Std MedCd" panose="020B06060305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28650" y="3365964"/>
            <a:ext cx="3918731" cy="2508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500" b="0" kern="1200" cap="none" spc="-38" baseline="0" dirty="0" smtClean="0">
                <a:solidFill>
                  <a:srgbClr val="6D6D6D"/>
                </a:solidFill>
                <a:latin typeface="Arial Nova Light" panose="020B0304020202020204" pitchFamily="34" charset="0"/>
                <a:ea typeface="+mn-ea"/>
                <a:cs typeface="+mn-cs"/>
              </a:defRPr>
            </a:lvl1pPr>
          </a:lstStyle>
          <a:p>
            <a:pPr marL="171450" lvl="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</a:pPr>
            <a:r>
              <a:rPr lang="en-US" dirty="0"/>
              <a:t>Date</a:t>
            </a:r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28650" y="4007534"/>
            <a:ext cx="5437585" cy="3086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800" kern="1200" cap="none" spc="0" baseline="0" dirty="0">
                <a:solidFill>
                  <a:srgbClr val="232D4B"/>
                </a:solidFill>
                <a:latin typeface="ITC Franklin Gothic Std MedCd" panose="020B0606030503020204" pitchFamily="34" charset="0"/>
                <a:ea typeface="+mn-ea"/>
                <a:cs typeface="+mn-cs"/>
              </a:defRPr>
            </a:lvl1pPr>
          </a:lstStyle>
          <a:p>
            <a:pPr marL="171450" lvl="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</a:pPr>
            <a:r>
              <a:rPr lang="en-US" dirty="0"/>
              <a:t>Presenter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28650" y="4282557"/>
            <a:ext cx="5437585" cy="27537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500" b="0" kern="1200" cap="none" spc="-38" baseline="0" dirty="0" smtClean="0">
                <a:solidFill>
                  <a:srgbClr val="6D6D6D"/>
                </a:solidFill>
                <a:latin typeface="Arial Nova Light" panose="020B0304020202020204" pitchFamily="34" charset="0"/>
                <a:ea typeface="+mn-ea"/>
                <a:cs typeface="+mn-cs"/>
              </a:defRPr>
            </a:lvl1pPr>
          </a:lstStyle>
          <a:p>
            <a:pPr marL="171450" lvl="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 dirty="0"/>
              <a:t>Email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28650" y="3063381"/>
            <a:ext cx="5437585" cy="31313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cap="none" spc="0" baseline="0">
                <a:solidFill>
                  <a:srgbClr val="232D4B"/>
                </a:solidFill>
                <a:latin typeface="ITC Franklin Gothic Std MedCd" panose="020B0606030503020204" pitchFamily="34" charset="0"/>
              </a:defRPr>
            </a:lvl1pPr>
          </a:lstStyle>
          <a:p>
            <a:pPr lvl="0"/>
            <a:r>
              <a:rPr lang="en-US" dirty="0"/>
              <a:t>Presented To</a:t>
            </a:r>
          </a:p>
        </p:txBody>
      </p:sp>
    </p:spTree>
    <p:extLst>
      <p:ext uri="{BB962C8B-B14F-4D97-AF65-F5344CB8AC3E}">
        <p14:creationId xmlns:p14="http://schemas.microsoft.com/office/powerpoint/2010/main" val="71253797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Col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309360" y="4767263"/>
            <a:ext cx="185166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75" kern="1200" dirty="0" smtClean="0">
                <a:solidFill>
                  <a:srgbClr val="F1F1EF"/>
                </a:solidFill>
                <a:latin typeface="ITC Franklin Gothic Std Bk Cd" panose="020B05060305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OPER CENTER </a:t>
            </a:r>
            <a:r>
              <a:rPr lang="en-US" sz="1200" dirty="0"/>
              <a:t>|</a:t>
            </a:r>
            <a:r>
              <a:rPr lang="en-US" dirty="0"/>
              <a:t> PUBLIC SERVIC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57033" y="4780026"/>
            <a:ext cx="311351" cy="2429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25">
                <a:solidFill>
                  <a:srgbClr val="F1F1EF"/>
                </a:solidFill>
                <a:latin typeface="ITC Franklin Gothic Std Bk Cd" panose="020B0506030503020204" pitchFamily="34" charset="0"/>
                <a:cs typeface="Arial" panose="020B0604020202020204" pitchFamily="34" charset="0"/>
              </a:defRPr>
            </a:lvl1pPr>
          </a:lstStyle>
          <a:p>
            <a:fld id="{F2085B6F-5DD0-4AA7-A598-31079D007F5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71241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(Plain, T.S.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>
            <a:extLst>
              <a:ext uri="{FF2B5EF4-FFF2-40B4-BE49-F238E27FC236}">
                <a16:creationId xmlns:a16="http://schemas.microsoft.com/office/drawing/2014/main" id="{7FB454B8-622E-D643-B38F-8FBBFCD62ABD}"/>
              </a:ext>
            </a:extLst>
          </p:cNvPr>
          <p:cNvSpPr/>
          <p:nvPr userDrawn="1"/>
        </p:nvSpPr>
        <p:spPr>
          <a:xfrm flipH="1">
            <a:off x="1868" y="1628720"/>
            <a:ext cx="8780681" cy="1361664"/>
          </a:xfrm>
          <a:custGeom>
            <a:avLst/>
            <a:gdLst>
              <a:gd name="connsiteX0" fmla="*/ 8780681 w 8780681"/>
              <a:gd name="connsiteY0" fmla="*/ 0 h 1815552"/>
              <a:gd name="connsiteX1" fmla="*/ 861570 w 8780681"/>
              <a:gd name="connsiteY1" fmla="*/ 0 h 1815552"/>
              <a:gd name="connsiteX2" fmla="*/ 0 w 8780681"/>
              <a:gd name="connsiteY2" fmla="*/ 1815552 h 1815552"/>
              <a:gd name="connsiteX3" fmla="*/ 8780681 w 8780681"/>
              <a:gd name="connsiteY3" fmla="*/ 1815552 h 1815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780681" h="1815552">
                <a:moveTo>
                  <a:pt x="8780681" y="0"/>
                </a:moveTo>
                <a:lnTo>
                  <a:pt x="861570" y="0"/>
                </a:lnTo>
                <a:lnTo>
                  <a:pt x="0" y="1815552"/>
                </a:lnTo>
                <a:lnTo>
                  <a:pt x="8780681" y="1815552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1050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A7DAA80D-E5FC-834A-808A-ED4B4782F280}"/>
              </a:ext>
            </a:extLst>
          </p:cNvPr>
          <p:cNvSpPr/>
          <p:nvPr userDrawn="1"/>
        </p:nvSpPr>
        <p:spPr>
          <a:xfrm flipH="1">
            <a:off x="0" y="4522171"/>
            <a:ext cx="6781322" cy="320579"/>
          </a:xfrm>
          <a:custGeom>
            <a:avLst/>
            <a:gdLst>
              <a:gd name="connsiteX0" fmla="*/ 6781322 w 6781322"/>
              <a:gd name="connsiteY0" fmla="*/ 0 h 427439"/>
              <a:gd name="connsiteX1" fmla="*/ 6376846 w 6781322"/>
              <a:gd name="connsiteY1" fmla="*/ 0 h 427439"/>
              <a:gd name="connsiteX2" fmla="*/ 607317 w 6781322"/>
              <a:gd name="connsiteY2" fmla="*/ 0 h 427439"/>
              <a:gd name="connsiteX3" fmla="*/ 202841 w 6781322"/>
              <a:gd name="connsiteY3" fmla="*/ 0 h 427439"/>
              <a:gd name="connsiteX4" fmla="*/ 0 w 6781322"/>
              <a:gd name="connsiteY4" fmla="*/ 427439 h 427439"/>
              <a:gd name="connsiteX5" fmla="*/ 404476 w 6781322"/>
              <a:gd name="connsiteY5" fmla="*/ 427439 h 427439"/>
              <a:gd name="connsiteX6" fmla="*/ 6376846 w 6781322"/>
              <a:gd name="connsiteY6" fmla="*/ 427439 h 427439"/>
              <a:gd name="connsiteX7" fmla="*/ 6781322 w 6781322"/>
              <a:gd name="connsiteY7" fmla="*/ 427439 h 427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81322" h="427439">
                <a:moveTo>
                  <a:pt x="6781322" y="0"/>
                </a:moveTo>
                <a:lnTo>
                  <a:pt x="6376846" y="0"/>
                </a:lnTo>
                <a:lnTo>
                  <a:pt x="607317" y="0"/>
                </a:lnTo>
                <a:lnTo>
                  <a:pt x="202841" y="0"/>
                </a:lnTo>
                <a:lnTo>
                  <a:pt x="0" y="427439"/>
                </a:lnTo>
                <a:lnTo>
                  <a:pt x="404476" y="427439"/>
                </a:lnTo>
                <a:lnTo>
                  <a:pt x="6376846" y="427439"/>
                </a:lnTo>
                <a:lnTo>
                  <a:pt x="6781322" y="42743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05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428846E-90EC-CF46-BA3C-6E7E7F9A65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1" y="1768288"/>
            <a:ext cx="7495477" cy="1082528"/>
          </a:xfrm>
        </p:spPr>
        <p:txBody>
          <a:bodyPr anchor="ctr"/>
          <a:lstStyle>
            <a:lvl1pPr>
              <a:defRPr sz="2700"/>
            </a:lvl1pPr>
          </a:lstStyle>
          <a:p>
            <a:pPr lvl="0"/>
            <a:r>
              <a:rPr lang="en-US"/>
              <a:t>CLICK TO EDIT PRESENTATION TITLE. ALL CAPS. TWO LINES.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AC42CDE-EBE7-E741-BE32-30653614DF4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6724099" y="4474686"/>
            <a:ext cx="2151407" cy="416402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95C24E01-FC3B-404D-9E78-A1D4842E648D}"/>
              </a:ext>
            </a:extLst>
          </p:cNvPr>
          <p:cNvGrpSpPr/>
          <p:nvPr userDrawn="1"/>
        </p:nvGrpSpPr>
        <p:grpSpPr>
          <a:xfrm>
            <a:off x="-256964" y="1997110"/>
            <a:ext cx="251461" cy="602901"/>
            <a:chOff x="-256404" y="360363"/>
            <a:chExt cx="251461" cy="692152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7609AD49-9F46-6B4D-AC61-D86E1F7D6DE3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AB26C9CC-8E39-D842-9EAF-678E2CFCEA4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15">
                <a:extLst>
                  <a:ext uri="{FF2B5EF4-FFF2-40B4-BE49-F238E27FC236}">
                    <a16:creationId xmlns:a16="http://schemas.microsoft.com/office/drawing/2014/main" id="{572409FD-BEDA-7448-ADF2-61BA93E7861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309BC28A-A542-FE4D-93B0-F0347A65EE97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</p:grp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659ED004-19ED-DE4A-9DA7-48843A04A76A}"/>
                </a:ext>
              </a:extLst>
            </p:cNvPr>
            <p:cNvSpPr txBox="1"/>
            <p:nvPr userDrawn="1"/>
          </p:nvSpPr>
          <p:spPr>
            <a:xfrm rot="16200000">
              <a:off x="-236491" y="662666"/>
              <a:ext cx="211636" cy="80791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ITLE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E78AD02-75ED-A243-A1D9-E6F34937F533}"/>
              </a:ext>
            </a:extLst>
          </p:cNvPr>
          <p:cNvGrpSpPr/>
          <p:nvPr userDrawn="1"/>
        </p:nvGrpSpPr>
        <p:grpSpPr>
          <a:xfrm>
            <a:off x="-256964" y="4522171"/>
            <a:ext cx="251461" cy="311229"/>
            <a:chOff x="-256404" y="360363"/>
            <a:chExt cx="251461" cy="692152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B5C734E6-12AC-D549-85C3-5CA9349575FD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FBB2CEB4-7001-4143-8842-8DD015ADA2C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C52DBC83-F997-CC43-8A77-AB3F51D3F8A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DD5C9623-B665-514A-A1F5-4742B67F7AE1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</p:grp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F05C7E24-6E4B-6844-9522-6D184F784EA2}"/>
                </a:ext>
              </a:extLst>
            </p:cNvPr>
            <p:cNvSpPr txBox="1"/>
            <p:nvPr userDrawn="1"/>
          </p:nvSpPr>
          <p:spPr>
            <a:xfrm rot="16200000">
              <a:off x="-330312" y="662665"/>
              <a:ext cx="399276" cy="80791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525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DATE</a:t>
              </a:r>
            </a:p>
          </p:txBody>
        </p:sp>
      </p:grp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AA8BE2D3-AB7B-1A4A-8A3E-0485C1C367A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0852" y="4545906"/>
            <a:ext cx="3313429" cy="273109"/>
          </a:xfrm>
        </p:spPr>
        <p:txBody>
          <a:bodyPr anchor="ctr"/>
          <a:lstStyle>
            <a:lvl1pPr marL="7144" indent="0">
              <a:buFontTx/>
              <a:buNone/>
              <a:tabLst/>
              <a:defRPr sz="1050" b="0">
                <a:solidFill>
                  <a:schemeClr val="bg1"/>
                </a:solidFill>
              </a:defRPr>
            </a:lvl1pPr>
            <a:lvl2pPr marL="7144" indent="0">
              <a:buFontTx/>
              <a:buNone/>
              <a:tabLst/>
              <a:defRPr sz="1050">
                <a:solidFill>
                  <a:schemeClr val="bg1"/>
                </a:solidFill>
              </a:defRPr>
            </a:lvl2pPr>
            <a:lvl3pPr marL="7144" indent="0">
              <a:buFontTx/>
              <a:buNone/>
              <a:tabLst/>
              <a:defRPr sz="1050">
                <a:solidFill>
                  <a:schemeClr val="bg1"/>
                </a:solidFill>
              </a:defRPr>
            </a:lvl3pPr>
            <a:lvl4pPr marL="7144" indent="0">
              <a:buFontTx/>
              <a:buNone/>
              <a:tabLst/>
              <a:defRPr sz="1050">
                <a:solidFill>
                  <a:schemeClr val="bg1"/>
                </a:solidFill>
              </a:defRPr>
            </a:lvl4pPr>
            <a:lvl5pPr marL="7144" indent="0">
              <a:buFontTx/>
              <a:buNone/>
              <a:tabLst/>
              <a:defRPr sz="1050">
                <a:solidFill>
                  <a:schemeClr val="bg1"/>
                </a:solidFill>
              </a:defRPr>
            </a:lvl5pPr>
            <a:lvl6pPr marL="7144" indent="0">
              <a:buFontTx/>
              <a:buNone/>
              <a:tabLst/>
              <a:defRPr sz="1050">
                <a:solidFill>
                  <a:schemeClr val="bg1"/>
                </a:solidFill>
              </a:defRPr>
            </a:lvl6pPr>
            <a:lvl7pPr marL="7144" indent="0">
              <a:buFontTx/>
              <a:buNone/>
              <a:tabLst/>
              <a:defRPr sz="1050">
                <a:solidFill>
                  <a:schemeClr val="bg1"/>
                </a:solidFill>
              </a:defRPr>
            </a:lvl7pPr>
            <a:lvl8pPr marL="7144" indent="0">
              <a:buFontTx/>
              <a:buNone/>
              <a:tabLst/>
              <a:defRPr sz="1050">
                <a:solidFill>
                  <a:schemeClr val="bg1"/>
                </a:solidFill>
              </a:defRPr>
            </a:lvl8pPr>
            <a:lvl9pPr marL="7144" indent="0">
              <a:buFontTx/>
              <a:buNone/>
              <a:tabLst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date (Month DD, YYYY)</a:t>
            </a:r>
          </a:p>
        </p:txBody>
      </p:sp>
    </p:spTree>
    <p:extLst>
      <p:ext uri="{BB962C8B-B14F-4D97-AF65-F5344CB8AC3E}">
        <p14:creationId xmlns:p14="http://schemas.microsoft.com/office/powerpoint/2010/main" val="40726288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_BigFact">
    <p:bg>
      <p:bgPr>
        <a:solidFill>
          <a:srgbClr val="232D4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75580" y="1049472"/>
            <a:ext cx="5992838" cy="2584976"/>
          </a:xfrm>
          <a:prstGeom prst="rect">
            <a:avLst/>
          </a:prstGeom>
        </p:spPr>
        <p:txBody>
          <a:bodyPr anchor="ctr"/>
          <a:lstStyle>
            <a:lvl1pPr algn="ctr">
              <a:defRPr sz="4500" b="1" spc="-75" baseline="0">
                <a:solidFill>
                  <a:srgbClr val="F1F1EF"/>
                </a:solidFill>
                <a:latin typeface="ITC Franklin Gothic Std MedCd" panose="020B0606030503020204" pitchFamily="34" charset="0"/>
              </a:defRPr>
            </a:lvl1pPr>
          </a:lstStyle>
          <a:p>
            <a:r>
              <a:rPr lang="en-US" dirty="0"/>
              <a:t>Click to add an important fact or piece of data.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309360" y="4767263"/>
            <a:ext cx="185166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75" kern="1200" dirty="0" smtClean="0">
                <a:solidFill>
                  <a:srgbClr val="F1F1EF"/>
                </a:solidFill>
                <a:latin typeface="ITC Franklin Gothic Std Bk Cd" panose="020B05060305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OPER CENTER </a:t>
            </a:r>
            <a:r>
              <a:rPr lang="en-US" sz="1200" dirty="0"/>
              <a:t>|</a:t>
            </a:r>
            <a:r>
              <a:rPr lang="en-US" dirty="0"/>
              <a:t> PUBLIC SERVIC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57033" y="4780026"/>
            <a:ext cx="311351" cy="2429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25">
                <a:solidFill>
                  <a:srgbClr val="F1F1EF"/>
                </a:solidFill>
                <a:latin typeface="ITC Franklin Gothic Std Bk Cd" panose="020B0506030503020204" pitchFamily="34" charset="0"/>
                <a:cs typeface="Arial" panose="020B0604020202020204" pitchFamily="34" charset="0"/>
              </a:defRPr>
            </a:lvl1pPr>
          </a:lstStyle>
          <a:p>
            <a:fld id="{F2085B6F-5DD0-4AA7-A598-31079D007F5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157795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Col_FullSize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4649391"/>
          </a:xfrm>
          <a:prstGeom prst="rect">
            <a:avLst/>
          </a:prstGeom>
          <a:solidFill>
            <a:srgbClr val="F1F1EF"/>
          </a:solidFill>
        </p:spPr>
        <p:txBody>
          <a:bodyPr/>
          <a:lstStyle>
            <a:lvl1pPr marL="0" indent="0">
              <a:buNone/>
              <a:defRPr>
                <a:solidFill>
                  <a:srgbClr val="5A5A5A"/>
                </a:solidFill>
                <a:latin typeface="ITC Franklin Gothic Std Med"/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309360" y="4767263"/>
            <a:ext cx="185166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75" kern="1200" dirty="0" smtClean="0">
                <a:solidFill>
                  <a:srgbClr val="F1F1EF"/>
                </a:solidFill>
                <a:latin typeface="ITC Franklin Gothic Std Bk Cd" panose="020B05060305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OPER CENTER </a:t>
            </a:r>
            <a:r>
              <a:rPr lang="en-US" sz="1200" dirty="0"/>
              <a:t>|</a:t>
            </a:r>
            <a:r>
              <a:rPr lang="en-US" dirty="0"/>
              <a:t> PUBLIC SERVIC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57033" y="4780026"/>
            <a:ext cx="311351" cy="2429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25">
                <a:solidFill>
                  <a:srgbClr val="F1F1EF"/>
                </a:solidFill>
                <a:latin typeface="ITC Franklin Gothic Std Bk Cd" panose="020B0506030503020204" pitchFamily="34" charset="0"/>
                <a:cs typeface="Arial" panose="020B0604020202020204" pitchFamily="34" charset="0"/>
              </a:defRPr>
            </a:lvl1pPr>
          </a:lstStyle>
          <a:p>
            <a:fld id="{F2085B6F-5DD0-4AA7-A598-31079D007F5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541815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Col_2Images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-1" y="0"/>
            <a:ext cx="4553712" cy="4649391"/>
          </a:xfrm>
          <a:prstGeom prst="rect">
            <a:avLst/>
          </a:prstGeom>
          <a:solidFill>
            <a:srgbClr val="F1F1EF"/>
          </a:solidFill>
          <a:ln w="38100">
            <a:noFill/>
          </a:ln>
        </p:spPr>
        <p:txBody>
          <a:bodyPr/>
          <a:lstStyle>
            <a:lvl1pPr marL="0" indent="0">
              <a:buNone/>
              <a:defRPr>
                <a:solidFill>
                  <a:srgbClr val="5A5A5A"/>
                </a:solidFill>
                <a:latin typeface="ITC Franklin Gothic Std Book" panose="020B0504030503020204"/>
              </a:defRPr>
            </a:lvl1pPr>
          </a:lstStyle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4590288" y="0"/>
            <a:ext cx="4553712" cy="4649391"/>
          </a:xfrm>
          <a:prstGeom prst="rect">
            <a:avLst/>
          </a:prstGeom>
          <a:solidFill>
            <a:srgbClr val="F1F1EF"/>
          </a:solidFill>
          <a:ln w="28575">
            <a:noFill/>
          </a:ln>
        </p:spPr>
        <p:txBody>
          <a:bodyPr/>
          <a:lstStyle>
            <a:lvl1pPr marL="0" indent="0">
              <a:buNone/>
              <a:defRPr>
                <a:solidFill>
                  <a:srgbClr val="5A5A5A"/>
                </a:solidFill>
                <a:latin typeface="ITC Franklin Gothic Std Book" panose="020B0504030503020204"/>
              </a:defRPr>
            </a:lvl1pPr>
          </a:lstStyle>
          <a:p>
            <a:endParaRPr lang="en-US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309360" y="4767263"/>
            <a:ext cx="185166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75" kern="1200" dirty="0" smtClean="0">
                <a:solidFill>
                  <a:srgbClr val="F1F1EF"/>
                </a:solidFill>
                <a:latin typeface="ITC Franklin Gothic Std Bk Cd" panose="020B05060305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OPER CENTER </a:t>
            </a:r>
            <a:r>
              <a:rPr lang="en-US" sz="1200" dirty="0"/>
              <a:t>|</a:t>
            </a:r>
            <a:r>
              <a:rPr lang="en-US" dirty="0"/>
              <a:t> PUBLIC SERVIC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57033" y="4780026"/>
            <a:ext cx="311351" cy="2429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25">
                <a:solidFill>
                  <a:srgbClr val="F1F1EF"/>
                </a:solidFill>
                <a:latin typeface="ITC Franklin Gothic Std Bk Cd" panose="020B0506030503020204" pitchFamily="34" charset="0"/>
                <a:cs typeface="Arial" panose="020B0604020202020204" pitchFamily="34" charset="0"/>
              </a:defRPr>
            </a:lvl1pPr>
          </a:lstStyle>
          <a:p>
            <a:fld id="{F2085B6F-5DD0-4AA7-A598-31079D007F5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919544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Collage-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4553712" cy="4649391"/>
          </a:xfrm>
          <a:prstGeom prst="rect">
            <a:avLst/>
          </a:prstGeom>
          <a:solidFill>
            <a:srgbClr val="F1F1EF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rgbClr val="5A5A5A"/>
                </a:solidFill>
                <a:latin typeface="ITC Franklin Gothic Std Book" panose="020B0504030503020204"/>
              </a:defRPr>
            </a:lvl1pPr>
          </a:lstStyle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4589421" y="0"/>
            <a:ext cx="4553712" cy="2311146"/>
          </a:xfrm>
          <a:prstGeom prst="rect">
            <a:avLst/>
          </a:prstGeom>
          <a:solidFill>
            <a:srgbClr val="F1F1EF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rgbClr val="5A5A5A"/>
                </a:solidFill>
                <a:latin typeface="ITC Franklin Gothic Std Book" panose="020B0504030503020204"/>
              </a:defRPr>
            </a:lvl1pPr>
          </a:lstStyle>
          <a:p>
            <a:endParaRPr lang="en-US"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4589421" y="2345103"/>
            <a:ext cx="4553712" cy="2311146"/>
          </a:xfrm>
          <a:prstGeom prst="rect">
            <a:avLst/>
          </a:prstGeom>
          <a:solidFill>
            <a:srgbClr val="F1F1EF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rgbClr val="5A5A5A"/>
                </a:solidFill>
                <a:latin typeface="ITC Franklin Gothic Std Book" panose="020B0504030503020204"/>
              </a:defRPr>
            </a:lvl1pPr>
          </a:lstStyle>
          <a:p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57033" y="4780026"/>
            <a:ext cx="311351" cy="2429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25">
                <a:solidFill>
                  <a:srgbClr val="F1F1EF"/>
                </a:solidFill>
                <a:latin typeface="ITC Franklin Gothic Std Bk Cd" panose="020B0506030503020204" pitchFamily="34" charset="0"/>
                <a:cs typeface="Arial" panose="020B0604020202020204" pitchFamily="34" charset="0"/>
              </a:defRPr>
            </a:lvl1pPr>
          </a:lstStyle>
          <a:p>
            <a:fld id="{F2085B6F-5DD0-4AA7-A598-31079D007F5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309360" y="4767263"/>
            <a:ext cx="185166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75" kern="1200" dirty="0" smtClean="0">
                <a:solidFill>
                  <a:srgbClr val="F1F1EF"/>
                </a:solidFill>
                <a:latin typeface="ITC Franklin Gothic Std Bk Cd" panose="020B05060305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OPER CENTER </a:t>
            </a:r>
            <a:r>
              <a:rPr lang="en-US" sz="1200" dirty="0"/>
              <a:t>|</a:t>
            </a:r>
            <a:r>
              <a:rPr lang="en-US" dirty="0"/>
              <a:t> PUBLIC SERVICE</a:t>
            </a:r>
          </a:p>
        </p:txBody>
      </p:sp>
    </p:spTree>
    <p:extLst>
      <p:ext uri="{BB962C8B-B14F-4D97-AF65-F5344CB8AC3E}">
        <p14:creationId xmlns:p14="http://schemas.microsoft.com/office/powerpoint/2010/main" val="251997645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Col_Title-2Lines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48640" y="411480"/>
            <a:ext cx="8023860" cy="411480"/>
          </a:xfrm>
          <a:prstGeom prst="rect">
            <a:avLst/>
          </a:prstGeom>
        </p:spPr>
        <p:txBody>
          <a:bodyPr vert="horz" lIns="91440" tIns="45720" rIns="91440" bIns="0" rtlCol="0" anchor="b">
            <a:normAutofit/>
          </a:bodyPr>
          <a:lstStyle>
            <a:lvl1pPr>
              <a:defRPr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48879" y="1303020"/>
            <a:ext cx="8023860" cy="30861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309360" y="4767263"/>
            <a:ext cx="185166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75" kern="1200" baseline="0" dirty="0" smtClean="0">
                <a:solidFill>
                  <a:srgbClr val="F1F1EF"/>
                </a:solidFill>
                <a:latin typeface="ITC Franklin Gothic Std Bk Cd" panose="020B05060305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OPER CENTER </a:t>
            </a:r>
            <a:r>
              <a:rPr lang="en-US" sz="1200" dirty="0"/>
              <a:t>|</a:t>
            </a:r>
            <a:r>
              <a:rPr lang="en-US" dirty="0"/>
              <a:t> PUBLIC SERVIC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57033" y="4780026"/>
            <a:ext cx="311351" cy="2429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25">
                <a:solidFill>
                  <a:srgbClr val="F1F1EF"/>
                </a:solidFill>
                <a:latin typeface="ITC Franklin Gothic Std Bk Cd" panose="020B0506030503020204" pitchFamily="34" charset="0"/>
                <a:cs typeface="Arial" panose="020B0604020202020204" pitchFamily="34" charset="0"/>
              </a:defRPr>
            </a:lvl1pPr>
          </a:lstStyle>
          <a:p>
            <a:fld id="{F2085B6F-5DD0-4AA7-A598-31079D007F5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598435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Col_Title_Bullets-OneLev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8640" y="411480"/>
            <a:ext cx="8023860" cy="41148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48879" y="1303020"/>
            <a:ext cx="8023860" cy="3086100"/>
          </a:xfrm>
        </p:spPr>
        <p:txBody>
          <a:bodyPr/>
          <a:lstStyle>
            <a:lvl1pPr marL="342900" indent="-342900">
              <a:spcBef>
                <a:spcPts val="0"/>
              </a:spcBef>
              <a:spcAft>
                <a:spcPts val="2250"/>
              </a:spcAft>
              <a:buFont typeface="Arial" panose="020B0604020202020204" pitchFamily="34" charset="0"/>
              <a:buChar char="•"/>
              <a:defRPr baseline="0"/>
            </a:lvl1pPr>
          </a:lstStyle>
          <a:p>
            <a:pPr lvl="0"/>
            <a:r>
              <a:rPr lang="en-US" dirty="0"/>
              <a:t>Item One</a:t>
            </a:r>
          </a:p>
          <a:p>
            <a:pPr lvl="0"/>
            <a:r>
              <a:rPr lang="en-US" dirty="0"/>
              <a:t>Item Two</a:t>
            </a:r>
          </a:p>
          <a:p>
            <a:pPr lvl="0"/>
            <a:r>
              <a:rPr lang="en-US" dirty="0"/>
              <a:t>Item Three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309360" y="4767263"/>
            <a:ext cx="185166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75" kern="1200" dirty="0" smtClean="0">
                <a:solidFill>
                  <a:srgbClr val="F1F1EF"/>
                </a:solidFill>
                <a:latin typeface="ITC Franklin Gothic Std Bk Cd" panose="020B05060305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OPER CENTER </a:t>
            </a:r>
            <a:r>
              <a:rPr lang="en-US" sz="1200" dirty="0"/>
              <a:t>|</a:t>
            </a:r>
            <a:r>
              <a:rPr lang="en-US" dirty="0"/>
              <a:t> PUBLIC SERVIC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57033" y="4780026"/>
            <a:ext cx="311351" cy="2429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25">
                <a:solidFill>
                  <a:srgbClr val="F1F1EF"/>
                </a:solidFill>
                <a:latin typeface="ITC Franklin Gothic Std Bk Cd" panose="020B0506030503020204" pitchFamily="34" charset="0"/>
                <a:cs typeface="Arial" panose="020B0604020202020204" pitchFamily="34" charset="0"/>
              </a:defRPr>
            </a:lvl1pPr>
          </a:lstStyle>
          <a:p>
            <a:fld id="{F2085B6F-5DD0-4AA7-A598-31079D007F5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478121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Col_Title_Bullets-TwoLeve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48879" y="1303020"/>
            <a:ext cx="8023860" cy="3086100"/>
          </a:xfrm>
        </p:spPr>
        <p:txBody>
          <a:bodyPr/>
          <a:lstStyle>
            <a:lvl1pPr marL="342900" indent="-3429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0075" indent="-257175">
              <a:spcBef>
                <a:spcPts val="0"/>
              </a:spcBef>
              <a:spcAft>
                <a:spcPts val="2250"/>
              </a:spcAft>
              <a:buFont typeface="Wingdings" panose="05000000000000000000" pitchFamily="2" charset="2"/>
              <a:buChar char="§"/>
              <a:defRPr sz="1650">
                <a:solidFill>
                  <a:srgbClr val="6D6D6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Item One</a:t>
            </a:r>
          </a:p>
          <a:p>
            <a:pPr lvl="1"/>
            <a:r>
              <a:rPr lang="en-US" dirty="0"/>
              <a:t>Sub Item</a:t>
            </a:r>
          </a:p>
          <a:p>
            <a:pPr lvl="0"/>
            <a:r>
              <a:rPr lang="en-US" dirty="0"/>
              <a:t>Item Two</a:t>
            </a:r>
          </a:p>
          <a:p>
            <a:pPr lvl="1"/>
            <a:r>
              <a:rPr lang="en-US" dirty="0"/>
              <a:t>Sub Item</a:t>
            </a:r>
          </a:p>
          <a:p>
            <a:pPr lvl="0"/>
            <a:r>
              <a:rPr lang="en-US" dirty="0"/>
              <a:t>Item Three</a:t>
            </a:r>
          </a:p>
          <a:p>
            <a:pPr lvl="1"/>
            <a:r>
              <a:rPr lang="en-US" dirty="0"/>
              <a:t>Sub Item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309360" y="4767263"/>
            <a:ext cx="185166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75" kern="1200" dirty="0" smtClean="0">
                <a:solidFill>
                  <a:srgbClr val="F1F1EF"/>
                </a:solidFill>
                <a:latin typeface="ITC Franklin Gothic Std Bk Cd" panose="020B05060305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OPER CENTER </a:t>
            </a:r>
            <a:r>
              <a:rPr lang="en-US" sz="1200" dirty="0"/>
              <a:t>|</a:t>
            </a:r>
            <a:r>
              <a:rPr lang="en-US" dirty="0"/>
              <a:t> PUBLIC SERVIC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57033" y="4780026"/>
            <a:ext cx="311351" cy="2429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25">
                <a:solidFill>
                  <a:srgbClr val="F1F1EF"/>
                </a:solidFill>
                <a:latin typeface="ITC Franklin Gothic Std Bk Cd" panose="020B0506030503020204" pitchFamily="34" charset="0"/>
                <a:cs typeface="Arial" panose="020B0604020202020204" pitchFamily="34" charset="0"/>
              </a:defRPr>
            </a:lvl1pPr>
          </a:lstStyle>
          <a:p>
            <a:fld id="{F2085B6F-5DD0-4AA7-A598-31079D007F5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089670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Col_Title_Image_Ch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8640" y="411480"/>
            <a:ext cx="8023860" cy="41148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5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548640" y="1303020"/>
            <a:ext cx="8023860" cy="28117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800" kern="1200" dirty="0">
                <a:solidFill>
                  <a:srgbClr val="232D4B"/>
                </a:solidFill>
                <a:latin typeface="ITC Franklin Gothic Std Book" panose="020B0504030503020204" charset="0"/>
                <a:ea typeface="+mn-ea"/>
                <a:cs typeface="+mn-cs"/>
              </a:defRPr>
            </a:lvl1pPr>
          </a:lstStyle>
          <a:p>
            <a:pPr marL="0" lv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 dirty="0"/>
              <a:t>Insert image/chart/graph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309360" y="4767263"/>
            <a:ext cx="185166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75" kern="1200" baseline="0" dirty="0" smtClean="0">
                <a:solidFill>
                  <a:srgbClr val="F1F1EF"/>
                </a:solidFill>
                <a:latin typeface="ITC Franklin Gothic Std Bk Cd" panose="020B05060305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OPER CENTER </a:t>
            </a:r>
            <a:r>
              <a:rPr lang="en-US" sz="1200" dirty="0"/>
              <a:t>|</a:t>
            </a:r>
            <a:r>
              <a:rPr lang="en-US" dirty="0"/>
              <a:t> PUBLIC SERVIC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57033" y="4780026"/>
            <a:ext cx="311351" cy="2429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25">
                <a:solidFill>
                  <a:srgbClr val="F1F1EF"/>
                </a:solidFill>
                <a:latin typeface="ITC Franklin Gothic Std Bk Cd" panose="020B0506030503020204" pitchFamily="34" charset="0"/>
                <a:cs typeface="Arial" panose="020B0604020202020204" pitchFamily="34" charset="0"/>
              </a:defRPr>
            </a:lvl1pPr>
          </a:lstStyle>
          <a:p>
            <a:fld id="{F2085B6F-5DD0-4AA7-A598-31079D007F5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0" y="4240509"/>
            <a:ext cx="9144000" cy="4114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548640" y="4350759"/>
            <a:ext cx="8019743" cy="24410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lang="en-US" sz="1200" i="0" kern="1200" spc="-38" baseline="0" dirty="0">
                <a:solidFill>
                  <a:srgbClr val="232D4B"/>
                </a:solidFill>
                <a:latin typeface="ITC Franklin Gothic Std Bk Cd" panose="020B0506030503020204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Chart Title or Source</a:t>
            </a:r>
          </a:p>
        </p:txBody>
      </p:sp>
    </p:spTree>
    <p:extLst>
      <p:ext uri="{BB962C8B-B14F-4D97-AF65-F5344CB8AC3E}">
        <p14:creationId xmlns:p14="http://schemas.microsoft.com/office/powerpoint/2010/main" val="238269277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Col_Title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8640" y="411480"/>
            <a:ext cx="7886700" cy="41148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5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548640" y="1303020"/>
            <a:ext cx="78867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800" kern="1200" dirty="0">
                <a:solidFill>
                  <a:srgbClr val="232D4B"/>
                </a:solidFill>
                <a:latin typeface="ITC Franklin Gothic Std Book" panose="020B0504030503020204" charset="0"/>
                <a:ea typeface="+mn-ea"/>
                <a:cs typeface="+mn-cs"/>
              </a:defRPr>
            </a:lvl1pPr>
          </a:lstStyle>
          <a:p>
            <a:pPr marL="0" lv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Insert image/chart/graph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309360" y="4767263"/>
            <a:ext cx="185166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75" kern="1200" dirty="0" smtClean="0">
                <a:solidFill>
                  <a:srgbClr val="F1F1EF"/>
                </a:solidFill>
                <a:latin typeface="ITC Franklin Gothic Std Bk Cd" panose="020B05060305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OPER CENTER </a:t>
            </a:r>
            <a:r>
              <a:rPr lang="en-US" sz="1200" dirty="0"/>
              <a:t>|</a:t>
            </a:r>
            <a:r>
              <a:rPr lang="en-US" dirty="0"/>
              <a:t> PUBLIC SERVIC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57033" y="4780026"/>
            <a:ext cx="311351" cy="2429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25">
                <a:solidFill>
                  <a:srgbClr val="F1F1EF"/>
                </a:solidFill>
                <a:latin typeface="ITC Franklin Gothic Std Bk Cd" panose="020B0506030503020204" pitchFamily="34" charset="0"/>
                <a:cs typeface="Arial" panose="020B0604020202020204" pitchFamily="34" charset="0"/>
              </a:defRPr>
            </a:lvl1pPr>
          </a:lstStyle>
          <a:p>
            <a:fld id="{F2085B6F-5DD0-4AA7-A598-31079D007F5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161457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Col_C1Title-1line&amp;Image_C2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8640" y="411480"/>
            <a:ext cx="5760720" cy="41148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6606540" y="0"/>
            <a:ext cx="2537460" cy="4658969"/>
          </a:xfrm>
          <a:prstGeom prst="rect">
            <a:avLst/>
          </a:prstGeom>
          <a:solidFill>
            <a:srgbClr val="232D4B"/>
          </a:solidFill>
          <a:ln>
            <a:noFill/>
          </a:ln>
          <a:effectLst>
            <a:outerShdw blurRad="88900" dist="12700" dir="10800000" algn="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cap="all" baseline="0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548640" y="1371600"/>
            <a:ext cx="576072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>
                <a:solidFill>
                  <a:srgbClr val="232D4B"/>
                </a:solidFill>
                <a:latin typeface="ITC Franklin Gothic Std Book" panose="020B0504030503020204"/>
              </a:defRPr>
            </a:lvl1pPr>
          </a:lstStyle>
          <a:p>
            <a:pPr lvl="0"/>
            <a:r>
              <a:rPr lang="en-US"/>
              <a:t>Image, map, graph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949440" y="306374"/>
            <a:ext cx="1851660" cy="4046220"/>
          </a:xfrm>
          <a:prstGeom prst="rect">
            <a:avLst/>
          </a:prstGeom>
        </p:spPr>
        <p:txBody>
          <a:bodyPr>
            <a:normAutofit/>
          </a:bodyPr>
          <a:lstStyle>
            <a:lvl1pPr marL="171450" indent="-171450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tem One</a:t>
            </a:r>
          </a:p>
          <a:p>
            <a:pPr lvl="0"/>
            <a:r>
              <a:rPr lang="en-US" dirty="0"/>
              <a:t>Item Two</a:t>
            </a:r>
          </a:p>
          <a:p>
            <a:pPr lvl="0"/>
            <a:r>
              <a:rPr lang="en-US" dirty="0"/>
              <a:t>Item Three</a:t>
            </a:r>
          </a:p>
          <a:p>
            <a:pPr lvl="0"/>
            <a:endParaRPr lang="en-US" dirty="0"/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309360" y="4767263"/>
            <a:ext cx="185166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75" kern="1200" dirty="0" smtClean="0">
                <a:solidFill>
                  <a:srgbClr val="F1F1EF"/>
                </a:solidFill>
                <a:latin typeface="ITC Franklin Gothic Std Bk Cd" panose="020B05060305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OPER CENTER </a:t>
            </a:r>
            <a:r>
              <a:rPr lang="en-US" sz="1200" dirty="0"/>
              <a:t>|</a:t>
            </a:r>
            <a:r>
              <a:rPr lang="en-US" dirty="0"/>
              <a:t> PUBLIC SERVIC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57033" y="4780026"/>
            <a:ext cx="311351" cy="2429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25">
                <a:solidFill>
                  <a:srgbClr val="F1F1EF"/>
                </a:solidFill>
                <a:latin typeface="ITC Franklin Gothic Std Bk Cd" panose="020B0506030503020204" pitchFamily="34" charset="0"/>
                <a:cs typeface="Arial" panose="020B0604020202020204" pitchFamily="34" charset="0"/>
              </a:defRPr>
            </a:lvl1pPr>
          </a:lstStyle>
          <a:p>
            <a:fld id="{F2085B6F-5DD0-4AA7-A598-31079D007F5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51142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 Agenda (8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8F4D58A-AA20-5048-8BA0-DD35FBF502B9}"/>
              </a:ext>
            </a:extLst>
          </p:cNvPr>
          <p:cNvSpPr/>
          <p:nvPr userDrawn="1"/>
        </p:nvSpPr>
        <p:spPr>
          <a:xfrm>
            <a:off x="0" y="460517"/>
            <a:ext cx="9144000" cy="4644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E73969A-3A18-3447-B258-F387FB6CF9F1}"/>
              </a:ext>
            </a:extLst>
          </p:cNvPr>
          <p:cNvGrpSpPr/>
          <p:nvPr userDrawn="1"/>
        </p:nvGrpSpPr>
        <p:grpSpPr>
          <a:xfrm>
            <a:off x="9399182" y="-1"/>
            <a:ext cx="2877466" cy="6473717"/>
            <a:chOff x="9399182" y="-1"/>
            <a:chExt cx="2877466" cy="8631622"/>
          </a:xfrm>
        </p:grpSpPr>
        <p:sp>
          <p:nvSpPr>
            <p:cNvPr id="189" name="Rectangle 188">
              <a:extLst>
                <a:ext uri="{FF2B5EF4-FFF2-40B4-BE49-F238E27FC236}">
                  <a16:creationId xmlns:a16="http://schemas.microsoft.com/office/drawing/2014/main" id="{92729CBC-BDE5-8E45-A6BE-AE71C1B381A0}"/>
                </a:ext>
              </a:extLst>
            </p:cNvPr>
            <p:cNvSpPr/>
            <p:nvPr userDrawn="1"/>
          </p:nvSpPr>
          <p:spPr>
            <a:xfrm>
              <a:off x="9399182" y="-1"/>
              <a:ext cx="2798651" cy="849630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/>
            </a:p>
          </p:txBody>
        </p:sp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F671A5E8-36A2-FB45-ADCA-9DAD0E120E46}"/>
                </a:ext>
              </a:extLst>
            </p:cNvPr>
            <p:cNvSpPr txBox="1">
              <a:spLocks noChangeAspect="1"/>
            </p:cNvSpPr>
            <p:nvPr userDrawn="1"/>
          </p:nvSpPr>
          <p:spPr>
            <a:xfrm>
              <a:off x="9521833" y="1610350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375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3</a:t>
              </a:r>
            </a:p>
          </p:txBody>
        </p:sp>
        <p:sp>
          <p:nvSpPr>
            <p:cNvPr id="191" name="TextBox 190">
              <a:extLst>
                <a:ext uri="{FF2B5EF4-FFF2-40B4-BE49-F238E27FC236}">
                  <a16:creationId xmlns:a16="http://schemas.microsoft.com/office/drawing/2014/main" id="{E301719B-2C9D-8E44-AE65-E00544489754}"/>
                </a:ext>
              </a:extLst>
            </p:cNvPr>
            <p:cNvSpPr txBox="1">
              <a:spLocks noChangeAspect="1"/>
            </p:cNvSpPr>
            <p:nvPr userDrawn="1"/>
          </p:nvSpPr>
          <p:spPr>
            <a:xfrm>
              <a:off x="9521833" y="538142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375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1</a:t>
              </a:r>
            </a:p>
          </p:txBody>
        </p:sp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CED24EBF-9DBE-B34E-81D8-A373E4BBB1F9}"/>
                </a:ext>
              </a:extLst>
            </p:cNvPr>
            <p:cNvSpPr txBox="1">
              <a:spLocks noChangeAspect="1"/>
            </p:cNvSpPr>
            <p:nvPr userDrawn="1"/>
          </p:nvSpPr>
          <p:spPr>
            <a:xfrm>
              <a:off x="9521833" y="1139035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375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2</a:t>
              </a:r>
            </a:p>
          </p:txBody>
        </p:sp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A46F68BB-A3E6-B246-94E8-AF74AACEF49A}"/>
                </a:ext>
              </a:extLst>
            </p:cNvPr>
            <p:cNvSpPr txBox="1"/>
            <p:nvPr userDrawn="1"/>
          </p:nvSpPr>
          <p:spPr>
            <a:xfrm>
              <a:off x="9686426" y="513115"/>
              <a:ext cx="2425134" cy="33607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>
                <a:spcAft>
                  <a:spcPts val="0"/>
                </a:spcAft>
              </a:pPr>
              <a:r>
                <a:rPr lang="en-US" sz="788"/>
                <a:t>Enter up to 8 agenda items and their page numbers. </a:t>
              </a:r>
            </a:p>
            <a:p>
              <a:pPr lvl="2"/>
              <a:r>
                <a:rPr lang="en-US" sz="600"/>
                <a:t>Switch to the 14-item agenda if you need more. </a:t>
              </a:r>
            </a:p>
          </p:txBody>
        </p:sp>
        <p:sp>
          <p:nvSpPr>
            <p:cNvPr id="194" name="TextBox 193">
              <a:extLst>
                <a:ext uri="{FF2B5EF4-FFF2-40B4-BE49-F238E27FC236}">
                  <a16:creationId xmlns:a16="http://schemas.microsoft.com/office/drawing/2014/main" id="{FBB8C002-902E-6D47-BE1D-BF8509A004AD}"/>
                </a:ext>
              </a:extLst>
            </p:cNvPr>
            <p:cNvSpPr txBox="1"/>
            <p:nvPr userDrawn="1"/>
          </p:nvSpPr>
          <p:spPr>
            <a:xfrm>
              <a:off x="9558507" y="150290"/>
              <a:ext cx="1396216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sz="825">
                  <a:solidFill>
                    <a:schemeClr val="bg1"/>
                  </a:solidFill>
                </a:rPr>
                <a:t>HOW TO USE THE AGENDA</a:t>
              </a:r>
            </a:p>
          </p:txBody>
        </p:sp>
        <p:cxnSp>
          <p:nvCxnSpPr>
            <p:cNvPr id="195" name="Straight Connector 194">
              <a:extLst>
                <a:ext uri="{FF2B5EF4-FFF2-40B4-BE49-F238E27FC236}">
                  <a16:creationId xmlns:a16="http://schemas.microsoft.com/office/drawing/2014/main" id="{FE4B0B2B-3980-FB4D-8093-0BAB12D53E5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352907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6" name="Group 195">
              <a:extLst>
                <a:ext uri="{FF2B5EF4-FFF2-40B4-BE49-F238E27FC236}">
                  <a16:creationId xmlns:a16="http://schemas.microsoft.com/office/drawing/2014/main" id="{D9DE41DC-3B7A-854E-AC16-134271A7396F}"/>
                </a:ext>
              </a:extLst>
            </p:cNvPr>
            <p:cNvGrpSpPr/>
            <p:nvPr userDrawn="1"/>
          </p:nvGrpSpPr>
          <p:grpSpPr>
            <a:xfrm>
              <a:off x="9541497" y="5505499"/>
              <a:ext cx="2735151" cy="919215"/>
              <a:chOff x="9296567" y="4150379"/>
              <a:chExt cx="2735151" cy="919215"/>
            </a:xfrm>
          </p:grpSpPr>
          <p:grpSp>
            <p:nvGrpSpPr>
              <p:cNvPr id="226" name="Group 225">
                <a:extLst>
                  <a:ext uri="{FF2B5EF4-FFF2-40B4-BE49-F238E27FC236}">
                    <a16:creationId xmlns:a16="http://schemas.microsoft.com/office/drawing/2014/main" id="{4A8E7230-F371-9049-8785-A042CADC0F97}"/>
                  </a:ext>
                </a:extLst>
              </p:cNvPr>
              <p:cNvGrpSpPr/>
              <p:nvPr userDrawn="1"/>
            </p:nvGrpSpPr>
            <p:grpSpPr>
              <a:xfrm>
                <a:off x="9296567" y="4150379"/>
                <a:ext cx="2735151" cy="919215"/>
                <a:chOff x="9296567" y="5817858"/>
                <a:chExt cx="2735151" cy="919215"/>
              </a:xfrm>
            </p:grpSpPr>
            <p:sp>
              <p:nvSpPr>
                <p:cNvPr id="228" name="Rectangle 227">
                  <a:extLst>
                    <a:ext uri="{FF2B5EF4-FFF2-40B4-BE49-F238E27FC236}">
                      <a16:creationId xmlns:a16="http://schemas.microsoft.com/office/drawing/2014/main" id="{4E2ECAE9-6825-6344-A33D-8F33A0FBEBA3}"/>
                    </a:ext>
                  </a:extLst>
                </p:cNvPr>
                <p:cNvSpPr/>
                <p:nvPr userDrawn="1"/>
              </p:nvSpPr>
              <p:spPr>
                <a:xfrm>
                  <a:off x="9296567" y="5817858"/>
                  <a:ext cx="2733136" cy="91921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  <p:sp>
              <p:nvSpPr>
                <p:cNvPr id="229" name="TextBox 228">
                  <a:extLst>
                    <a:ext uri="{FF2B5EF4-FFF2-40B4-BE49-F238E27FC236}">
                      <a16:creationId xmlns:a16="http://schemas.microsoft.com/office/drawing/2014/main" id="{A8170A63-20B8-C340-A8F1-D6D360C94661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936094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8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Reset Placeholders</a:t>
                  </a:r>
                </a:p>
              </p:txBody>
            </p:sp>
            <p:pic>
              <p:nvPicPr>
                <p:cNvPr id="230" name="Graphic 229">
                  <a:extLst>
                    <a:ext uri="{FF2B5EF4-FFF2-40B4-BE49-F238E27FC236}">
                      <a16:creationId xmlns:a16="http://schemas.microsoft.com/office/drawing/2014/main" id="{23CD0419-FDFB-0249-BAA8-77ADB9197DF7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946377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231" name="TextBox 230">
                  <a:extLst>
                    <a:ext uri="{FF2B5EF4-FFF2-40B4-BE49-F238E27FC236}">
                      <a16:creationId xmlns:a16="http://schemas.microsoft.com/office/drawing/2014/main" id="{2A9D487E-DB19-7741-BCD6-CC6ADA5A5D0E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169594"/>
                  <a:ext cx="2491595" cy="449696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>
                    <a:spcBef>
                      <a:spcPts val="150"/>
                    </a:spcBef>
                  </a:pPr>
                  <a:r>
                    <a:rPr lang="en-US" sz="675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Press the Reset (            ) button to bring back placeholders you have deleted if you need them. </a:t>
                  </a:r>
                </a:p>
                <a:p>
                  <a:pPr algn="l">
                    <a:spcBef>
                      <a:spcPts val="150"/>
                    </a:spcBef>
                  </a:pPr>
                  <a:r>
                    <a:rPr lang="en-US" sz="675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Note: this will also remove your item highlight.</a:t>
                  </a:r>
                </a:p>
              </p:txBody>
            </p:sp>
          </p:grpSp>
          <p:pic>
            <p:nvPicPr>
              <p:cNvPr id="227" name="Picture 226">
                <a:extLst>
                  <a:ext uri="{FF2B5EF4-FFF2-40B4-BE49-F238E27FC236}">
                    <a16:creationId xmlns:a16="http://schemas.microsoft.com/office/drawing/2014/main" id="{F3FDF710-03B9-F349-9989-8CC152E1DAF4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/>
              <a:srcRect t="-7688" r="11531" b="-1"/>
              <a:stretch/>
            </p:blipFill>
            <p:spPr>
              <a:xfrm>
                <a:off x="10368085" y="4507363"/>
                <a:ext cx="346954" cy="130863"/>
              </a:xfrm>
              <a:prstGeom prst="rect">
                <a:avLst/>
              </a:prstGeom>
            </p:spPr>
          </p:pic>
        </p:grpSp>
        <p:sp>
          <p:nvSpPr>
            <p:cNvPr id="197" name="TextBox 196">
              <a:extLst>
                <a:ext uri="{FF2B5EF4-FFF2-40B4-BE49-F238E27FC236}">
                  <a16:creationId xmlns:a16="http://schemas.microsoft.com/office/drawing/2014/main" id="{4142786A-0A63-4E4F-93C7-691F14EE0537}"/>
                </a:ext>
              </a:extLst>
            </p:cNvPr>
            <p:cNvSpPr txBox="1"/>
            <p:nvPr/>
          </p:nvSpPr>
          <p:spPr>
            <a:xfrm>
              <a:off x="9686426" y="1588874"/>
              <a:ext cx="2284506" cy="32333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>
                <a:defRPr/>
              </a:pPr>
              <a:r>
                <a:rPr lang="en-US" sz="788"/>
                <a:t>Highlight the current item title and page number as follows:</a:t>
              </a:r>
            </a:p>
          </p:txBody>
        </p:sp>
        <p:sp>
          <p:nvSpPr>
            <p:cNvPr id="198" name="TextBox 197">
              <a:extLst>
                <a:ext uri="{FF2B5EF4-FFF2-40B4-BE49-F238E27FC236}">
                  <a16:creationId xmlns:a16="http://schemas.microsoft.com/office/drawing/2014/main" id="{07152F3A-AA58-A84A-9EB7-FBD519281D97}"/>
                </a:ext>
              </a:extLst>
            </p:cNvPr>
            <p:cNvSpPr txBox="1"/>
            <p:nvPr/>
          </p:nvSpPr>
          <p:spPr>
            <a:xfrm>
              <a:off x="9686426" y="1111528"/>
              <a:ext cx="2425134" cy="32333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>
                <a:defRPr/>
              </a:pPr>
              <a:r>
                <a:rPr lang="en-US" sz="788"/>
                <a:t>Select and delete any unused item placeholders to remove the lines.</a:t>
              </a:r>
            </a:p>
          </p:txBody>
        </p:sp>
        <p:sp>
          <p:nvSpPr>
            <p:cNvPr id="199" name="TextBox 198">
              <a:extLst>
                <a:ext uri="{FF2B5EF4-FFF2-40B4-BE49-F238E27FC236}">
                  <a16:creationId xmlns:a16="http://schemas.microsoft.com/office/drawing/2014/main" id="{F9F2552A-118B-6B4D-96D5-DD7E30384C0A}"/>
                </a:ext>
              </a:extLst>
            </p:cNvPr>
            <p:cNvSpPr txBox="1"/>
            <p:nvPr/>
          </p:nvSpPr>
          <p:spPr>
            <a:xfrm>
              <a:off x="9694073" y="2789000"/>
              <a:ext cx="2269212" cy="215444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525"/>
                <a:t>Note: Make sure the entire element is selected—it won’t work correctly if you have your cursor in the text.</a:t>
              </a:r>
            </a:p>
          </p:txBody>
        </p:sp>
        <p:sp>
          <p:nvSpPr>
            <p:cNvPr id="200" name="TextBox 199">
              <a:extLst>
                <a:ext uri="{FF2B5EF4-FFF2-40B4-BE49-F238E27FC236}">
                  <a16:creationId xmlns:a16="http://schemas.microsoft.com/office/drawing/2014/main" id="{32F571D5-4F36-EC49-8A09-B4D4A0958C3F}"/>
                </a:ext>
              </a:extLst>
            </p:cNvPr>
            <p:cNvSpPr txBox="1"/>
            <p:nvPr/>
          </p:nvSpPr>
          <p:spPr>
            <a:xfrm>
              <a:off x="9686426" y="5004333"/>
              <a:ext cx="2126422" cy="373948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1">
                <a:defRPr/>
              </a:pPr>
              <a:r>
                <a:rPr lang="en-US" sz="675"/>
                <a:t>Click anywhere on the page number of current agenda item (on the text works here) to apply the highlight style.</a:t>
              </a:r>
            </a:p>
          </p:txBody>
        </p:sp>
        <p:sp>
          <p:nvSpPr>
            <p:cNvPr id="201" name="Rectangle 200">
              <a:extLst>
                <a:ext uri="{FF2B5EF4-FFF2-40B4-BE49-F238E27FC236}">
                  <a16:creationId xmlns:a16="http://schemas.microsoft.com/office/drawing/2014/main" id="{6DD556FA-E7AC-9148-B57F-E293EE977EBE}"/>
                </a:ext>
              </a:extLst>
            </p:cNvPr>
            <p:cNvSpPr/>
            <p:nvPr/>
          </p:nvSpPr>
          <p:spPr>
            <a:xfrm>
              <a:off x="9686427" y="2347974"/>
              <a:ext cx="2453290" cy="406238"/>
            </a:xfrm>
            <a:prstGeom prst="rect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050"/>
            </a:p>
          </p:txBody>
        </p:sp>
        <p:grpSp>
          <p:nvGrpSpPr>
            <p:cNvPr id="202" name="Group 201">
              <a:extLst>
                <a:ext uri="{FF2B5EF4-FFF2-40B4-BE49-F238E27FC236}">
                  <a16:creationId xmlns:a16="http://schemas.microsoft.com/office/drawing/2014/main" id="{ADEE7DA1-1F48-384F-89D9-9DA13F350772}"/>
                </a:ext>
              </a:extLst>
            </p:cNvPr>
            <p:cNvGrpSpPr/>
            <p:nvPr/>
          </p:nvGrpSpPr>
          <p:grpSpPr>
            <a:xfrm>
              <a:off x="9686426" y="3062499"/>
              <a:ext cx="2284506" cy="249298"/>
              <a:chOff x="9431244" y="2862535"/>
              <a:chExt cx="2284506" cy="249298"/>
            </a:xfrm>
          </p:grpSpPr>
          <p:pic>
            <p:nvPicPr>
              <p:cNvPr id="224" name="Picture 223">
                <a:extLst>
                  <a:ext uri="{FF2B5EF4-FFF2-40B4-BE49-F238E27FC236}">
                    <a16:creationId xmlns:a16="http://schemas.microsoft.com/office/drawing/2014/main" id="{3ACC768F-04E3-A840-822B-D1EFB3C9876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1216812" y="2866153"/>
                <a:ext cx="340854" cy="113618"/>
              </a:xfrm>
              <a:prstGeom prst="rect">
                <a:avLst/>
              </a:prstGeom>
            </p:spPr>
          </p:pic>
          <p:sp>
            <p:nvSpPr>
              <p:cNvPr id="225" name="TextBox 224">
                <a:extLst>
                  <a:ext uri="{FF2B5EF4-FFF2-40B4-BE49-F238E27FC236}">
                    <a16:creationId xmlns:a16="http://schemas.microsoft.com/office/drawing/2014/main" id="{BE88291A-40C1-C145-821D-3DC04F178BCB}"/>
                  </a:ext>
                </a:extLst>
              </p:cNvPr>
              <p:cNvSpPr txBox="1"/>
              <p:nvPr/>
            </p:nvSpPr>
            <p:spPr>
              <a:xfrm>
                <a:off x="9431244" y="2862535"/>
                <a:ext cx="2284506" cy="249298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675"/>
                  <a:t>Click the Format Painter button (           ) to copy the style.</a:t>
                </a:r>
              </a:p>
            </p:txBody>
          </p:sp>
        </p:grpSp>
        <p:sp>
          <p:nvSpPr>
            <p:cNvPr id="203" name="TextBox 202">
              <a:extLst>
                <a:ext uri="{FF2B5EF4-FFF2-40B4-BE49-F238E27FC236}">
                  <a16:creationId xmlns:a16="http://schemas.microsoft.com/office/drawing/2014/main" id="{95654A3A-C98F-2A41-8935-4791ADD47024}"/>
                </a:ext>
              </a:extLst>
            </p:cNvPr>
            <p:cNvSpPr txBox="1"/>
            <p:nvPr/>
          </p:nvSpPr>
          <p:spPr>
            <a:xfrm>
              <a:off x="9686426" y="3363632"/>
              <a:ext cx="2384904" cy="2492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1">
                <a:defRPr/>
              </a:pPr>
              <a:r>
                <a:rPr lang="en-US" sz="675"/>
                <a:t>Click anywhere on the current agenda item (on the text works here) to apply the highlight style.</a:t>
              </a:r>
            </a:p>
          </p:txBody>
        </p:sp>
        <p:sp>
          <p:nvSpPr>
            <p:cNvPr id="204" name="Rectangle 203">
              <a:extLst>
                <a:ext uri="{FF2B5EF4-FFF2-40B4-BE49-F238E27FC236}">
                  <a16:creationId xmlns:a16="http://schemas.microsoft.com/office/drawing/2014/main" id="{FCEB0B63-DB36-F046-8D85-FA630484DC86}"/>
                </a:ext>
              </a:extLst>
            </p:cNvPr>
            <p:cNvSpPr/>
            <p:nvPr/>
          </p:nvSpPr>
          <p:spPr>
            <a:xfrm>
              <a:off x="9686427" y="4200314"/>
              <a:ext cx="2453290" cy="406238"/>
            </a:xfrm>
            <a:prstGeom prst="rect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050"/>
            </a:p>
          </p:txBody>
        </p:sp>
        <p:sp>
          <p:nvSpPr>
            <p:cNvPr id="205" name="TextBox 204">
              <a:extLst>
                <a:ext uri="{FF2B5EF4-FFF2-40B4-BE49-F238E27FC236}">
                  <a16:creationId xmlns:a16="http://schemas.microsoft.com/office/drawing/2014/main" id="{4B3865E1-B4C1-B040-A27A-1016E8FD7E68}"/>
                </a:ext>
              </a:extLst>
            </p:cNvPr>
            <p:cNvSpPr txBox="1"/>
            <p:nvPr/>
          </p:nvSpPr>
          <p:spPr>
            <a:xfrm>
              <a:off x="9686426" y="4026515"/>
              <a:ext cx="2384904" cy="12464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1">
                <a:defRPr/>
              </a:pPr>
              <a:r>
                <a:rPr lang="en-US" sz="675"/>
                <a:t>Select the ‘page # style’ element below:</a:t>
              </a:r>
            </a:p>
          </p:txBody>
        </p:sp>
        <p:sp>
          <p:nvSpPr>
            <p:cNvPr id="206" name="TextBox 205">
              <a:extLst>
                <a:ext uri="{FF2B5EF4-FFF2-40B4-BE49-F238E27FC236}">
                  <a16:creationId xmlns:a16="http://schemas.microsoft.com/office/drawing/2014/main" id="{8B769E22-9CB3-1842-AE3D-A38FA4B458F9}"/>
                </a:ext>
              </a:extLst>
            </p:cNvPr>
            <p:cNvSpPr txBox="1"/>
            <p:nvPr/>
          </p:nvSpPr>
          <p:spPr>
            <a:xfrm>
              <a:off x="9686426" y="2184031"/>
              <a:ext cx="2384904" cy="12464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1">
                <a:defRPr/>
              </a:pPr>
              <a:r>
                <a:rPr lang="en-US" sz="675"/>
                <a:t>Select the ‘title style’ element below:</a:t>
              </a:r>
            </a:p>
          </p:txBody>
        </p:sp>
        <p:sp>
          <p:nvSpPr>
            <p:cNvPr id="207" name="TextBox 206">
              <a:extLst>
                <a:ext uri="{FF2B5EF4-FFF2-40B4-BE49-F238E27FC236}">
                  <a16:creationId xmlns:a16="http://schemas.microsoft.com/office/drawing/2014/main" id="{DEF58FFE-C8BB-A644-814F-B8E499AA1354}"/>
                </a:ext>
              </a:extLst>
            </p:cNvPr>
            <p:cNvSpPr txBox="1"/>
            <p:nvPr/>
          </p:nvSpPr>
          <p:spPr>
            <a:xfrm>
              <a:off x="9686426" y="1990139"/>
              <a:ext cx="589905" cy="107721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l"/>
              <a:r>
                <a:rPr lang="en-US" sz="525">
                  <a:solidFill>
                    <a:schemeClr val="bg1">
                      <a:lumMod val="85000"/>
                    </a:schemeClr>
                  </a:solidFill>
                </a:rPr>
                <a:t>HIGHLIGHT TITLE:</a:t>
              </a:r>
            </a:p>
          </p:txBody>
        </p:sp>
        <p:cxnSp>
          <p:nvCxnSpPr>
            <p:cNvPr id="208" name="Straight Connector 207">
              <a:extLst>
                <a:ext uri="{FF2B5EF4-FFF2-40B4-BE49-F238E27FC236}">
                  <a16:creationId xmlns:a16="http://schemas.microsoft.com/office/drawing/2014/main" id="{E0FD961B-9C6C-C84B-82CA-1AE94D4B142C}"/>
                </a:ext>
              </a:extLst>
            </p:cNvPr>
            <p:cNvCxnSpPr>
              <a:cxnSpLocks/>
            </p:cNvCxnSpPr>
            <p:nvPr/>
          </p:nvCxnSpPr>
          <p:spPr>
            <a:xfrm>
              <a:off x="9679848" y="2113772"/>
              <a:ext cx="2511409" cy="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9" name="TextBox 208">
              <a:extLst>
                <a:ext uri="{FF2B5EF4-FFF2-40B4-BE49-F238E27FC236}">
                  <a16:creationId xmlns:a16="http://schemas.microsoft.com/office/drawing/2014/main" id="{DFB31B83-EC2B-A841-BEB3-3BA0404E5872}"/>
                </a:ext>
              </a:extLst>
            </p:cNvPr>
            <p:cNvSpPr txBox="1"/>
            <p:nvPr/>
          </p:nvSpPr>
          <p:spPr>
            <a:xfrm>
              <a:off x="9686426" y="3831464"/>
              <a:ext cx="649217" cy="107721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l"/>
              <a:r>
                <a:rPr lang="en-US" sz="525">
                  <a:solidFill>
                    <a:schemeClr val="bg1">
                      <a:lumMod val="85000"/>
                    </a:schemeClr>
                  </a:solidFill>
                </a:rPr>
                <a:t>HIGHLIGHT PAGE #:</a:t>
              </a:r>
            </a:p>
          </p:txBody>
        </p:sp>
        <p:cxnSp>
          <p:nvCxnSpPr>
            <p:cNvPr id="210" name="Straight Connector 209">
              <a:extLst>
                <a:ext uri="{FF2B5EF4-FFF2-40B4-BE49-F238E27FC236}">
                  <a16:creationId xmlns:a16="http://schemas.microsoft.com/office/drawing/2014/main" id="{1CE7C6FE-AAF6-C844-87BE-AF0B8D40B211}"/>
                </a:ext>
              </a:extLst>
            </p:cNvPr>
            <p:cNvCxnSpPr>
              <a:cxnSpLocks/>
            </p:cNvCxnSpPr>
            <p:nvPr/>
          </p:nvCxnSpPr>
          <p:spPr>
            <a:xfrm>
              <a:off x="9679848" y="3955097"/>
              <a:ext cx="2511409" cy="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11" name="Group 210">
              <a:extLst>
                <a:ext uri="{FF2B5EF4-FFF2-40B4-BE49-F238E27FC236}">
                  <a16:creationId xmlns:a16="http://schemas.microsoft.com/office/drawing/2014/main" id="{6DC53FCD-82B6-7048-9F20-C8BA810B45DB}"/>
                </a:ext>
              </a:extLst>
            </p:cNvPr>
            <p:cNvGrpSpPr/>
            <p:nvPr/>
          </p:nvGrpSpPr>
          <p:grpSpPr>
            <a:xfrm>
              <a:off x="9686426" y="4692069"/>
              <a:ext cx="2284506" cy="249298"/>
              <a:chOff x="9431244" y="2862535"/>
              <a:chExt cx="2284506" cy="249298"/>
            </a:xfrm>
          </p:grpSpPr>
          <p:pic>
            <p:nvPicPr>
              <p:cNvPr id="222" name="Picture 221">
                <a:extLst>
                  <a:ext uri="{FF2B5EF4-FFF2-40B4-BE49-F238E27FC236}">
                    <a16:creationId xmlns:a16="http://schemas.microsoft.com/office/drawing/2014/main" id="{DBD2640C-E387-4844-A244-F11A31D0126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1216812" y="2866153"/>
                <a:ext cx="340854" cy="113618"/>
              </a:xfrm>
              <a:prstGeom prst="rect">
                <a:avLst/>
              </a:prstGeom>
            </p:spPr>
          </p:pic>
          <p:sp>
            <p:nvSpPr>
              <p:cNvPr id="223" name="TextBox 222">
                <a:extLst>
                  <a:ext uri="{FF2B5EF4-FFF2-40B4-BE49-F238E27FC236}">
                    <a16:creationId xmlns:a16="http://schemas.microsoft.com/office/drawing/2014/main" id="{1183DA2F-9D9A-8D45-9DFA-CF2F6744B28A}"/>
                  </a:ext>
                </a:extLst>
              </p:cNvPr>
              <p:cNvSpPr txBox="1"/>
              <p:nvPr/>
            </p:nvSpPr>
            <p:spPr>
              <a:xfrm>
                <a:off x="9431244" y="2862535"/>
                <a:ext cx="2284506" cy="249298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675"/>
                  <a:t>Click the Format Painter button (           ) to copy the style.</a:t>
                </a:r>
              </a:p>
            </p:txBody>
          </p:sp>
        </p:grpSp>
        <p:grpSp>
          <p:nvGrpSpPr>
            <p:cNvPr id="232" name="Group 231">
              <a:extLst>
                <a:ext uri="{FF2B5EF4-FFF2-40B4-BE49-F238E27FC236}">
                  <a16:creationId xmlns:a16="http://schemas.microsoft.com/office/drawing/2014/main" id="{30958E0C-707E-074A-9E85-1719DD93FE83}"/>
                </a:ext>
              </a:extLst>
            </p:cNvPr>
            <p:cNvGrpSpPr/>
            <p:nvPr userDrawn="1"/>
          </p:nvGrpSpPr>
          <p:grpSpPr>
            <a:xfrm>
              <a:off x="9541497" y="6488937"/>
              <a:ext cx="2735151" cy="2142684"/>
              <a:chOff x="9541497" y="1525267"/>
              <a:chExt cx="2735151" cy="2142684"/>
            </a:xfrm>
          </p:grpSpPr>
          <p:grpSp>
            <p:nvGrpSpPr>
              <p:cNvPr id="233" name="Group 232">
                <a:extLst>
                  <a:ext uri="{FF2B5EF4-FFF2-40B4-BE49-F238E27FC236}">
                    <a16:creationId xmlns:a16="http://schemas.microsoft.com/office/drawing/2014/main" id="{3F659622-D770-FB48-9CA2-36AF35529F6D}"/>
                  </a:ext>
                </a:extLst>
              </p:cNvPr>
              <p:cNvGrpSpPr/>
              <p:nvPr userDrawn="1"/>
            </p:nvGrpSpPr>
            <p:grpSpPr>
              <a:xfrm>
                <a:off x="9541497" y="1525267"/>
                <a:ext cx="2735151" cy="2142684"/>
                <a:chOff x="9296567" y="5817858"/>
                <a:chExt cx="2735151" cy="2142684"/>
              </a:xfrm>
            </p:grpSpPr>
            <p:sp>
              <p:nvSpPr>
                <p:cNvPr id="235" name="Rectangle 234">
                  <a:extLst>
                    <a:ext uri="{FF2B5EF4-FFF2-40B4-BE49-F238E27FC236}">
                      <a16:creationId xmlns:a16="http://schemas.microsoft.com/office/drawing/2014/main" id="{52D66407-36D6-4244-914D-013403C7AC4E}"/>
                    </a:ext>
                  </a:extLst>
                </p:cNvPr>
                <p:cNvSpPr/>
                <p:nvPr userDrawn="1"/>
              </p:nvSpPr>
              <p:spPr>
                <a:xfrm>
                  <a:off x="9296567" y="5817858"/>
                  <a:ext cx="2733136" cy="2142684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  <p:sp>
              <p:nvSpPr>
                <p:cNvPr id="236" name="TextBox 235">
                  <a:extLst>
                    <a:ext uri="{FF2B5EF4-FFF2-40B4-BE49-F238E27FC236}">
                      <a16:creationId xmlns:a16="http://schemas.microsoft.com/office/drawing/2014/main" id="{ABB6D0F0-0B4F-694F-B630-8A3236A551BC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936094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8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Drag-select</a:t>
                  </a:r>
                </a:p>
              </p:txBody>
            </p:sp>
            <p:pic>
              <p:nvPicPr>
                <p:cNvPr id="237" name="Graphic 236">
                  <a:extLst>
                    <a:ext uri="{FF2B5EF4-FFF2-40B4-BE49-F238E27FC236}">
                      <a16:creationId xmlns:a16="http://schemas.microsoft.com/office/drawing/2014/main" id="{186673D5-8245-0F44-9FE3-7768FD6A4C5A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946377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238" name="TextBox 237">
                  <a:extLst>
                    <a:ext uri="{FF2B5EF4-FFF2-40B4-BE49-F238E27FC236}">
                      <a16:creationId xmlns:a16="http://schemas.microsoft.com/office/drawing/2014/main" id="{A7383FE6-0069-8142-87B1-325CA7B82F11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169594"/>
                  <a:ext cx="2444785" cy="138500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>
                    <a:spcBef>
                      <a:spcPts val="150"/>
                    </a:spcBef>
                  </a:pPr>
                  <a:r>
                    <a:rPr lang="en-US" sz="675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Easily select multiple placeholders for deletion:</a:t>
                  </a:r>
                </a:p>
              </p:txBody>
            </p:sp>
            <p:sp>
              <p:nvSpPr>
                <p:cNvPr id="239" name="TextBox 238">
                  <a:extLst>
                    <a:ext uri="{FF2B5EF4-FFF2-40B4-BE49-F238E27FC236}">
                      <a16:creationId xmlns:a16="http://schemas.microsoft.com/office/drawing/2014/main" id="{9210F285-B4A2-FC43-BC5B-7EF7D83CDAFB}"/>
                    </a:ext>
                  </a:extLst>
                </p:cNvPr>
                <p:cNvSpPr txBox="1"/>
                <p:nvPr userDrawn="1"/>
              </p:nvSpPr>
              <p:spPr>
                <a:xfrm>
                  <a:off x="9471806" y="6398194"/>
                  <a:ext cx="1174622" cy="37394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01204" lvl="1" indent="-98822" algn="l" defTabSz="6858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225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675" b="1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Click</a:t>
                  </a: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 above and to the left of the first placeholder you’d like to delete.</a:t>
                  </a:r>
                </a:p>
              </p:txBody>
            </p:sp>
            <p:sp>
              <p:nvSpPr>
                <p:cNvPr id="240" name="TextBox 239">
                  <a:extLst>
                    <a:ext uri="{FF2B5EF4-FFF2-40B4-BE49-F238E27FC236}">
                      <a16:creationId xmlns:a16="http://schemas.microsoft.com/office/drawing/2014/main" id="{EC646126-52E4-C347-AC65-C032199DDAD5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7426397"/>
                  <a:ext cx="2444785" cy="2492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01204" lvl="1" indent="-98822" algn="l" defTabSz="6858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225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All the placeholders inside the drag area will now be selected. Press Delete on the keyboard to remove them.</a:t>
                  </a:r>
                </a:p>
              </p:txBody>
            </p:sp>
            <p:sp>
              <p:nvSpPr>
                <p:cNvPr id="241" name="TextBox 240">
                  <a:extLst>
                    <a:ext uri="{FF2B5EF4-FFF2-40B4-BE49-F238E27FC236}">
                      <a16:creationId xmlns:a16="http://schemas.microsoft.com/office/drawing/2014/main" id="{83C0DA68-7210-F344-B933-262216762A61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974619"/>
                  <a:ext cx="2414403" cy="37394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01204" lvl="1" indent="-98822" algn="l" defTabSz="6858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225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Then (still holding down the first click) </a:t>
                  </a:r>
                  <a:b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</a:br>
                  <a:r>
                    <a:rPr lang="en-US" sz="675" b="1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drag</a:t>
                  </a: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 the cursor to below and to the right of the last placeholder and </a:t>
                  </a:r>
                  <a:r>
                    <a:rPr lang="en-US" sz="675" b="1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release</a:t>
                  </a: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 the click.</a:t>
                  </a:r>
                </a:p>
              </p:txBody>
            </p:sp>
          </p:grpSp>
          <p:pic>
            <p:nvPicPr>
              <p:cNvPr id="234" name="Picture 233">
                <a:extLst>
                  <a:ext uri="{FF2B5EF4-FFF2-40B4-BE49-F238E27FC236}">
                    <a16:creationId xmlns:a16="http://schemas.microsoft.com/office/drawing/2014/main" id="{90C81D1C-FBC0-2D47-9C08-925873AF6C79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6"/>
              <a:srcRect t="33282" b="9876"/>
              <a:stretch/>
            </p:blipFill>
            <p:spPr>
              <a:xfrm>
                <a:off x="10901855" y="2099340"/>
                <a:ext cx="1237314" cy="517325"/>
              </a:xfrm>
              <a:prstGeom prst="rect">
                <a:avLst/>
              </a:prstGeom>
            </p:spPr>
          </p:pic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196CE33-C89A-DF4A-A514-4B0F089622A5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agenda title. All caps. Two lines max.</a:t>
            </a:r>
          </a:p>
        </p:txBody>
      </p:sp>
      <p:sp>
        <p:nvSpPr>
          <p:cNvPr id="64" name="Text Placeholder 5">
            <a:extLst>
              <a:ext uri="{FF2B5EF4-FFF2-40B4-BE49-F238E27FC236}">
                <a16:creationId xmlns:a16="http://schemas.microsoft.com/office/drawing/2014/main" id="{680AE5C6-20A0-3842-8FA0-B38AA603F8A3}"/>
              </a:ext>
            </a:extLst>
          </p:cNvPr>
          <p:cNvSpPr>
            <a:spLocks noGrp="1"/>
          </p:cNvSpPr>
          <p:nvPr userDrawn="1">
            <p:ph type="body" sz="quarter" idx="121" hasCustomPrompt="1"/>
          </p:nvPr>
        </p:nvSpPr>
        <p:spPr>
          <a:xfrm>
            <a:off x="9701721" y="1767230"/>
            <a:ext cx="2429418" cy="282566"/>
          </a:xfrm>
          <a:solidFill>
            <a:schemeClr val="accent1"/>
          </a:solidFill>
          <a:ln w="31750">
            <a:solidFill>
              <a:schemeClr val="accent1"/>
            </a:solidFill>
          </a:ln>
          <a:effectLst/>
        </p:spPr>
        <p:txBody>
          <a:bodyPr lIns="432000" tIns="0" rIns="36000" anchor="ctr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lect for Title style</a:t>
            </a:r>
          </a:p>
        </p:txBody>
      </p:sp>
      <p:sp>
        <p:nvSpPr>
          <p:cNvPr id="65" name="Text Placeholder 5">
            <a:extLst>
              <a:ext uri="{FF2B5EF4-FFF2-40B4-BE49-F238E27FC236}">
                <a16:creationId xmlns:a16="http://schemas.microsoft.com/office/drawing/2014/main" id="{AC21CD0C-F907-D84E-8617-2858BDF43E81}"/>
              </a:ext>
            </a:extLst>
          </p:cNvPr>
          <p:cNvSpPr>
            <a:spLocks noGrp="1"/>
          </p:cNvSpPr>
          <p:nvPr userDrawn="1">
            <p:ph type="body" sz="quarter" idx="122" hasCustomPrompt="1"/>
          </p:nvPr>
        </p:nvSpPr>
        <p:spPr>
          <a:xfrm>
            <a:off x="9701721" y="3156246"/>
            <a:ext cx="2429418" cy="282566"/>
          </a:xfrm>
          <a:noFill/>
          <a:ln w="31750">
            <a:noFill/>
          </a:ln>
          <a:effectLst/>
        </p:spPr>
        <p:txBody>
          <a:bodyPr lIns="0" tIns="0" rIns="0" anchor="ctr"/>
          <a:lstStyle>
            <a:lvl1pPr marL="0" indent="0" algn="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lect for Page # style</a:t>
            </a:r>
          </a:p>
        </p:txBody>
      </p:sp>
      <p:sp>
        <p:nvSpPr>
          <p:cNvPr id="243" name="Text Placeholder 6">
            <a:extLst>
              <a:ext uri="{FF2B5EF4-FFF2-40B4-BE49-F238E27FC236}">
                <a16:creationId xmlns:a16="http://schemas.microsoft.com/office/drawing/2014/main" id="{91B769FF-FB3C-6747-8FCE-E8C24D69C27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0" y="923045"/>
            <a:ext cx="9144000" cy="464400"/>
          </a:xfr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ffectLst/>
        </p:spPr>
        <p:txBody>
          <a:bodyPr lIns="432000" rIns="36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add agenda item</a:t>
            </a:r>
          </a:p>
        </p:txBody>
      </p:sp>
      <p:sp>
        <p:nvSpPr>
          <p:cNvPr id="244" name="Text Placeholder 6">
            <a:extLst>
              <a:ext uri="{FF2B5EF4-FFF2-40B4-BE49-F238E27FC236}">
                <a16:creationId xmlns:a16="http://schemas.microsoft.com/office/drawing/2014/main" id="{46A7DBB8-1DF6-554B-B31D-BC9C0B4F2A57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0" y="1385465"/>
            <a:ext cx="9144000" cy="464400"/>
          </a:xfr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ffectLst/>
        </p:spPr>
        <p:txBody>
          <a:bodyPr lIns="432000" rIns="36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add agenda item</a:t>
            </a:r>
          </a:p>
        </p:txBody>
      </p:sp>
      <p:sp>
        <p:nvSpPr>
          <p:cNvPr id="245" name="Text Placeholder 6">
            <a:extLst>
              <a:ext uri="{FF2B5EF4-FFF2-40B4-BE49-F238E27FC236}">
                <a16:creationId xmlns:a16="http://schemas.microsoft.com/office/drawing/2014/main" id="{D155474C-5389-7248-85C8-A7CDCFC37463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0" y="1847886"/>
            <a:ext cx="9144000" cy="464400"/>
          </a:xfr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ffectLst/>
        </p:spPr>
        <p:txBody>
          <a:bodyPr lIns="432000" rIns="36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add agenda item</a:t>
            </a:r>
          </a:p>
        </p:txBody>
      </p:sp>
      <p:sp>
        <p:nvSpPr>
          <p:cNvPr id="246" name="Text Placeholder 6">
            <a:extLst>
              <a:ext uri="{FF2B5EF4-FFF2-40B4-BE49-F238E27FC236}">
                <a16:creationId xmlns:a16="http://schemas.microsoft.com/office/drawing/2014/main" id="{64EC3DD3-A992-F048-A61E-0275830FA95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0" y="2310307"/>
            <a:ext cx="9144000" cy="464400"/>
          </a:xfr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ffectLst/>
        </p:spPr>
        <p:txBody>
          <a:bodyPr lIns="432000" rIns="36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add agenda item</a:t>
            </a:r>
          </a:p>
        </p:txBody>
      </p:sp>
      <p:sp>
        <p:nvSpPr>
          <p:cNvPr id="247" name="Text Placeholder 6">
            <a:extLst>
              <a:ext uri="{FF2B5EF4-FFF2-40B4-BE49-F238E27FC236}">
                <a16:creationId xmlns:a16="http://schemas.microsoft.com/office/drawing/2014/main" id="{BAA3DB2E-205A-534B-9C44-EFEE5BDB0FBD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0" y="2772728"/>
            <a:ext cx="9144000" cy="464400"/>
          </a:xfr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ffectLst/>
        </p:spPr>
        <p:txBody>
          <a:bodyPr lIns="432000" rIns="36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add agenda item</a:t>
            </a:r>
          </a:p>
        </p:txBody>
      </p:sp>
      <p:sp>
        <p:nvSpPr>
          <p:cNvPr id="248" name="Text Placeholder 6">
            <a:extLst>
              <a:ext uri="{FF2B5EF4-FFF2-40B4-BE49-F238E27FC236}">
                <a16:creationId xmlns:a16="http://schemas.microsoft.com/office/drawing/2014/main" id="{80869C67-837B-BE42-A9BE-AD3BBDACEB6B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0" y="3235148"/>
            <a:ext cx="9144000" cy="464400"/>
          </a:xfr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ffectLst/>
        </p:spPr>
        <p:txBody>
          <a:bodyPr lIns="432000" rIns="36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add agenda item</a:t>
            </a:r>
          </a:p>
        </p:txBody>
      </p:sp>
      <p:sp>
        <p:nvSpPr>
          <p:cNvPr id="249" name="Text Placeholder 6">
            <a:extLst>
              <a:ext uri="{FF2B5EF4-FFF2-40B4-BE49-F238E27FC236}">
                <a16:creationId xmlns:a16="http://schemas.microsoft.com/office/drawing/2014/main" id="{6F036C69-95C0-FA4B-BBFA-E942D38EAA0D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0" y="3697569"/>
            <a:ext cx="9144000" cy="464400"/>
          </a:xfr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ffectLst/>
        </p:spPr>
        <p:txBody>
          <a:bodyPr lIns="432000" rIns="36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add agenda item</a:t>
            </a:r>
          </a:p>
        </p:txBody>
      </p:sp>
      <p:sp>
        <p:nvSpPr>
          <p:cNvPr id="250" name="Text Placeholder 6">
            <a:extLst>
              <a:ext uri="{FF2B5EF4-FFF2-40B4-BE49-F238E27FC236}">
                <a16:creationId xmlns:a16="http://schemas.microsoft.com/office/drawing/2014/main" id="{82CFDAFE-B1BF-ED4F-8D1B-908011FE689B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0" y="4159988"/>
            <a:ext cx="9144000" cy="464400"/>
          </a:xfr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ffectLst/>
        </p:spPr>
        <p:txBody>
          <a:bodyPr lIns="432000" rIns="36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add agenda item</a:t>
            </a:r>
          </a:p>
        </p:txBody>
      </p:sp>
      <p:sp>
        <p:nvSpPr>
          <p:cNvPr id="251" name="Text Placeholder 69">
            <a:extLst>
              <a:ext uri="{FF2B5EF4-FFF2-40B4-BE49-F238E27FC236}">
                <a16:creationId xmlns:a16="http://schemas.microsoft.com/office/drawing/2014/main" id="{58C31DAC-7646-7542-AA6F-2194522CE6A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786170" y="923045"/>
            <a:ext cx="929358" cy="464400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52" name="Text Placeholder 69">
            <a:extLst>
              <a:ext uri="{FF2B5EF4-FFF2-40B4-BE49-F238E27FC236}">
                <a16:creationId xmlns:a16="http://schemas.microsoft.com/office/drawing/2014/main" id="{F3D6B7F5-A321-C447-9339-ADB40C7B4AA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786170" y="1385465"/>
            <a:ext cx="929358" cy="464400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53" name="Text Placeholder 69">
            <a:extLst>
              <a:ext uri="{FF2B5EF4-FFF2-40B4-BE49-F238E27FC236}">
                <a16:creationId xmlns:a16="http://schemas.microsoft.com/office/drawing/2014/main" id="{F918A5A2-CBA8-9746-8288-84619ED33FF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86170" y="1847886"/>
            <a:ext cx="929358" cy="464400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54" name="Text Placeholder 69">
            <a:extLst>
              <a:ext uri="{FF2B5EF4-FFF2-40B4-BE49-F238E27FC236}">
                <a16:creationId xmlns:a16="http://schemas.microsoft.com/office/drawing/2014/main" id="{2110131B-6471-BA4F-83A7-D159CE9B4CF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786170" y="2310307"/>
            <a:ext cx="929358" cy="464400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55" name="Text Placeholder 69">
            <a:extLst>
              <a:ext uri="{FF2B5EF4-FFF2-40B4-BE49-F238E27FC236}">
                <a16:creationId xmlns:a16="http://schemas.microsoft.com/office/drawing/2014/main" id="{5CE8F1D4-AABD-CF42-B74C-BA69A1DC782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86170" y="2772728"/>
            <a:ext cx="929358" cy="464400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56" name="Text Placeholder 69">
            <a:extLst>
              <a:ext uri="{FF2B5EF4-FFF2-40B4-BE49-F238E27FC236}">
                <a16:creationId xmlns:a16="http://schemas.microsoft.com/office/drawing/2014/main" id="{D2FA80C7-C380-C54C-AF1E-86248734CA6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786170" y="3235148"/>
            <a:ext cx="929358" cy="464400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57" name="Text Placeholder 69">
            <a:extLst>
              <a:ext uri="{FF2B5EF4-FFF2-40B4-BE49-F238E27FC236}">
                <a16:creationId xmlns:a16="http://schemas.microsoft.com/office/drawing/2014/main" id="{10925F75-A1A8-3744-991C-D7C51B06B02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786170" y="3697569"/>
            <a:ext cx="929358" cy="464400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58" name="Text Placeholder 69">
            <a:extLst>
              <a:ext uri="{FF2B5EF4-FFF2-40B4-BE49-F238E27FC236}">
                <a16:creationId xmlns:a16="http://schemas.microsoft.com/office/drawing/2014/main" id="{748091C7-C5FA-B14E-912F-6F96120CF9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786170" y="4159988"/>
            <a:ext cx="929358" cy="464400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C2848D6D-D4D4-484F-84EB-E19276855D2D}"/>
              </a:ext>
            </a:extLst>
          </p:cNvPr>
          <p:cNvSpPr>
            <a:spLocks noGrp="1"/>
          </p:cNvSpPr>
          <p:nvPr>
            <p:ph type="dt" sz="half" idx="1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1CFB29B8-ED2F-0C4F-B216-72AB74C1E9F3}"/>
              </a:ext>
            </a:extLst>
          </p:cNvPr>
          <p:cNvSpPr>
            <a:spLocks noGrp="1"/>
          </p:cNvSpPr>
          <p:nvPr>
            <p:ph type="ftr" sz="quarter" idx="12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BCF4CEC3-D8BB-F04A-A1D0-780B8D944778}"/>
              </a:ext>
            </a:extLst>
          </p:cNvPr>
          <p:cNvSpPr>
            <a:spLocks noGrp="1"/>
          </p:cNvSpPr>
          <p:nvPr>
            <p:ph type="sldNum" sz="quarter" idx="125"/>
          </p:nvPr>
        </p:nvSpPr>
        <p:spPr/>
        <p:txBody>
          <a:bodyPr/>
          <a:lstStyle/>
          <a:p>
            <a:pPr marL="9525"/>
            <a:fld id="{078C017C-E1B9-8443-B047-B08AAA027B45}" type="slidenum">
              <a:rPr lang="en-US" smtClean="0"/>
              <a:pPr marL="9525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297399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Col_C1Title-1line_Img_ChartTitle_Sid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4225600"/>
            <a:ext cx="6620256" cy="4286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8640" y="411480"/>
            <a:ext cx="5760720" cy="41148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6606540" y="-1690"/>
            <a:ext cx="2537460" cy="4663440"/>
          </a:xfrm>
          <a:prstGeom prst="rect">
            <a:avLst/>
          </a:prstGeom>
          <a:solidFill>
            <a:srgbClr val="232D4B"/>
          </a:solidFill>
          <a:ln>
            <a:noFill/>
          </a:ln>
          <a:effectLst>
            <a:outerShdw blurRad="88900" dist="12700" dir="10800000" algn="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cap="all" baseline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548640" y="1234440"/>
            <a:ext cx="5760720" cy="29489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>
                <a:solidFill>
                  <a:srgbClr val="232D4B"/>
                </a:solidFill>
                <a:latin typeface="ITC Franklin Gothic Std Book" panose="020B0504030503020204"/>
              </a:defRPr>
            </a:lvl1pPr>
          </a:lstStyle>
          <a:p>
            <a:pPr lvl="0"/>
            <a:r>
              <a:rPr lang="en-US"/>
              <a:t>Image, map, graph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949440" y="306920"/>
            <a:ext cx="1851660" cy="4046220"/>
          </a:xfrm>
          <a:prstGeom prst="rect">
            <a:avLst/>
          </a:prstGeom>
        </p:spPr>
        <p:txBody>
          <a:bodyPr>
            <a:normAutofit/>
          </a:bodyPr>
          <a:lstStyle>
            <a:lvl1pPr marL="171450" indent="-171450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tem One</a:t>
            </a:r>
          </a:p>
          <a:p>
            <a:pPr lvl="0"/>
            <a:r>
              <a:rPr lang="en-US" dirty="0"/>
              <a:t>Item Two</a:t>
            </a:r>
          </a:p>
          <a:p>
            <a:pPr lvl="0"/>
            <a:r>
              <a:rPr lang="en-US" dirty="0"/>
              <a:t>Item Three</a:t>
            </a:r>
          </a:p>
          <a:p>
            <a:pPr lvl="0"/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548640" y="4341651"/>
            <a:ext cx="5760720" cy="1965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lang="en-US" sz="1200" i="0" kern="1200" spc="-38" baseline="0" dirty="0">
                <a:solidFill>
                  <a:srgbClr val="232D4B"/>
                </a:solidFill>
                <a:latin typeface="ITC Franklin Gothic Std Bk Cd" panose="020B0506030503020204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Chart Title or Source</a:t>
            </a:r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309360" y="4767263"/>
            <a:ext cx="185166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75" kern="1200" dirty="0" smtClean="0">
                <a:solidFill>
                  <a:srgbClr val="F1F1EF"/>
                </a:solidFill>
                <a:latin typeface="ITC Franklin Gothic Std Bk Cd" panose="020B05060305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OPER CENTER </a:t>
            </a:r>
            <a:r>
              <a:rPr lang="en-US" sz="1200" dirty="0"/>
              <a:t>|</a:t>
            </a:r>
            <a:r>
              <a:rPr lang="en-US" dirty="0"/>
              <a:t> PUBLIC SERVIC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57033" y="4780026"/>
            <a:ext cx="311351" cy="2429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25">
                <a:solidFill>
                  <a:srgbClr val="F1F1EF"/>
                </a:solidFill>
                <a:latin typeface="ITC Franklin Gothic Std Bk Cd" panose="020B0506030503020204" pitchFamily="34" charset="0"/>
                <a:cs typeface="Arial" panose="020B0604020202020204" pitchFamily="34" charset="0"/>
              </a:defRPr>
            </a:lvl1pPr>
          </a:lstStyle>
          <a:p>
            <a:fld id="{F2085B6F-5DD0-4AA7-A598-31079D007F5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93066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Slide" userDrawn="1">
  <p:cSld name="1_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B9C64620-BC3F-E0EE-2DFB-75026AB0AA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599" y="4169664"/>
            <a:ext cx="2816311" cy="383286"/>
          </a:xfrm>
          <a:prstGeom prst="rect">
            <a:avLst/>
          </a:prstGeom>
        </p:spPr>
      </p:pic>
      <p:sp>
        <p:nvSpPr>
          <p:cNvPr id="4" name="Google Shape;26;p4">
            <a:extLst>
              <a:ext uri="{FF2B5EF4-FFF2-40B4-BE49-F238E27FC236}">
                <a16:creationId xmlns:a16="http://schemas.microsoft.com/office/drawing/2014/main" id="{659A302B-07A9-80BE-78A9-66B6989AB2F4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5655250" y="590551"/>
            <a:ext cx="2879150" cy="3962400"/>
          </a:xfrm>
          <a:prstGeom prst="rect">
            <a:avLst/>
          </a:prstGeom>
          <a:noFill/>
          <a:ln>
            <a:solidFill>
              <a:schemeClr val="bg2"/>
            </a:solidFill>
            <a:round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09824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Slide" preserve="1" userDrawn="1">
  <p:cSld name="2_Title Slide">
    <p:bg>
      <p:bgPr>
        <a:gradFill>
          <a:gsLst>
            <a:gs pos="0">
              <a:schemeClr val="bg2"/>
            </a:gs>
            <a:gs pos="100000">
              <a:srgbClr val="00627B"/>
            </a:gs>
          </a:gsLst>
          <a:lin ang="1200000" scaled="0"/>
        </a:gra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26;p4">
            <a:extLst>
              <a:ext uri="{FF2B5EF4-FFF2-40B4-BE49-F238E27FC236}">
                <a16:creationId xmlns:a16="http://schemas.microsoft.com/office/drawing/2014/main" id="{659A302B-07A9-80BE-78A9-66B6989AB2F4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5655250" y="590551"/>
            <a:ext cx="2879150" cy="3962400"/>
          </a:xfrm>
          <a:prstGeom prst="rect">
            <a:avLst/>
          </a:prstGeom>
          <a:noFill/>
          <a:ln>
            <a:solidFill>
              <a:schemeClr val="bg1"/>
            </a:solidFill>
            <a:round/>
          </a:ln>
        </p:spPr>
        <p:txBody>
          <a:bodyPr/>
          <a:lstStyle/>
          <a:p>
            <a:endParaRPr lang="en-US"/>
          </a:p>
        </p:txBody>
      </p:sp>
      <p:pic>
        <p:nvPicPr>
          <p:cNvPr id="6" name="Picture 5" descr="A black and white photo of a building with white text&#10;&#10;AI-generated content may be incorrect.">
            <a:extLst>
              <a:ext uri="{FF2B5EF4-FFF2-40B4-BE49-F238E27FC236}">
                <a16:creationId xmlns:a16="http://schemas.microsoft.com/office/drawing/2014/main" id="{E00795F8-017F-A034-D51C-17771FF0A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598" y="4169664"/>
            <a:ext cx="2808806" cy="382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1869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Custom Layout" preserve="1" userDrawn="1">
  <p:cSld name="15_Custom Layout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4"/>
          <p:cNvSpPr txBox="1">
            <a:spLocks noGrp="1"/>
          </p:cNvSpPr>
          <p:nvPr>
            <p:ph type="title" hasCustomPrompt="1"/>
          </p:nvPr>
        </p:nvSpPr>
        <p:spPr>
          <a:xfrm>
            <a:off x="2254124" y="599977"/>
            <a:ext cx="4635750" cy="333277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algn="ctr" rtl="0">
              <a:lnSpc>
                <a:spcPts val="234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None/>
              <a:defRPr sz="2400">
                <a:solidFill>
                  <a:schemeClr val="dk2"/>
                </a:solidFill>
                <a:latin typeface="+mj-l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>
                <a:solidFill>
                  <a:schemeClr val="dk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>
                <a:solidFill>
                  <a:schemeClr val="dk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>
                <a:solidFill>
                  <a:schemeClr val="dk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>
                <a:solidFill>
                  <a:schemeClr val="dk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>
                <a:solidFill>
                  <a:schemeClr val="dk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>
                <a:solidFill>
                  <a:schemeClr val="dk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>
                <a:solidFill>
                  <a:schemeClr val="dk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>
                <a:solidFill>
                  <a:schemeClr val="dk2"/>
                </a:solidFill>
              </a:defRPr>
            </a:lvl9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Google Shape;26;p4">
            <a:extLst>
              <a:ext uri="{FF2B5EF4-FFF2-40B4-BE49-F238E27FC236}">
                <a16:creationId xmlns:a16="http://schemas.microsoft.com/office/drawing/2014/main" id="{854E1454-4149-BB91-F298-B64E08D1B225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3341802" y="1689510"/>
            <a:ext cx="2460395" cy="1687398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3" name="Google Shape;26;p4">
            <a:extLst>
              <a:ext uri="{FF2B5EF4-FFF2-40B4-BE49-F238E27FC236}">
                <a16:creationId xmlns:a16="http://schemas.microsoft.com/office/drawing/2014/main" id="{7320FECA-34C8-BD1B-86E0-A87ADEB9A7C3}"/>
              </a:ext>
            </a:extLst>
          </p:cNvPr>
          <p:cNvSpPr>
            <a:spLocks noGrp="1"/>
          </p:cNvSpPr>
          <p:nvPr>
            <p:ph type="pic" idx="11"/>
          </p:nvPr>
        </p:nvSpPr>
        <p:spPr>
          <a:xfrm>
            <a:off x="617455" y="1689510"/>
            <a:ext cx="2460395" cy="1687398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4" name="Google Shape;26;p4">
            <a:extLst>
              <a:ext uri="{FF2B5EF4-FFF2-40B4-BE49-F238E27FC236}">
                <a16:creationId xmlns:a16="http://schemas.microsoft.com/office/drawing/2014/main" id="{8A01BCF7-F53B-2DB8-B0A7-125D3DF9AAE9}"/>
              </a:ext>
            </a:extLst>
          </p:cNvPr>
          <p:cNvSpPr>
            <a:spLocks noGrp="1"/>
          </p:cNvSpPr>
          <p:nvPr>
            <p:ph type="pic" idx="12"/>
          </p:nvPr>
        </p:nvSpPr>
        <p:spPr>
          <a:xfrm>
            <a:off x="6074005" y="1689510"/>
            <a:ext cx="2460395" cy="1687398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5" name="Google Shape;35;p6">
            <a:extLst>
              <a:ext uri="{FF2B5EF4-FFF2-40B4-BE49-F238E27FC236}">
                <a16:creationId xmlns:a16="http://schemas.microsoft.com/office/drawing/2014/main" id="{CA73D251-2F6C-79EF-C6DF-4CECDCBB713C}"/>
              </a:ext>
            </a:extLst>
          </p:cNvPr>
          <p:cNvSpPr/>
          <p:nvPr userDrawn="1"/>
        </p:nvSpPr>
        <p:spPr>
          <a:xfrm>
            <a:off x="0" y="4852416"/>
            <a:ext cx="9144000" cy="291174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0" scaled="0"/>
          </a:gra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A855B2B-3AD5-0252-9643-DA02AD908C25}"/>
              </a:ext>
            </a:extLst>
          </p:cNvPr>
          <p:cNvSpPr txBox="1"/>
          <p:nvPr userDrawn="1"/>
        </p:nvSpPr>
        <p:spPr>
          <a:xfrm>
            <a:off x="8645716" y="4878388"/>
            <a:ext cx="3962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4C312281-9470-6B48-95DB-69D0E54208F5}" type="slidenum">
              <a:rPr lang="en-US" sz="1000" b="1" smtClean="0">
                <a:solidFill>
                  <a:schemeClr val="bg1"/>
                </a:solidFill>
                <a:latin typeface="+mj-lt"/>
              </a:rPr>
              <a:pPr algn="ctr"/>
              <a:t>‹#›</a:t>
            </a:fld>
            <a:endParaRPr lang="en-US" sz="1000" b="1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83876766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 Bottom Bar" userDrawn="1">
  <p:cSld name="Blue Bottom Bar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Google Shape;35;p6"/>
          <p:cNvSpPr/>
          <p:nvPr/>
        </p:nvSpPr>
        <p:spPr>
          <a:xfrm>
            <a:off x="0" y="4852416"/>
            <a:ext cx="9144000" cy="291174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0" scaled="0"/>
          </a:gra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EF6BF29-DACD-0B45-FE20-4CFDFDFBA700}"/>
              </a:ext>
            </a:extLst>
          </p:cNvPr>
          <p:cNvSpPr txBox="1"/>
          <p:nvPr userDrawn="1"/>
        </p:nvSpPr>
        <p:spPr>
          <a:xfrm>
            <a:off x="8645716" y="4878388"/>
            <a:ext cx="3962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4C312281-9470-6B48-95DB-69D0E54208F5}" type="slidenum">
              <a:rPr lang="en-US" sz="1000" b="1" smtClean="0">
                <a:solidFill>
                  <a:schemeClr val="bg1"/>
                </a:solidFill>
                <a:latin typeface="+mj-lt"/>
              </a:rPr>
              <a:pPr algn="ctr"/>
              <a:t>‹#›</a:t>
            </a:fld>
            <a:endParaRPr lang="en-US" sz="1000" b="1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0250495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Custom Layout" preserve="1" userDrawn="1">
  <p:cSld name="16_Custom Layout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26;p4">
            <a:extLst>
              <a:ext uri="{FF2B5EF4-FFF2-40B4-BE49-F238E27FC236}">
                <a16:creationId xmlns:a16="http://schemas.microsoft.com/office/drawing/2014/main" id="{8A01BCF7-F53B-2DB8-B0A7-125D3DF9AAE9}"/>
              </a:ext>
            </a:extLst>
          </p:cNvPr>
          <p:cNvSpPr>
            <a:spLocks noGrp="1"/>
          </p:cNvSpPr>
          <p:nvPr>
            <p:ph type="pic" idx="12"/>
          </p:nvPr>
        </p:nvSpPr>
        <p:spPr>
          <a:xfrm>
            <a:off x="6003985" y="590550"/>
            <a:ext cx="3140016" cy="39624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114909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preserve="1">
  <p:cSld name="1_Blan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26;p14">
            <a:extLst>
              <a:ext uri="{FF2B5EF4-FFF2-40B4-BE49-F238E27FC236}">
                <a16:creationId xmlns:a16="http://schemas.microsoft.com/office/drawing/2014/main" id="{A26CF9FB-122A-CD0C-8352-5FC95FBA1531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>
            <a:gsLst>
              <a:gs pos="0">
                <a:schemeClr val="bg2"/>
              </a:gs>
              <a:gs pos="100000">
                <a:srgbClr val="00627B">
                  <a:alpha val="69365"/>
                </a:srgbClr>
              </a:gs>
            </a:gsLst>
            <a:lin ang="1200000" scaled="0"/>
          </a:gra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FD576E2-A415-8437-0E5D-029C4A1B6A69}"/>
              </a:ext>
            </a:extLst>
          </p:cNvPr>
          <p:cNvSpPr txBox="1"/>
          <p:nvPr userDrawn="1"/>
        </p:nvSpPr>
        <p:spPr>
          <a:xfrm>
            <a:off x="8638032" y="4732392"/>
            <a:ext cx="3962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4C312281-9470-6B48-95DB-69D0E54208F5}" type="slidenum">
              <a:rPr lang="en-US" sz="1000" b="1" smtClean="0">
                <a:solidFill>
                  <a:schemeClr val="tx1"/>
                </a:solidFill>
                <a:latin typeface="+mj-lt"/>
              </a:rPr>
              <a:pPr algn="ctr"/>
              <a:t>‹#›</a:t>
            </a:fld>
            <a:endParaRPr lang="en-US" sz="1000" b="1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29296120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Custom Layout">
  <p:cSld name="17_Custom Layout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4"/>
          <p:cNvSpPr>
            <a:spLocks noGrp="1"/>
          </p:cNvSpPr>
          <p:nvPr>
            <p:ph type="pic" idx="2"/>
          </p:nvPr>
        </p:nvSpPr>
        <p:spPr>
          <a:xfrm>
            <a:off x="609600" y="-50"/>
            <a:ext cx="2883408" cy="51435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7" name="Google Shape;27;p4"/>
          <p:cNvSpPr txBox="1">
            <a:spLocks noGrp="1"/>
          </p:cNvSpPr>
          <p:nvPr>
            <p:ph type="title" hasCustomPrompt="1"/>
          </p:nvPr>
        </p:nvSpPr>
        <p:spPr>
          <a:xfrm>
            <a:off x="3898650" y="598234"/>
            <a:ext cx="4635750" cy="32385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lnSpc>
                <a:spcPts val="234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None/>
              <a:defRPr sz="2400">
                <a:solidFill>
                  <a:schemeClr val="dk2"/>
                </a:solidFill>
                <a:latin typeface="+mj-l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>
                <a:solidFill>
                  <a:schemeClr val="dk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>
                <a:solidFill>
                  <a:schemeClr val="dk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>
                <a:solidFill>
                  <a:schemeClr val="dk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>
                <a:solidFill>
                  <a:schemeClr val="dk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>
                <a:solidFill>
                  <a:schemeClr val="dk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>
                <a:solidFill>
                  <a:schemeClr val="dk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>
                <a:solidFill>
                  <a:schemeClr val="dk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>
                <a:solidFill>
                  <a:schemeClr val="dk2"/>
                </a:solidFill>
              </a:defRPr>
            </a:lvl9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8" name="Google Shape;28;p4"/>
          <p:cNvSpPr txBox="1">
            <a:spLocks noGrp="1"/>
          </p:cNvSpPr>
          <p:nvPr>
            <p:ph type="subTitle" idx="1"/>
          </p:nvPr>
        </p:nvSpPr>
        <p:spPr>
          <a:xfrm>
            <a:off x="3898650" y="929768"/>
            <a:ext cx="4635750" cy="49815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350" lvl="0" indent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tabLst/>
              <a:defRPr>
                <a:solidFill>
                  <a:schemeClr val="tx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>
                <a:solidFill>
                  <a:schemeClr val="dk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>
                <a:solidFill>
                  <a:schemeClr val="dk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>
                <a:solidFill>
                  <a:schemeClr val="dk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>
                <a:solidFill>
                  <a:schemeClr val="dk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>
                <a:solidFill>
                  <a:schemeClr val="dk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>
                <a:solidFill>
                  <a:schemeClr val="dk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>
                <a:solidFill>
                  <a:schemeClr val="dk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>
                <a:solidFill>
                  <a:schemeClr val="dk2"/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dirty="0"/>
          </a:p>
        </p:txBody>
      </p:sp>
      <p:sp>
        <p:nvSpPr>
          <p:cNvPr id="29" name="Google Shape;29;p4"/>
          <p:cNvSpPr txBox="1">
            <a:spLocks noGrp="1"/>
          </p:cNvSpPr>
          <p:nvPr>
            <p:ph type="body" idx="3"/>
          </p:nvPr>
        </p:nvSpPr>
        <p:spPr>
          <a:xfrm>
            <a:off x="3898650" y="1450970"/>
            <a:ext cx="4635750" cy="26520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290513" lvl="0" indent="-15081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ct val="90000"/>
              <a:buChar char="●"/>
              <a:tabLst/>
              <a:defRPr sz="1200">
                <a:solidFill>
                  <a:schemeClr val="dk2"/>
                </a:solidFill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DC370BE-1569-4AEF-E1FA-B12BA671DB3D}"/>
              </a:ext>
            </a:extLst>
          </p:cNvPr>
          <p:cNvSpPr txBox="1"/>
          <p:nvPr userDrawn="1"/>
        </p:nvSpPr>
        <p:spPr>
          <a:xfrm>
            <a:off x="8638032" y="4732392"/>
            <a:ext cx="3962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4C312281-9470-6B48-95DB-69D0E54208F5}" type="slidenum">
              <a:rPr lang="en-US" sz="1000" b="1" smtClean="0">
                <a:solidFill>
                  <a:schemeClr val="bg2"/>
                </a:solidFill>
                <a:latin typeface="+mj-lt"/>
              </a:rPr>
              <a:pPr algn="ctr"/>
              <a:t>‹#›</a:t>
            </a:fld>
            <a:endParaRPr lang="en-US" sz="1000" b="1" dirty="0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47523328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1" userDrawn="1">
  <p:cSld name="Blank 1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10"/>
          <p:cNvSpPr txBox="1">
            <a:spLocks noGrp="1"/>
          </p:cNvSpPr>
          <p:nvPr>
            <p:ph type="title" hasCustomPrompt="1"/>
          </p:nvPr>
        </p:nvSpPr>
        <p:spPr>
          <a:xfrm>
            <a:off x="609599" y="590550"/>
            <a:ext cx="4763999" cy="354586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lnSpc>
                <a:spcPts val="234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>
                <a:solidFill>
                  <a:schemeClr val="dk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>
                <a:solidFill>
                  <a:schemeClr val="dk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>
                <a:solidFill>
                  <a:schemeClr val="dk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>
                <a:solidFill>
                  <a:schemeClr val="dk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>
                <a:solidFill>
                  <a:schemeClr val="dk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>
                <a:solidFill>
                  <a:schemeClr val="dk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>
                <a:solidFill>
                  <a:schemeClr val="dk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>
                <a:solidFill>
                  <a:schemeClr val="dk2"/>
                </a:solidFill>
              </a:defRPr>
            </a:lvl9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0" name="Google Shape;80;p10"/>
          <p:cNvSpPr txBox="1">
            <a:spLocks noGrp="1"/>
          </p:cNvSpPr>
          <p:nvPr>
            <p:ph type="subTitle" idx="1"/>
          </p:nvPr>
        </p:nvSpPr>
        <p:spPr>
          <a:xfrm>
            <a:off x="609600" y="965365"/>
            <a:ext cx="4764000" cy="354586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139700" lvl="0" indent="-13335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tabLst/>
              <a:defRPr>
                <a:solidFill>
                  <a:schemeClr val="tx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>
                <a:solidFill>
                  <a:schemeClr val="dk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>
                <a:solidFill>
                  <a:schemeClr val="dk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>
                <a:solidFill>
                  <a:schemeClr val="dk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>
                <a:solidFill>
                  <a:schemeClr val="dk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>
                <a:solidFill>
                  <a:schemeClr val="dk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>
                <a:solidFill>
                  <a:schemeClr val="dk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>
                <a:solidFill>
                  <a:schemeClr val="dk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>
                <a:solidFill>
                  <a:schemeClr val="dk2"/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dirty="0"/>
          </a:p>
        </p:txBody>
      </p:sp>
      <p:sp>
        <p:nvSpPr>
          <p:cNvPr id="82" name="Google Shape;82;p10"/>
          <p:cNvSpPr>
            <a:spLocks noGrp="1"/>
          </p:cNvSpPr>
          <p:nvPr>
            <p:ph type="pic" idx="3"/>
          </p:nvPr>
        </p:nvSpPr>
        <p:spPr>
          <a:xfrm>
            <a:off x="5648398" y="0"/>
            <a:ext cx="2884500" cy="51435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59FE5FC-DF9C-4832-65E5-E5509D245826}"/>
              </a:ext>
            </a:extLst>
          </p:cNvPr>
          <p:cNvSpPr txBox="1"/>
          <p:nvPr userDrawn="1"/>
        </p:nvSpPr>
        <p:spPr>
          <a:xfrm>
            <a:off x="8638032" y="4732392"/>
            <a:ext cx="3962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4C312281-9470-6B48-95DB-69D0E54208F5}" type="slidenum">
              <a:rPr lang="en-US" sz="1000" b="1" smtClean="0">
                <a:solidFill>
                  <a:schemeClr val="bg2"/>
                </a:solidFill>
                <a:latin typeface="+mj-lt"/>
              </a:rPr>
              <a:pPr algn="ctr"/>
              <a:t>‹#›</a:t>
            </a:fld>
            <a:endParaRPr lang="en-US" sz="1000" b="1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3" name="Google Shape;29;p4">
            <a:extLst>
              <a:ext uri="{FF2B5EF4-FFF2-40B4-BE49-F238E27FC236}">
                <a16:creationId xmlns:a16="http://schemas.microsoft.com/office/drawing/2014/main" id="{BC750B16-6AFA-1AD9-9323-5C1623BD2756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609600" y="1340180"/>
            <a:ext cx="4635750" cy="26520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290513" lvl="0" indent="-15081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ct val="90000"/>
              <a:buChar char="●"/>
              <a:tabLst/>
              <a:defRPr sz="1200">
                <a:solidFill>
                  <a:schemeClr val="dk2"/>
                </a:solidFill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139201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Slide" preserve="1" userDrawn="1">
  <p:cSld name="3_Title Slide">
    <p:bg>
      <p:bgPr>
        <a:gradFill flip="none" rotWithShape="1">
          <a:gsLst>
            <a:gs pos="0">
              <a:schemeClr val="bg2"/>
            </a:gs>
            <a:gs pos="100000">
              <a:srgbClr val="00627B"/>
            </a:gs>
          </a:gsLst>
          <a:lin ang="1200000" scaled="0"/>
          <a:tileRect/>
        </a:gra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ack and white photo of a building with white text&#10;&#10;AI-generated content may be incorrect.">
            <a:extLst>
              <a:ext uri="{FF2B5EF4-FFF2-40B4-BE49-F238E27FC236}">
                <a16:creationId xmlns:a16="http://schemas.microsoft.com/office/drawing/2014/main" id="{8F01752A-6533-B5A2-5A96-18223667BFA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598" y="4169664"/>
            <a:ext cx="2808806" cy="382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2776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 Agenda (1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" name="Rectangle 138">
            <a:extLst>
              <a:ext uri="{FF2B5EF4-FFF2-40B4-BE49-F238E27FC236}">
                <a16:creationId xmlns:a16="http://schemas.microsoft.com/office/drawing/2014/main" id="{0735789A-63DF-F64F-9BFF-A24BA7A397AC}"/>
              </a:ext>
            </a:extLst>
          </p:cNvPr>
          <p:cNvSpPr/>
          <p:nvPr userDrawn="1"/>
        </p:nvSpPr>
        <p:spPr>
          <a:xfrm>
            <a:off x="0" y="460517"/>
            <a:ext cx="9144000" cy="4644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EBA89B3-0596-F74E-9FA2-DC751E0E88E4}"/>
              </a:ext>
            </a:extLst>
          </p:cNvPr>
          <p:cNvGrpSpPr/>
          <p:nvPr userDrawn="1"/>
        </p:nvGrpSpPr>
        <p:grpSpPr>
          <a:xfrm>
            <a:off x="9399182" y="-1"/>
            <a:ext cx="2877466" cy="6473717"/>
            <a:chOff x="9399182" y="-1"/>
            <a:chExt cx="2877466" cy="8631622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F4E83308-CF57-9E47-BA44-7A84C42B5978}"/>
                </a:ext>
              </a:extLst>
            </p:cNvPr>
            <p:cNvSpPr/>
            <p:nvPr userDrawn="1"/>
          </p:nvSpPr>
          <p:spPr>
            <a:xfrm>
              <a:off x="9399182" y="-1"/>
              <a:ext cx="2798651" cy="848185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D2A5C2D3-9F21-234B-9F98-3DE702C886F7}"/>
                </a:ext>
              </a:extLst>
            </p:cNvPr>
            <p:cNvSpPr txBox="1">
              <a:spLocks noChangeAspect="1"/>
            </p:cNvSpPr>
            <p:nvPr userDrawn="1"/>
          </p:nvSpPr>
          <p:spPr>
            <a:xfrm>
              <a:off x="9521833" y="1610350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375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3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A02ADF69-BF1B-1A46-8854-22053F603054}"/>
                </a:ext>
              </a:extLst>
            </p:cNvPr>
            <p:cNvSpPr txBox="1">
              <a:spLocks noChangeAspect="1"/>
            </p:cNvSpPr>
            <p:nvPr userDrawn="1"/>
          </p:nvSpPr>
          <p:spPr>
            <a:xfrm>
              <a:off x="9521833" y="538142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375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1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A8195510-2A26-3049-8967-D7F2BC33D906}"/>
                </a:ext>
              </a:extLst>
            </p:cNvPr>
            <p:cNvSpPr txBox="1">
              <a:spLocks noChangeAspect="1"/>
            </p:cNvSpPr>
            <p:nvPr userDrawn="1"/>
          </p:nvSpPr>
          <p:spPr>
            <a:xfrm>
              <a:off x="9521833" y="1139035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375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2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D496DEE2-CA7E-AE42-879D-AF53D0749FFE}"/>
                </a:ext>
              </a:extLst>
            </p:cNvPr>
            <p:cNvSpPr txBox="1"/>
            <p:nvPr userDrawn="1"/>
          </p:nvSpPr>
          <p:spPr>
            <a:xfrm>
              <a:off x="9686426" y="513115"/>
              <a:ext cx="2425134" cy="33607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>
                <a:spcAft>
                  <a:spcPts val="0"/>
                </a:spcAft>
              </a:pPr>
              <a:r>
                <a:rPr lang="en-US" sz="788"/>
                <a:t>Enter up to 14 agenda items and their page numbers. </a:t>
              </a:r>
            </a:p>
            <a:p>
              <a:pPr lvl="2"/>
              <a:r>
                <a:rPr lang="en-US" sz="600"/>
                <a:t>Switch to the 8-item agenda if you need fewer. 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14E036DD-4A36-4B41-969E-46701BA472FB}"/>
                </a:ext>
              </a:extLst>
            </p:cNvPr>
            <p:cNvSpPr txBox="1"/>
            <p:nvPr userDrawn="1"/>
          </p:nvSpPr>
          <p:spPr>
            <a:xfrm>
              <a:off x="9558507" y="150290"/>
              <a:ext cx="1396216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sz="825">
                  <a:solidFill>
                    <a:schemeClr val="bg1"/>
                  </a:solidFill>
                </a:rPr>
                <a:t>HOW TO USE THE AGENDA</a:t>
              </a:r>
            </a:p>
          </p:txBody>
        </p: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4171E0C5-608B-FF44-A6A5-678877741EB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352907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668704FB-F8CC-2D48-82EA-8020021930B4}"/>
                </a:ext>
              </a:extLst>
            </p:cNvPr>
            <p:cNvGrpSpPr/>
            <p:nvPr userDrawn="1"/>
          </p:nvGrpSpPr>
          <p:grpSpPr>
            <a:xfrm>
              <a:off x="9541497" y="5505499"/>
              <a:ext cx="2735151" cy="919215"/>
              <a:chOff x="9296567" y="4150379"/>
              <a:chExt cx="2735151" cy="919215"/>
            </a:xfrm>
          </p:grpSpPr>
          <p:grpSp>
            <p:nvGrpSpPr>
              <p:cNvPr id="68" name="Group 67">
                <a:extLst>
                  <a:ext uri="{FF2B5EF4-FFF2-40B4-BE49-F238E27FC236}">
                    <a16:creationId xmlns:a16="http://schemas.microsoft.com/office/drawing/2014/main" id="{2848AF80-78DE-6B4E-AAFC-ECF1C10CD0B4}"/>
                  </a:ext>
                </a:extLst>
              </p:cNvPr>
              <p:cNvGrpSpPr/>
              <p:nvPr userDrawn="1"/>
            </p:nvGrpSpPr>
            <p:grpSpPr>
              <a:xfrm>
                <a:off x="9296567" y="4150379"/>
                <a:ext cx="2735151" cy="919215"/>
                <a:chOff x="9296567" y="5817858"/>
                <a:chExt cx="2735151" cy="919215"/>
              </a:xfrm>
            </p:grpSpPr>
            <p:sp>
              <p:nvSpPr>
                <p:cNvPr id="85" name="Rectangle 84">
                  <a:extLst>
                    <a:ext uri="{FF2B5EF4-FFF2-40B4-BE49-F238E27FC236}">
                      <a16:creationId xmlns:a16="http://schemas.microsoft.com/office/drawing/2014/main" id="{C98E8FA1-C645-CA4C-9A7D-083293E08816}"/>
                    </a:ext>
                  </a:extLst>
                </p:cNvPr>
                <p:cNvSpPr/>
                <p:nvPr userDrawn="1"/>
              </p:nvSpPr>
              <p:spPr>
                <a:xfrm>
                  <a:off x="9296567" y="5817858"/>
                  <a:ext cx="2733136" cy="91921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  <p:sp>
              <p:nvSpPr>
                <p:cNvPr id="86" name="TextBox 85">
                  <a:extLst>
                    <a:ext uri="{FF2B5EF4-FFF2-40B4-BE49-F238E27FC236}">
                      <a16:creationId xmlns:a16="http://schemas.microsoft.com/office/drawing/2014/main" id="{70D9BBD7-B8A7-4242-B359-9835E773B97C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936094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8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Reset Placeholders</a:t>
                  </a:r>
                </a:p>
              </p:txBody>
            </p:sp>
            <p:pic>
              <p:nvPicPr>
                <p:cNvPr id="87" name="Graphic 86">
                  <a:extLst>
                    <a:ext uri="{FF2B5EF4-FFF2-40B4-BE49-F238E27FC236}">
                      <a16:creationId xmlns:a16="http://schemas.microsoft.com/office/drawing/2014/main" id="{985CB0FA-7C01-054B-95CD-E445FA243301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946377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88" name="TextBox 87">
                  <a:extLst>
                    <a:ext uri="{FF2B5EF4-FFF2-40B4-BE49-F238E27FC236}">
                      <a16:creationId xmlns:a16="http://schemas.microsoft.com/office/drawing/2014/main" id="{84979134-C3B7-EA40-B6A3-56FD3BE593AA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169594"/>
                  <a:ext cx="2491595" cy="449696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>
                    <a:spcBef>
                      <a:spcPts val="150"/>
                    </a:spcBef>
                  </a:pPr>
                  <a:r>
                    <a:rPr lang="en-US" sz="675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Press the Reset (            ) button to bring back placeholders you have deleted if you need them. </a:t>
                  </a:r>
                </a:p>
                <a:p>
                  <a:pPr algn="l">
                    <a:spcBef>
                      <a:spcPts val="150"/>
                    </a:spcBef>
                  </a:pPr>
                  <a:r>
                    <a:rPr lang="en-US" sz="675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Note: this will also remove your item highlight.</a:t>
                  </a:r>
                </a:p>
              </p:txBody>
            </p:sp>
          </p:grpSp>
          <p:pic>
            <p:nvPicPr>
              <p:cNvPr id="69" name="Picture 68">
                <a:extLst>
                  <a:ext uri="{FF2B5EF4-FFF2-40B4-BE49-F238E27FC236}">
                    <a16:creationId xmlns:a16="http://schemas.microsoft.com/office/drawing/2014/main" id="{9DBFC0E8-D037-9D47-9459-C3C5D94A426B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/>
              <a:srcRect t="-7688" r="11531" b="-1"/>
              <a:stretch/>
            </p:blipFill>
            <p:spPr>
              <a:xfrm>
                <a:off x="10368085" y="4507363"/>
                <a:ext cx="346954" cy="130863"/>
              </a:xfrm>
              <a:prstGeom prst="rect">
                <a:avLst/>
              </a:prstGeom>
            </p:spPr>
          </p:pic>
        </p:grp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26ECECB2-9E9D-9C4A-BC3F-D4B6EF59D7B2}"/>
                </a:ext>
              </a:extLst>
            </p:cNvPr>
            <p:cNvSpPr txBox="1"/>
            <p:nvPr/>
          </p:nvSpPr>
          <p:spPr>
            <a:xfrm>
              <a:off x="9686426" y="1588874"/>
              <a:ext cx="2284506" cy="32333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>
                <a:defRPr/>
              </a:pPr>
              <a:r>
                <a:rPr lang="en-US" sz="788"/>
                <a:t>Highlight the current item title and page number as follows: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03ED648A-9D4D-4F41-AB76-D687D0E49DFB}"/>
                </a:ext>
              </a:extLst>
            </p:cNvPr>
            <p:cNvSpPr txBox="1"/>
            <p:nvPr/>
          </p:nvSpPr>
          <p:spPr>
            <a:xfrm>
              <a:off x="9686426" y="1111528"/>
              <a:ext cx="2425134" cy="32333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>
                <a:defRPr/>
              </a:pPr>
              <a:r>
                <a:rPr lang="en-US" sz="788"/>
                <a:t>Select and delete any unused item placeholders to remove the lines.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8271BCEA-EA17-C24E-87BB-934AFBBF87E6}"/>
                </a:ext>
              </a:extLst>
            </p:cNvPr>
            <p:cNvSpPr txBox="1"/>
            <p:nvPr/>
          </p:nvSpPr>
          <p:spPr>
            <a:xfrm>
              <a:off x="9694073" y="2789000"/>
              <a:ext cx="2269212" cy="215444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525"/>
                <a:t>Note: Make sure the entire element is selected—it won’t work correctly if you have your cursor in the text.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FA5CB92E-0A0F-AC42-8739-C4D22325B31B}"/>
                </a:ext>
              </a:extLst>
            </p:cNvPr>
            <p:cNvSpPr txBox="1"/>
            <p:nvPr/>
          </p:nvSpPr>
          <p:spPr>
            <a:xfrm>
              <a:off x="9686426" y="5004333"/>
              <a:ext cx="2126422" cy="373948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1">
                <a:defRPr/>
              </a:pPr>
              <a:r>
                <a:rPr lang="en-US" sz="675"/>
                <a:t>Click anywhere on the page number of current agenda item (on the text works here) to apply the highlight style.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589B837D-7809-FE49-9BC4-51E31160E426}"/>
                </a:ext>
              </a:extLst>
            </p:cNvPr>
            <p:cNvSpPr/>
            <p:nvPr/>
          </p:nvSpPr>
          <p:spPr>
            <a:xfrm>
              <a:off x="9686427" y="2347974"/>
              <a:ext cx="2453290" cy="406238"/>
            </a:xfrm>
            <a:prstGeom prst="rect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050"/>
            </a:p>
          </p:txBody>
        </p: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B2F7C5ED-DA74-5D44-A55A-C451CAD6D7F9}"/>
                </a:ext>
              </a:extLst>
            </p:cNvPr>
            <p:cNvGrpSpPr/>
            <p:nvPr/>
          </p:nvGrpSpPr>
          <p:grpSpPr>
            <a:xfrm>
              <a:off x="9686426" y="3062499"/>
              <a:ext cx="2284506" cy="249298"/>
              <a:chOff x="9431244" y="2862535"/>
              <a:chExt cx="2284506" cy="249298"/>
            </a:xfrm>
          </p:grpSpPr>
          <p:pic>
            <p:nvPicPr>
              <p:cNvPr id="62" name="Picture 61">
                <a:extLst>
                  <a:ext uri="{FF2B5EF4-FFF2-40B4-BE49-F238E27FC236}">
                    <a16:creationId xmlns:a16="http://schemas.microsoft.com/office/drawing/2014/main" id="{24774FB4-765A-9E49-A933-097A5BD5D66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1216812" y="2866153"/>
                <a:ext cx="340854" cy="113618"/>
              </a:xfrm>
              <a:prstGeom prst="rect">
                <a:avLst/>
              </a:prstGeom>
            </p:spPr>
          </p:pic>
          <p:sp>
            <p:nvSpPr>
              <p:cNvPr id="63" name="TextBox 62">
                <a:extLst>
                  <a:ext uri="{FF2B5EF4-FFF2-40B4-BE49-F238E27FC236}">
                    <a16:creationId xmlns:a16="http://schemas.microsoft.com/office/drawing/2014/main" id="{1B7D5897-54FC-ED4C-878C-E0BBE070F573}"/>
                  </a:ext>
                </a:extLst>
              </p:cNvPr>
              <p:cNvSpPr txBox="1"/>
              <p:nvPr/>
            </p:nvSpPr>
            <p:spPr>
              <a:xfrm>
                <a:off x="9431244" y="2862535"/>
                <a:ext cx="2284506" cy="249298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675"/>
                  <a:t>Click the Format Painter button (           ) to copy the style.</a:t>
                </a:r>
              </a:p>
            </p:txBody>
          </p:sp>
        </p:grp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D10BF092-52C8-A14D-86F5-8BF992C1ECD8}"/>
                </a:ext>
              </a:extLst>
            </p:cNvPr>
            <p:cNvSpPr txBox="1"/>
            <p:nvPr/>
          </p:nvSpPr>
          <p:spPr>
            <a:xfrm>
              <a:off x="9686426" y="3363632"/>
              <a:ext cx="2384904" cy="2492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1">
                <a:defRPr/>
              </a:pPr>
              <a:r>
                <a:rPr lang="en-US" sz="675"/>
                <a:t>Click anywhere on the current agenda item (on the text works here) to apply the highlight style.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3BDB51E4-A24F-4342-8A5A-EDD95B943E22}"/>
                </a:ext>
              </a:extLst>
            </p:cNvPr>
            <p:cNvSpPr/>
            <p:nvPr/>
          </p:nvSpPr>
          <p:spPr>
            <a:xfrm>
              <a:off x="9686427" y="4200314"/>
              <a:ext cx="2453290" cy="406238"/>
            </a:xfrm>
            <a:prstGeom prst="rect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050"/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8C97E8A0-B37A-3044-82A9-7D36673708BC}"/>
                </a:ext>
              </a:extLst>
            </p:cNvPr>
            <p:cNvSpPr txBox="1"/>
            <p:nvPr/>
          </p:nvSpPr>
          <p:spPr>
            <a:xfrm>
              <a:off x="9686426" y="4026515"/>
              <a:ext cx="2384904" cy="12464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1">
                <a:defRPr/>
              </a:pPr>
              <a:r>
                <a:rPr lang="en-US" sz="675"/>
                <a:t>Select the ‘page # style’ element below: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A80195D2-2D31-7942-B7D0-9F85C7D444AF}"/>
                </a:ext>
              </a:extLst>
            </p:cNvPr>
            <p:cNvSpPr txBox="1"/>
            <p:nvPr/>
          </p:nvSpPr>
          <p:spPr>
            <a:xfrm>
              <a:off x="9686426" y="2184031"/>
              <a:ext cx="2384904" cy="12464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1">
                <a:defRPr/>
              </a:pPr>
              <a:r>
                <a:rPr lang="en-US" sz="675"/>
                <a:t>Select the ‘title style’ element below: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0A64BF6C-B9BD-1B41-969F-45514CC5BAE1}"/>
                </a:ext>
              </a:extLst>
            </p:cNvPr>
            <p:cNvSpPr txBox="1"/>
            <p:nvPr/>
          </p:nvSpPr>
          <p:spPr>
            <a:xfrm>
              <a:off x="9686426" y="1990139"/>
              <a:ext cx="589905" cy="107721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l"/>
              <a:r>
                <a:rPr lang="en-US" sz="525">
                  <a:solidFill>
                    <a:schemeClr val="bg1">
                      <a:lumMod val="85000"/>
                    </a:schemeClr>
                  </a:solidFill>
                </a:rPr>
                <a:t>HIGHLIGHT TITLE:</a:t>
              </a:r>
            </a:p>
          </p:txBody>
        </p: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2EFF5343-F139-D44E-8CF9-F7359DCDB499}"/>
                </a:ext>
              </a:extLst>
            </p:cNvPr>
            <p:cNvCxnSpPr>
              <a:cxnSpLocks/>
            </p:cNvCxnSpPr>
            <p:nvPr/>
          </p:nvCxnSpPr>
          <p:spPr>
            <a:xfrm>
              <a:off x="9679848" y="2113772"/>
              <a:ext cx="2511409" cy="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661BC977-1E81-D943-96A2-8EC320962EB3}"/>
                </a:ext>
              </a:extLst>
            </p:cNvPr>
            <p:cNvSpPr txBox="1"/>
            <p:nvPr/>
          </p:nvSpPr>
          <p:spPr>
            <a:xfrm>
              <a:off x="9686426" y="3831464"/>
              <a:ext cx="649217" cy="107721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l"/>
              <a:r>
                <a:rPr lang="en-US" sz="525">
                  <a:solidFill>
                    <a:schemeClr val="bg1">
                      <a:lumMod val="85000"/>
                    </a:schemeClr>
                  </a:solidFill>
                </a:rPr>
                <a:t>HIGHLIGHT PAGE #:</a:t>
              </a:r>
            </a:p>
          </p:txBody>
        </p: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11E58E32-BCB0-7D4E-97A2-FF92AE046C34}"/>
                </a:ext>
              </a:extLst>
            </p:cNvPr>
            <p:cNvCxnSpPr>
              <a:cxnSpLocks/>
            </p:cNvCxnSpPr>
            <p:nvPr/>
          </p:nvCxnSpPr>
          <p:spPr>
            <a:xfrm>
              <a:off x="9679848" y="3955097"/>
              <a:ext cx="2511409" cy="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2E08EBDD-4F9E-2F46-94B0-7AEFB64F4D50}"/>
                </a:ext>
              </a:extLst>
            </p:cNvPr>
            <p:cNvGrpSpPr/>
            <p:nvPr/>
          </p:nvGrpSpPr>
          <p:grpSpPr>
            <a:xfrm>
              <a:off x="9686426" y="4692069"/>
              <a:ext cx="2284506" cy="249298"/>
              <a:chOff x="9431244" y="2862535"/>
              <a:chExt cx="2284506" cy="249298"/>
            </a:xfrm>
          </p:grpSpPr>
          <p:pic>
            <p:nvPicPr>
              <p:cNvPr id="60" name="Picture 59">
                <a:extLst>
                  <a:ext uri="{FF2B5EF4-FFF2-40B4-BE49-F238E27FC236}">
                    <a16:creationId xmlns:a16="http://schemas.microsoft.com/office/drawing/2014/main" id="{DC8D70F4-324D-F14D-8D90-4F533C708BE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1216812" y="2866153"/>
                <a:ext cx="340854" cy="113618"/>
              </a:xfrm>
              <a:prstGeom prst="rect">
                <a:avLst/>
              </a:prstGeom>
            </p:spPr>
          </p:pic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0E162A8C-5CB5-0348-AF65-83FDA753EF06}"/>
                  </a:ext>
                </a:extLst>
              </p:cNvPr>
              <p:cNvSpPr txBox="1"/>
              <p:nvPr/>
            </p:nvSpPr>
            <p:spPr>
              <a:xfrm>
                <a:off x="9431244" y="2862535"/>
                <a:ext cx="2284506" cy="249298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675"/>
                  <a:t>Click the Format Painter button (           ) to copy the style.</a:t>
                </a:r>
              </a:p>
            </p:txBody>
          </p:sp>
        </p:grp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91EE1626-B758-3D4F-9E45-7DFD0CF68876}"/>
                </a:ext>
              </a:extLst>
            </p:cNvPr>
            <p:cNvGrpSpPr/>
            <p:nvPr userDrawn="1"/>
          </p:nvGrpSpPr>
          <p:grpSpPr>
            <a:xfrm>
              <a:off x="9541497" y="6488937"/>
              <a:ext cx="2735151" cy="2142684"/>
              <a:chOff x="9541497" y="1525267"/>
              <a:chExt cx="2735151" cy="2142684"/>
            </a:xfrm>
          </p:grpSpPr>
          <p:grpSp>
            <p:nvGrpSpPr>
              <p:cNvPr id="44" name="Group 43">
                <a:extLst>
                  <a:ext uri="{FF2B5EF4-FFF2-40B4-BE49-F238E27FC236}">
                    <a16:creationId xmlns:a16="http://schemas.microsoft.com/office/drawing/2014/main" id="{EF4513C3-471E-9542-A66F-5928FF17E189}"/>
                  </a:ext>
                </a:extLst>
              </p:cNvPr>
              <p:cNvGrpSpPr/>
              <p:nvPr userDrawn="1"/>
            </p:nvGrpSpPr>
            <p:grpSpPr>
              <a:xfrm>
                <a:off x="9541497" y="1525267"/>
                <a:ext cx="2735151" cy="2142684"/>
                <a:chOff x="9296567" y="5817858"/>
                <a:chExt cx="2735151" cy="2142684"/>
              </a:xfrm>
            </p:grpSpPr>
            <p:sp>
              <p:nvSpPr>
                <p:cNvPr id="64" name="Rectangle 63">
                  <a:extLst>
                    <a:ext uri="{FF2B5EF4-FFF2-40B4-BE49-F238E27FC236}">
                      <a16:creationId xmlns:a16="http://schemas.microsoft.com/office/drawing/2014/main" id="{3BCA6528-B4AD-3B4E-817E-7E37B4801528}"/>
                    </a:ext>
                  </a:extLst>
                </p:cNvPr>
                <p:cNvSpPr/>
                <p:nvPr userDrawn="1"/>
              </p:nvSpPr>
              <p:spPr>
                <a:xfrm>
                  <a:off x="9296567" y="5817858"/>
                  <a:ext cx="2733136" cy="2142684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  <p:sp>
              <p:nvSpPr>
                <p:cNvPr id="65" name="TextBox 64">
                  <a:extLst>
                    <a:ext uri="{FF2B5EF4-FFF2-40B4-BE49-F238E27FC236}">
                      <a16:creationId xmlns:a16="http://schemas.microsoft.com/office/drawing/2014/main" id="{374FCEAF-1509-4F42-9497-CD879A6A719D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936094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8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Drag-select</a:t>
                  </a:r>
                </a:p>
              </p:txBody>
            </p:sp>
            <p:pic>
              <p:nvPicPr>
                <p:cNvPr id="66" name="Graphic 65">
                  <a:extLst>
                    <a:ext uri="{FF2B5EF4-FFF2-40B4-BE49-F238E27FC236}">
                      <a16:creationId xmlns:a16="http://schemas.microsoft.com/office/drawing/2014/main" id="{5DFF07DF-FE13-CC4C-B76D-1D2605070E4B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946377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67" name="TextBox 66">
                  <a:extLst>
                    <a:ext uri="{FF2B5EF4-FFF2-40B4-BE49-F238E27FC236}">
                      <a16:creationId xmlns:a16="http://schemas.microsoft.com/office/drawing/2014/main" id="{FED285DC-C61D-0D45-9BC6-5561AE17004B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169594"/>
                  <a:ext cx="2444785" cy="138500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>
                    <a:spcBef>
                      <a:spcPts val="150"/>
                    </a:spcBef>
                  </a:pPr>
                  <a:r>
                    <a:rPr lang="en-US" sz="675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Easily select multiple placeholders for deletion:</a:t>
                  </a:r>
                </a:p>
              </p:txBody>
            </p:sp>
            <p:sp>
              <p:nvSpPr>
                <p:cNvPr id="135" name="TextBox 134">
                  <a:extLst>
                    <a:ext uri="{FF2B5EF4-FFF2-40B4-BE49-F238E27FC236}">
                      <a16:creationId xmlns:a16="http://schemas.microsoft.com/office/drawing/2014/main" id="{03DC49DC-B6F7-5247-938C-5887557DD711}"/>
                    </a:ext>
                  </a:extLst>
                </p:cNvPr>
                <p:cNvSpPr txBox="1"/>
                <p:nvPr userDrawn="1"/>
              </p:nvSpPr>
              <p:spPr>
                <a:xfrm>
                  <a:off x="9471806" y="6398194"/>
                  <a:ext cx="1174622" cy="37394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01204" lvl="1" indent="-98822" algn="l" defTabSz="6858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225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675" b="1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Click</a:t>
                  </a: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 above and to the left of the first placeholder you’d like to delete.</a:t>
                  </a:r>
                </a:p>
              </p:txBody>
            </p:sp>
            <p:sp>
              <p:nvSpPr>
                <p:cNvPr id="136" name="TextBox 135">
                  <a:extLst>
                    <a:ext uri="{FF2B5EF4-FFF2-40B4-BE49-F238E27FC236}">
                      <a16:creationId xmlns:a16="http://schemas.microsoft.com/office/drawing/2014/main" id="{1F4843CF-D9EC-4B47-B9A7-B0D9BD1FDA87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7426397"/>
                  <a:ext cx="2444785" cy="2492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01204" lvl="1" indent="-98822" algn="l" defTabSz="6858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225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All the placeholders inside the drag area will now be selected. Press Delete on the keyboard to remove them.</a:t>
                  </a:r>
                </a:p>
              </p:txBody>
            </p:sp>
            <p:sp>
              <p:nvSpPr>
                <p:cNvPr id="137" name="TextBox 136">
                  <a:extLst>
                    <a:ext uri="{FF2B5EF4-FFF2-40B4-BE49-F238E27FC236}">
                      <a16:creationId xmlns:a16="http://schemas.microsoft.com/office/drawing/2014/main" id="{6F7F8E90-37AA-3743-BDF9-554E740DFC7B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974619"/>
                  <a:ext cx="2414403" cy="37394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01204" lvl="1" indent="-98822" algn="l" defTabSz="6858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225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Then (still holding down the first click) </a:t>
                  </a:r>
                  <a:b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</a:br>
                  <a:r>
                    <a:rPr lang="en-US" sz="675" b="1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drag</a:t>
                  </a: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 the cursor to below and to the right of the last placeholder and </a:t>
                  </a:r>
                  <a:r>
                    <a:rPr lang="en-US" sz="675" b="1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release</a:t>
                  </a: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 the click.</a:t>
                  </a:r>
                </a:p>
              </p:txBody>
            </p:sp>
          </p:grpSp>
          <p:pic>
            <p:nvPicPr>
              <p:cNvPr id="24" name="Picture 23">
                <a:extLst>
                  <a:ext uri="{FF2B5EF4-FFF2-40B4-BE49-F238E27FC236}">
                    <a16:creationId xmlns:a16="http://schemas.microsoft.com/office/drawing/2014/main" id="{DC5AED72-86C8-4444-90CE-59B076CE4755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6"/>
              <a:srcRect t="33282" b="9876"/>
              <a:stretch/>
            </p:blipFill>
            <p:spPr>
              <a:xfrm>
                <a:off x="10901855" y="2099340"/>
                <a:ext cx="1237314" cy="517325"/>
              </a:xfrm>
              <a:prstGeom prst="rect">
                <a:avLst/>
              </a:prstGeom>
            </p:spPr>
          </p:pic>
        </p:grp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E767ABA5-A206-AB44-BDCD-CBEA4F6A31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agenda title. All caps. Two lines max.</a:t>
            </a:r>
          </a:p>
        </p:txBody>
      </p:sp>
      <p:sp>
        <p:nvSpPr>
          <p:cNvPr id="91" name="Text Placeholder 5">
            <a:extLst>
              <a:ext uri="{FF2B5EF4-FFF2-40B4-BE49-F238E27FC236}">
                <a16:creationId xmlns:a16="http://schemas.microsoft.com/office/drawing/2014/main" id="{E65DF37D-BE32-8D48-B3BD-F72A205AA20A}"/>
              </a:ext>
            </a:extLst>
          </p:cNvPr>
          <p:cNvSpPr>
            <a:spLocks noGrp="1"/>
          </p:cNvSpPr>
          <p:nvPr userDrawn="1">
            <p:ph type="body" sz="quarter" idx="134" hasCustomPrompt="1"/>
          </p:nvPr>
        </p:nvSpPr>
        <p:spPr>
          <a:xfrm>
            <a:off x="9701721" y="1771387"/>
            <a:ext cx="2429418" cy="282566"/>
          </a:xfrm>
          <a:solidFill>
            <a:schemeClr val="accent1"/>
          </a:solidFill>
          <a:ln w="31750">
            <a:solidFill>
              <a:schemeClr val="accent1"/>
            </a:solidFill>
          </a:ln>
          <a:effectLst/>
        </p:spPr>
        <p:txBody>
          <a:bodyPr lIns="432000" tIns="0" rIns="36000" anchor="ctr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lect for Title style</a:t>
            </a:r>
          </a:p>
        </p:txBody>
      </p:sp>
      <p:sp>
        <p:nvSpPr>
          <p:cNvPr id="92" name="Text Placeholder 5">
            <a:extLst>
              <a:ext uri="{FF2B5EF4-FFF2-40B4-BE49-F238E27FC236}">
                <a16:creationId xmlns:a16="http://schemas.microsoft.com/office/drawing/2014/main" id="{D92F429B-9DFB-EE41-9601-2CCC105A7E84}"/>
              </a:ext>
            </a:extLst>
          </p:cNvPr>
          <p:cNvSpPr>
            <a:spLocks noGrp="1"/>
          </p:cNvSpPr>
          <p:nvPr userDrawn="1">
            <p:ph type="body" sz="quarter" idx="135" hasCustomPrompt="1"/>
          </p:nvPr>
        </p:nvSpPr>
        <p:spPr>
          <a:xfrm>
            <a:off x="9701721" y="3166937"/>
            <a:ext cx="2429418" cy="282566"/>
          </a:xfrm>
          <a:noFill/>
          <a:ln w="31750">
            <a:noFill/>
          </a:ln>
          <a:effectLst/>
        </p:spPr>
        <p:txBody>
          <a:bodyPr lIns="0" tIns="0" rIns="0" anchor="ctr"/>
          <a:lstStyle>
            <a:lvl1pPr marL="0" indent="0" algn="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lect for Page # style</a:t>
            </a:r>
          </a:p>
        </p:txBody>
      </p:sp>
      <p:sp>
        <p:nvSpPr>
          <p:cNvPr id="140" name="Text Placeholder 6">
            <a:extLst>
              <a:ext uri="{FF2B5EF4-FFF2-40B4-BE49-F238E27FC236}">
                <a16:creationId xmlns:a16="http://schemas.microsoft.com/office/drawing/2014/main" id="{89312458-EDEA-F145-8A40-F9DE180A0CD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0" y="923045"/>
            <a:ext cx="9144000" cy="264600"/>
          </a:xfr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ffectLst/>
        </p:spPr>
        <p:txBody>
          <a:bodyPr lIns="432000" rIns="36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add agenda item</a:t>
            </a:r>
          </a:p>
        </p:txBody>
      </p:sp>
      <p:sp>
        <p:nvSpPr>
          <p:cNvPr id="141" name="Text Placeholder 6">
            <a:extLst>
              <a:ext uri="{FF2B5EF4-FFF2-40B4-BE49-F238E27FC236}">
                <a16:creationId xmlns:a16="http://schemas.microsoft.com/office/drawing/2014/main" id="{0881407E-5EEA-0645-B564-820137734C4B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0" y="1187409"/>
            <a:ext cx="9144000" cy="264600"/>
          </a:xfr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ffectLst/>
        </p:spPr>
        <p:txBody>
          <a:bodyPr lIns="432000" rIns="36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add agenda item</a:t>
            </a:r>
          </a:p>
        </p:txBody>
      </p:sp>
      <p:sp>
        <p:nvSpPr>
          <p:cNvPr id="142" name="Text Placeholder 6">
            <a:extLst>
              <a:ext uri="{FF2B5EF4-FFF2-40B4-BE49-F238E27FC236}">
                <a16:creationId xmlns:a16="http://schemas.microsoft.com/office/drawing/2014/main" id="{975DCA04-BA85-B943-AAF1-92DA5F62A968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0" y="1451774"/>
            <a:ext cx="9144000" cy="264600"/>
          </a:xfr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ffectLst/>
        </p:spPr>
        <p:txBody>
          <a:bodyPr lIns="432000" rIns="36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add agenda item</a:t>
            </a:r>
          </a:p>
        </p:txBody>
      </p:sp>
      <p:sp>
        <p:nvSpPr>
          <p:cNvPr id="143" name="Text Placeholder 6">
            <a:extLst>
              <a:ext uri="{FF2B5EF4-FFF2-40B4-BE49-F238E27FC236}">
                <a16:creationId xmlns:a16="http://schemas.microsoft.com/office/drawing/2014/main" id="{F953D556-C770-7D48-83BE-3EAD34AD583E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0" y="1716138"/>
            <a:ext cx="9144000" cy="264600"/>
          </a:xfr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ffectLst/>
        </p:spPr>
        <p:txBody>
          <a:bodyPr lIns="432000" rIns="36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add agenda item</a:t>
            </a:r>
          </a:p>
        </p:txBody>
      </p:sp>
      <p:sp>
        <p:nvSpPr>
          <p:cNvPr id="144" name="Text Placeholder 6">
            <a:extLst>
              <a:ext uri="{FF2B5EF4-FFF2-40B4-BE49-F238E27FC236}">
                <a16:creationId xmlns:a16="http://schemas.microsoft.com/office/drawing/2014/main" id="{91CCF692-76BB-6A4A-885F-E120A2711E82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0" y="1980503"/>
            <a:ext cx="9144000" cy="264600"/>
          </a:xfr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ffectLst/>
        </p:spPr>
        <p:txBody>
          <a:bodyPr lIns="432000" rIns="36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add agenda item</a:t>
            </a:r>
          </a:p>
        </p:txBody>
      </p:sp>
      <p:sp>
        <p:nvSpPr>
          <p:cNvPr id="145" name="Text Placeholder 6">
            <a:extLst>
              <a:ext uri="{FF2B5EF4-FFF2-40B4-BE49-F238E27FC236}">
                <a16:creationId xmlns:a16="http://schemas.microsoft.com/office/drawing/2014/main" id="{0C2671C4-8F73-6846-BED4-E27156554831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0" y="2244867"/>
            <a:ext cx="9144000" cy="264600"/>
          </a:xfr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ffectLst/>
        </p:spPr>
        <p:txBody>
          <a:bodyPr lIns="432000" rIns="36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add agenda item</a:t>
            </a:r>
          </a:p>
        </p:txBody>
      </p:sp>
      <p:sp>
        <p:nvSpPr>
          <p:cNvPr id="146" name="Text Placeholder 6">
            <a:extLst>
              <a:ext uri="{FF2B5EF4-FFF2-40B4-BE49-F238E27FC236}">
                <a16:creationId xmlns:a16="http://schemas.microsoft.com/office/drawing/2014/main" id="{5FA8609C-9B16-FA4C-9F2C-D1248CCE8ACE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0" y="2509232"/>
            <a:ext cx="9144000" cy="264600"/>
          </a:xfr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ffectLst/>
        </p:spPr>
        <p:txBody>
          <a:bodyPr lIns="432000" rIns="36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add agenda item</a:t>
            </a:r>
          </a:p>
        </p:txBody>
      </p:sp>
      <p:sp>
        <p:nvSpPr>
          <p:cNvPr id="147" name="Text Placeholder 6">
            <a:extLst>
              <a:ext uri="{FF2B5EF4-FFF2-40B4-BE49-F238E27FC236}">
                <a16:creationId xmlns:a16="http://schemas.microsoft.com/office/drawing/2014/main" id="{1160FF45-12A6-CA4A-AD6A-594E7B625D99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0" y="2773596"/>
            <a:ext cx="9144000" cy="264600"/>
          </a:xfr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ffectLst/>
        </p:spPr>
        <p:txBody>
          <a:bodyPr lIns="432000" rIns="36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add agenda item</a:t>
            </a:r>
          </a:p>
        </p:txBody>
      </p:sp>
      <p:sp>
        <p:nvSpPr>
          <p:cNvPr id="148" name="Text Placeholder 69">
            <a:extLst>
              <a:ext uri="{FF2B5EF4-FFF2-40B4-BE49-F238E27FC236}">
                <a16:creationId xmlns:a16="http://schemas.microsoft.com/office/drawing/2014/main" id="{36C55682-41D4-2C46-A3E5-75E11CF3010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786170" y="923045"/>
            <a:ext cx="929358" cy="264600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49" name="Text Placeholder 69">
            <a:extLst>
              <a:ext uri="{FF2B5EF4-FFF2-40B4-BE49-F238E27FC236}">
                <a16:creationId xmlns:a16="http://schemas.microsoft.com/office/drawing/2014/main" id="{7A7DE69A-7CAC-2D4F-9EBA-78948412688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786170" y="1187409"/>
            <a:ext cx="929358" cy="264600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50" name="Text Placeholder 69">
            <a:extLst>
              <a:ext uri="{FF2B5EF4-FFF2-40B4-BE49-F238E27FC236}">
                <a16:creationId xmlns:a16="http://schemas.microsoft.com/office/drawing/2014/main" id="{8C8F8AB9-E553-FD43-9A74-A94070ABC6D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86170" y="1451774"/>
            <a:ext cx="929358" cy="264600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51" name="Text Placeholder 69">
            <a:extLst>
              <a:ext uri="{FF2B5EF4-FFF2-40B4-BE49-F238E27FC236}">
                <a16:creationId xmlns:a16="http://schemas.microsoft.com/office/drawing/2014/main" id="{34397210-0F6A-4541-BF87-6238DCF7C31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786170" y="1716138"/>
            <a:ext cx="929358" cy="264600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52" name="Text Placeholder 69">
            <a:extLst>
              <a:ext uri="{FF2B5EF4-FFF2-40B4-BE49-F238E27FC236}">
                <a16:creationId xmlns:a16="http://schemas.microsoft.com/office/drawing/2014/main" id="{36CB0180-6E7E-6345-BDFC-A24B6037542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86170" y="1980503"/>
            <a:ext cx="929358" cy="264600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53" name="Text Placeholder 69">
            <a:extLst>
              <a:ext uri="{FF2B5EF4-FFF2-40B4-BE49-F238E27FC236}">
                <a16:creationId xmlns:a16="http://schemas.microsoft.com/office/drawing/2014/main" id="{3CDC531E-C59A-6648-B4C3-453444CE827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786170" y="2244867"/>
            <a:ext cx="929358" cy="264600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54" name="Text Placeholder 69">
            <a:extLst>
              <a:ext uri="{FF2B5EF4-FFF2-40B4-BE49-F238E27FC236}">
                <a16:creationId xmlns:a16="http://schemas.microsoft.com/office/drawing/2014/main" id="{BB4EABB9-2DDE-734C-86AB-12B8EF0C614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786170" y="2509232"/>
            <a:ext cx="929358" cy="264600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55" name="Text Placeholder 69">
            <a:extLst>
              <a:ext uri="{FF2B5EF4-FFF2-40B4-BE49-F238E27FC236}">
                <a16:creationId xmlns:a16="http://schemas.microsoft.com/office/drawing/2014/main" id="{51A31BC1-EC5B-CB48-906F-8A670330B3E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786170" y="2773596"/>
            <a:ext cx="929358" cy="264600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56" name="Text Placeholder 6">
            <a:extLst>
              <a:ext uri="{FF2B5EF4-FFF2-40B4-BE49-F238E27FC236}">
                <a16:creationId xmlns:a16="http://schemas.microsoft.com/office/drawing/2014/main" id="{CA10688B-9A84-134D-8815-3C14EE382980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0" y="3037961"/>
            <a:ext cx="9144000" cy="264600"/>
          </a:xfr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ffectLst/>
        </p:spPr>
        <p:txBody>
          <a:bodyPr lIns="432000" rIns="36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add agenda item</a:t>
            </a:r>
          </a:p>
        </p:txBody>
      </p:sp>
      <p:sp>
        <p:nvSpPr>
          <p:cNvPr id="157" name="Text Placeholder 69">
            <a:extLst>
              <a:ext uri="{FF2B5EF4-FFF2-40B4-BE49-F238E27FC236}">
                <a16:creationId xmlns:a16="http://schemas.microsoft.com/office/drawing/2014/main" id="{2CC5EBD5-D4B3-9A4D-9E40-19DDAE3DAEF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786170" y="3037961"/>
            <a:ext cx="929358" cy="264600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58" name="Text Placeholder 6">
            <a:extLst>
              <a:ext uri="{FF2B5EF4-FFF2-40B4-BE49-F238E27FC236}">
                <a16:creationId xmlns:a16="http://schemas.microsoft.com/office/drawing/2014/main" id="{FB2BCC6B-9E0C-6B4D-BFAF-3D33A4C41128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0" y="3302325"/>
            <a:ext cx="9144000" cy="264600"/>
          </a:xfr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ffectLst/>
        </p:spPr>
        <p:txBody>
          <a:bodyPr lIns="432000" rIns="36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add agenda item</a:t>
            </a:r>
          </a:p>
        </p:txBody>
      </p:sp>
      <p:sp>
        <p:nvSpPr>
          <p:cNvPr id="159" name="Text Placeholder 69">
            <a:extLst>
              <a:ext uri="{FF2B5EF4-FFF2-40B4-BE49-F238E27FC236}">
                <a16:creationId xmlns:a16="http://schemas.microsoft.com/office/drawing/2014/main" id="{1AF143A3-F8D7-B34D-9F19-6EA9A69EE4F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786170" y="3302325"/>
            <a:ext cx="929358" cy="264600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60" name="Text Placeholder 6">
            <a:extLst>
              <a:ext uri="{FF2B5EF4-FFF2-40B4-BE49-F238E27FC236}">
                <a16:creationId xmlns:a16="http://schemas.microsoft.com/office/drawing/2014/main" id="{F9389DF8-3B53-1B40-A060-E67F5DE54FBC}"/>
              </a:ext>
            </a:extLst>
          </p:cNvPr>
          <p:cNvSpPr>
            <a:spLocks noGrp="1"/>
          </p:cNvSpPr>
          <p:nvPr>
            <p:ph type="body" idx="33" hasCustomPrompt="1"/>
          </p:nvPr>
        </p:nvSpPr>
        <p:spPr>
          <a:xfrm>
            <a:off x="0" y="3566689"/>
            <a:ext cx="9144000" cy="264600"/>
          </a:xfr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ffectLst/>
        </p:spPr>
        <p:txBody>
          <a:bodyPr lIns="432000" rIns="36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add agenda item</a:t>
            </a:r>
          </a:p>
        </p:txBody>
      </p:sp>
      <p:sp>
        <p:nvSpPr>
          <p:cNvPr id="161" name="Text Placeholder 69">
            <a:extLst>
              <a:ext uri="{FF2B5EF4-FFF2-40B4-BE49-F238E27FC236}">
                <a16:creationId xmlns:a16="http://schemas.microsoft.com/office/drawing/2014/main" id="{8FB5E79E-4CE6-7348-93FF-FB68EFF84A0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786170" y="3566689"/>
            <a:ext cx="929358" cy="264600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62" name="Text Placeholder 6">
            <a:extLst>
              <a:ext uri="{FF2B5EF4-FFF2-40B4-BE49-F238E27FC236}">
                <a16:creationId xmlns:a16="http://schemas.microsoft.com/office/drawing/2014/main" id="{87654A3A-847F-514C-80BD-916D718925CF}"/>
              </a:ext>
            </a:extLst>
          </p:cNvPr>
          <p:cNvSpPr>
            <a:spLocks noGrp="1"/>
          </p:cNvSpPr>
          <p:nvPr>
            <p:ph type="body" idx="35" hasCustomPrompt="1"/>
          </p:nvPr>
        </p:nvSpPr>
        <p:spPr>
          <a:xfrm>
            <a:off x="0" y="3831054"/>
            <a:ext cx="9144000" cy="264600"/>
          </a:xfr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ffectLst/>
        </p:spPr>
        <p:txBody>
          <a:bodyPr lIns="432000" rIns="36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add agenda item</a:t>
            </a:r>
          </a:p>
        </p:txBody>
      </p:sp>
      <p:sp>
        <p:nvSpPr>
          <p:cNvPr id="163" name="Text Placeholder 69">
            <a:extLst>
              <a:ext uri="{FF2B5EF4-FFF2-40B4-BE49-F238E27FC236}">
                <a16:creationId xmlns:a16="http://schemas.microsoft.com/office/drawing/2014/main" id="{EAC4FBD6-5E88-E34F-8DC2-FB0F2C07771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786170" y="3831054"/>
            <a:ext cx="929358" cy="264600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64" name="Text Placeholder 6">
            <a:extLst>
              <a:ext uri="{FF2B5EF4-FFF2-40B4-BE49-F238E27FC236}">
                <a16:creationId xmlns:a16="http://schemas.microsoft.com/office/drawing/2014/main" id="{4169DB4D-BE6F-E041-BBF4-2D644201504F}"/>
              </a:ext>
            </a:extLst>
          </p:cNvPr>
          <p:cNvSpPr>
            <a:spLocks noGrp="1"/>
          </p:cNvSpPr>
          <p:nvPr>
            <p:ph type="body" idx="37" hasCustomPrompt="1"/>
          </p:nvPr>
        </p:nvSpPr>
        <p:spPr>
          <a:xfrm>
            <a:off x="0" y="4095419"/>
            <a:ext cx="9144000" cy="264600"/>
          </a:xfr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ffectLst/>
        </p:spPr>
        <p:txBody>
          <a:bodyPr lIns="432000" rIns="36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add agenda item</a:t>
            </a:r>
          </a:p>
        </p:txBody>
      </p:sp>
      <p:sp>
        <p:nvSpPr>
          <p:cNvPr id="165" name="Text Placeholder 69">
            <a:extLst>
              <a:ext uri="{FF2B5EF4-FFF2-40B4-BE49-F238E27FC236}">
                <a16:creationId xmlns:a16="http://schemas.microsoft.com/office/drawing/2014/main" id="{EF574AB8-FA67-6841-815F-020BC196CFE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786170" y="4095419"/>
            <a:ext cx="929358" cy="264600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66" name="Text Placeholder 6">
            <a:extLst>
              <a:ext uri="{FF2B5EF4-FFF2-40B4-BE49-F238E27FC236}">
                <a16:creationId xmlns:a16="http://schemas.microsoft.com/office/drawing/2014/main" id="{0459AF7C-F9C3-8848-B7D8-3D970B0ABB9C}"/>
              </a:ext>
            </a:extLst>
          </p:cNvPr>
          <p:cNvSpPr>
            <a:spLocks noGrp="1"/>
          </p:cNvSpPr>
          <p:nvPr>
            <p:ph type="body" idx="39" hasCustomPrompt="1"/>
          </p:nvPr>
        </p:nvSpPr>
        <p:spPr>
          <a:xfrm>
            <a:off x="0" y="4359788"/>
            <a:ext cx="9144000" cy="264600"/>
          </a:xfr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ffectLst/>
        </p:spPr>
        <p:txBody>
          <a:bodyPr lIns="432000" rIns="36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add agenda item</a:t>
            </a:r>
          </a:p>
        </p:txBody>
      </p:sp>
      <p:sp>
        <p:nvSpPr>
          <p:cNvPr id="167" name="Text Placeholder 69">
            <a:extLst>
              <a:ext uri="{FF2B5EF4-FFF2-40B4-BE49-F238E27FC236}">
                <a16:creationId xmlns:a16="http://schemas.microsoft.com/office/drawing/2014/main" id="{A130898E-B3C8-8D4A-86AB-EE7C88D7DE71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786170" y="4359788"/>
            <a:ext cx="929358" cy="264600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1BD1BB5F-2891-C741-80FB-ACCBFEFCAA72}"/>
              </a:ext>
            </a:extLst>
          </p:cNvPr>
          <p:cNvSpPr>
            <a:spLocks noGrp="1"/>
          </p:cNvSpPr>
          <p:nvPr>
            <p:ph type="dt" sz="half" idx="13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FD48C64-B26D-4248-ADFF-B57DB1CAC3A7}"/>
              </a:ext>
            </a:extLst>
          </p:cNvPr>
          <p:cNvSpPr>
            <a:spLocks noGrp="1"/>
          </p:cNvSpPr>
          <p:nvPr>
            <p:ph type="ftr" sz="quarter" idx="13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B1FDB9A5-CCD3-A540-98D5-77F33D645D45}"/>
              </a:ext>
            </a:extLst>
          </p:cNvPr>
          <p:cNvSpPr>
            <a:spLocks noGrp="1"/>
          </p:cNvSpPr>
          <p:nvPr>
            <p:ph type="sldNum" sz="quarter" idx="138"/>
          </p:nvPr>
        </p:nvSpPr>
        <p:spPr/>
        <p:txBody>
          <a:bodyPr/>
          <a:lstStyle/>
          <a:p>
            <a:pPr marL="9525"/>
            <a:fld id="{078C017C-E1B9-8443-B047-B08AAA027B45}" type="slidenum">
              <a:rPr lang="en-US" smtClean="0"/>
              <a:pPr marL="9525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16223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Agenda (Photo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Group 40">
            <a:extLst>
              <a:ext uri="{FF2B5EF4-FFF2-40B4-BE49-F238E27FC236}">
                <a16:creationId xmlns:a16="http://schemas.microsoft.com/office/drawing/2014/main" id="{270AAB3A-1F8E-7547-BC5B-D622E7ABEECC}"/>
              </a:ext>
            </a:extLst>
          </p:cNvPr>
          <p:cNvGrpSpPr/>
          <p:nvPr userDrawn="1"/>
        </p:nvGrpSpPr>
        <p:grpSpPr>
          <a:xfrm>
            <a:off x="9399182" y="0"/>
            <a:ext cx="2874210" cy="7447361"/>
            <a:chOff x="9399182" y="0"/>
            <a:chExt cx="2874210" cy="9929814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853DAC75-2764-F94B-801B-7E41553AA7A9}"/>
                </a:ext>
              </a:extLst>
            </p:cNvPr>
            <p:cNvSpPr/>
            <p:nvPr userDrawn="1"/>
          </p:nvSpPr>
          <p:spPr>
            <a:xfrm>
              <a:off x="9399182" y="0"/>
              <a:ext cx="2798651" cy="974407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666BA62E-8407-214E-9983-5B95C260B124}"/>
                </a:ext>
              </a:extLst>
            </p:cNvPr>
            <p:cNvSpPr txBox="1"/>
            <p:nvPr userDrawn="1"/>
          </p:nvSpPr>
          <p:spPr>
            <a:xfrm>
              <a:off x="9558507" y="150291"/>
              <a:ext cx="1396216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sz="825">
                  <a:solidFill>
                    <a:schemeClr val="bg1"/>
                  </a:solidFill>
                </a:rPr>
                <a:t>HOW TO USE THE AGENDA</a:t>
              </a:r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3EC19388-C76B-7448-9EDE-BDA3BAB9D41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352907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7D14489D-EBF9-F043-8D0D-58D847FBFD92}"/>
                </a:ext>
              </a:extLst>
            </p:cNvPr>
            <p:cNvSpPr/>
            <p:nvPr/>
          </p:nvSpPr>
          <p:spPr>
            <a:xfrm>
              <a:off x="9686427" y="1588636"/>
              <a:ext cx="2453290" cy="406238"/>
            </a:xfrm>
            <a:prstGeom prst="rect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050"/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669A9012-D270-2448-A4FD-E180D5741CB9}"/>
                </a:ext>
              </a:extLst>
            </p:cNvPr>
            <p:cNvGrpSpPr/>
            <p:nvPr/>
          </p:nvGrpSpPr>
          <p:grpSpPr>
            <a:xfrm>
              <a:off x="9686426" y="2097613"/>
              <a:ext cx="2284506" cy="249298"/>
              <a:chOff x="9431244" y="2862535"/>
              <a:chExt cx="2284506" cy="249298"/>
            </a:xfrm>
          </p:grpSpPr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5AA31A6C-B76D-D84E-926A-385AA59C712C}"/>
                  </a:ext>
                </a:extLst>
              </p:cNvPr>
              <p:cNvSpPr txBox="1"/>
              <p:nvPr/>
            </p:nvSpPr>
            <p:spPr>
              <a:xfrm>
                <a:off x="9431244" y="2862535"/>
                <a:ext cx="2284506" cy="249298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675"/>
                  <a:t>Click the Format Painter button (           ) to copy the style.</a:t>
                </a:r>
              </a:p>
            </p:txBody>
          </p:sp>
          <p:pic>
            <p:nvPicPr>
              <p:cNvPr id="39" name="Picture 38">
                <a:extLst>
                  <a:ext uri="{FF2B5EF4-FFF2-40B4-BE49-F238E27FC236}">
                    <a16:creationId xmlns:a16="http://schemas.microsoft.com/office/drawing/2014/main" id="{1CC21A02-B792-AF47-96A4-A59105B1179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1216812" y="2866153"/>
                <a:ext cx="340854" cy="113618"/>
              </a:xfrm>
              <a:prstGeom prst="rect">
                <a:avLst/>
              </a:prstGeom>
            </p:spPr>
          </p:pic>
        </p:grp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594CFB75-D1BB-CC4A-B543-DF9749A36F98}"/>
                </a:ext>
              </a:extLst>
            </p:cNvPr>
            <p:cNvSpPr txBox="1"/>
            <p:nvPr/>
          </p:nvSpPr>
          <p:spPr>
            <a:xfrm>
              <a:off x="9686426" y="2398747"/>
              <a:ext cx="2294082" cy="2492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1">
                <a:defRPr/>
              </a:pPr>
              <a:r>
                <a:rPr lang="en-US" sz="675"/>
                <a:t>Click anywhere on the current agenda item (on the text works here) to apply the highlight style.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23193EDF-0188-094A-8A3E-60EB6775D122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9521833" y="538142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375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1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AC0A9960-B8B4-3D4C-981C-922D7EC98DE6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9521833" y="862246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375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2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E879CA51-8AA7-5B46-8B51-CCC7D4DEF501}"/>
                </a:ext>
              </a:extLst>
            </p:cNvPr>
            <p:cNvSpPr txBox="1"/>
            <p:nvPr/>
          </p:nvSpPr>
          <p:spPr>
            <a:xfrm>
              <a:off x="9811647" y="1339804"/>
              <a:ext cx="2234098" cy="215444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525" b="1">
                  <a:solidFill>
                    <a:schemeClr val="bg1">
                      <a:lumMod val="85000"/>
                    </a:schemeClr>
                  </a:solidFill>
                </a:rPr>
                <a:t>Click the element border to select the shape</a:t>
              </a:r>
              <a:r>
                <a:rPr lang="en-US" sz="525">
                  <a:solidFill>
                    <a:schemeClr val="bg1">
                      <a:lumMod val="85000"/>
                    </a:schemeClr>
                  </a:solidFill>
                </a:rPr>
                <a:t>—it won’t work correctly if you have your cursor in the text.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2F0D17E0-6EFC-8B4C-BB2F-25990B9D14AE}"/>
                </a:ext>
              </a:extLst>
            </p:cNvPr>
            <p:cNvSpPr txBox="1"/>
            <p:nvPr userDrawn="1"/>
          </p:nvSpPr>
          <p:spPr>
            <a:xfrm>
              <a:off x="9686426" y="513115"/>
              <a:ext cx="2327834" cy="883233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sz="788"/>
                <a:t>Enter agenda items as needed.</a:t>
              </a:r>
            </a:p>
            <a:p>
              <a:pPr lvl="0"/>
              <a:r>
                <a:rPr lang="en-US" sz="788"/>
                <a:t>Apply the highlight marker to the current agenda item.</a:t>
              </a:r>
            </a:p>
            <a:p>
              <a:pPr lvl="1"/>
              <a:r>
                <a:rPr lang="en-US" sz="675"/>
                <a:t>Select the element below:</a:t>
              </a: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1B35E7F5-A8FC-E341-928F-8F1C42C01FE4}"/>
                </a:ext>
              </a:extLst>
            </p:cNvPr>
            <p:cNvGrpSpPr/>
            <p:nvPr/>
          </p:nvGrpSpPr>
          <p:grpSpPr>
            <a:xfrm>
              <a:off x="9521833" y="2859865"/>
              <a:ext cx="2545476" cy="924527"/>
              <a:chOff x="9266651" y="2105587"/>
              <a:chExt cx="2545476" cy="924527"/>
            </a:xfrm>
          </p:grpSpPr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CC0F517F-CFE4-1D43-9DEA-FE4CA6FDDFEC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9266651" y="2124496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375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3</a:t>
                </a: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0A403294-57CC-B74C-A9E2-F6DA8B35535D}"/>
                  </a:ext>
                </a:extLst>
              </p:cNvPr>
              <p:cNvSpPr txBox="1"/>
              <p:nvPr/>
            </p:nvSpPr>
            <p:spPr>
              <a:xfrm>
                <a:off x="9431244" y="2105587"/>
                <a:ext cx="2380883" cy="92452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0"/>
                <a:r>
                  <a:rPr lang="en-US" sz="788"/>
                  <a:t>Duplicate the slide to create the</a:t>
                </a:r>
                <a:br>
                  <a:rPr lang="en-US" sz="788"/>
                </a:br>
                <a:r>
                  <a:rPr lang="en-US" sz="788"/>
                  <a:t>other section dividers.</a:t>
                </a:r>
              </a:p>
              <a:p>
                <a:pPr lvl="1"/>
                <a:r>
                  <a:rPr lang="en-US" sz="675"/>
                  <a:t>Use Format Painter to copy the normal style onto the previous highlighted item.</a:t>
                </a:r>
              </a:p>
              <a:p>
                <a:pPr lvl="1"/>
                <a:r>
                  <a:rPr lang="en-US" sz="675"/>
                  <a:t>Then repeat step 2 to highlight the new current agenda item.</a:t>
                </a:r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1F7C72B2-FE96-1A47-B6A2-F9EF2CE88FD7}"/>
                </a:ext>
              </a:extLst>
            </p:cNvPr>
            <p:cNvGrpSpPr/>
            <p:nvPr userDrawn="1"/>
          </p:nvGrpSpPr>
          <p:grpSpPr>
            <a:xfrm>
              <a:off x="9518577" y="3853669"/>
              <a:ext cx="2754815" cy="6076145"/>
              <a:chOff x="9266651" y="185338"/>
              <a:chExt cx="2754815" cy="6076145"/>
            </a:xfrm>
          </p:grpSpPr>
          <p:sp>
            <p:nvSpPr>
              <p:cNvPr id="80" name="TextBox 79">
                <a:extLst>
                  <a:ext uri="{FF2B5EF4-FFF2-40B4-BE49-F238E27FC236}">
                    <a16:creationId xmlns:a16="http://schemas.microsoft.com/office/drawing/2014/main" id="{BDDFA1E5-2D54-1F4E-923A-1EBF3193D53E}"/>
                  </a:ext>
                </a:extLst>
              </p:cNvPr>
              <p:cNvSpPr txBox="1"/>
              <p:nvPr userDrawn="1"/>
            </p:nvSpPr>
            <p:spPr>
              <a:xfrm>
                <a:off x="9303325" y="185338"/>
                <a:ext cx="1231106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sz="825">
                    <a:solidFill>
                      <a:schemeClr val="bg1"/>
                    </a:solidFill>
                  </a:rPr>
                  <a:t>HOW TO ADD AN IMAGE</a:t>
                </a:r>
              </a:p>
            </p:txBody>
          </p: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0BE3F141-44E1-284B-B8E2-CC13393265B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303325" y="38795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2" name="TextBox 81">
                <a:extLst>
                  <a:ext uri="{FF2B5EF4-FFF2-40B4-BE49-F238E27FC236}">
                    <a16:creationId xmlns:a16="http://schemas.microsoft.com/office/drawing/2014/main" id="{3991E50F-278F-5C43-8750-BC1E56B6BC1D}"/>
                  </a:ext>
                </a:extLst>
              </p:cNvPr>
              <p:cNvSpPr txBox="1"/>
              <p:nvPr userDrawn="1"/>
            </p:nvSpPr>
            <p:spPr>
              <a:xfrm>
                <a:off x="9431244" y="1246265"/>
                <a:ext cx="2297338" cy="28913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 b="1"/>
                  <a:t>Method 1: </a:t>
                </a:r>
                <a:r>
                  <a:rPr lang="en-US" sz="450" b="0"/>
                  <a:t>from file browser</a:t>
                </a:r>
              </a:p>
              <a:p>
                <a:pPr lvl="1">
                  <a:buNone/>
                </a:pPr>
                <a:r>
                  <a:rPr lang="en-US" sz="788"/>
                  <a:t>Drag the image onto the slide.</a:t>
                </a:r>
              </a:p>
            </p:txBody>
          </p:sp>
          <p:grpSp>
            <p:nvGrpSpPr>
              <p:cNvPr id="98" name="Group 97">
                <a:extLst>
                  <a:ext uri="{FF2B5EF4-FFF2-40B4-BE49-F238E27FC236}">
                    <a16:creationId xmlns:a16="http://schemas.microsoft.com/office/drawing/2014/main" id="{83F30A99-B1CD-AB4C-82B9-107FF3C5DE2E}"/>
                  </a:ext>
                </a:extLst>
              </p:cNvPr>
              <p:cNvGrpSpPr/>
              <p:nvPr userDrawn="1"/>
            </p:nvGrpSpPr>
            <p:grpSpPr>
              <a:xfrm>
                <a:off x="9286315" y="4787849"/>
                <a:ext cx="2735151" cy="1473634"/>
                <a:chOff x="9296567" y="4910412"/>
                <a:chExt cx="2735151" cy="1473634"/>
              </a:xfrm>
            </p:grpSpPr>
            <p:sp>
              <p:nvSpPr>
                <p:cNvPr id="100" name="Rectangle 99">
                  <a:extLst>
                    <a:ext uri="{FF2B5EF4-FFF2-40B4-BE49-F238E27FC236}">
                      <a16:creationId xmlns:a16="http://schemas.microsoft.com/office/drawing/2014/main" id="{F72F3191-3FD2-CD4E-BA75-7160E4514679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2"/>
                  <a:ext cx="2735151" cy="1473634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  <p:sp>
              <p:nvSpPr>
                <p:cNvPr id="101" name="TextBox 100">
                  <a:extLst>
                    <a:ext uri="{FF2B5EF4-FFF2-40B4-BE49-F238E27FC236}">
                      <a16:creationId xmlns:a16="http://schemas.microsoft.com/office/drawing/2014/main" id="{324B7A18-40EA-AC4F-814A-1584DE95586F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8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hange Image</a:t>
                  </a:r>
                </a:p>
              </p:txBody>
            </p:sp>
            <p:pic>
              <p:nvPicPr>
                <p:cNvPr id="102" name="Graphic 101">
                  <a:extLst>
                    <a:ext uri="{FF2B5EF4-FFF2-40B4-BE49-F238E27FC236}">
                      <a16:creationId xmlns:a16="http://schemas.microsoft.com/office/drawing/2014/main" id="{824C424F-47CC-5B4E-9503-43961DF4F9BD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103" name="TextBox 102">
                  <a:extLst>
                    <a:ext uri="{FF2B5EF4-FFF2-40B4-BE49-F238E27FC236}">
                      <a16:creationId xmlns:a16="http://schemas.microsoft.com/office/drawing/2014/main" id="{960DA147-99F9-6D46-940D-A010FCA6A940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619194"/>
                  <a:ext cx="2422981" cy="37394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01204" lvl="1" indent="-98822" algn="l" defTabSz="6858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225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Deleting the image may bring the image placeholder to the top layer. Right-click on the placeholder and choose “Send to Back”.</a:t>
                  </a:r>
                </a:p>
              </p:txBody>
            </p:sp>
            <p:sp>
              <p:nvSpPr>
                <p:cNvPr id="104" name="TextBox 103">
                  <a:extLst>
                    <a:ext uri="{FF2B5EF4-FFF2-40B4-BE49-F238E27FC236}">
                      <a16:creationId xmlns:a16="http://schemas.microsoft.com/office/drawing/2014/main" id="{081D9AF4-EBB7-BF4C-B301-A60743D4AF62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300350"/>
                  <a:ext cx="2422981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685800" rtl="0" eaLnBrk="1" latinLnBrk="0" hangingPunct="1">
                    <a:spcBef>
                      <a:spcPts val="150"/>
                    </a:spcBef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First, delete the existing image to reset the photo placeholder functionality.</a:t>
                  </a:r>
                </a:p>
              </p:txBody>
            </p:sp>
            <p:sp>
              <p:nvSpPr>
                <p:cNvPr id="105" name="TextBox 104">
                  <a:extLst>
                    <a:ext uri="{FF2B5EF4-FFF2-40B4-BE49-F238E27FC236}">
                      <a16:creationId xmlns:a16="http://schemas.microsoft.com/office/drawing/2014/main" id="{F85957B1-8118-9A45-9222-78DA6A1E692E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076239"/>
                  <a:ext cx="2422981" cy="138500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685800" rtl="0" eaLnBrk="1" latinLnBrk="0" hangingPunct="1">
                    <a:spcBef>
                      <a:spcPts val="150"/>
                    </a:spcBef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You can now add a new image as normal.</a:t>
                  </a:r>
                </a:p>
              </p:txBody>
            </p:sp>
          </p:grpSp>
          <p:grpSp>
            <p:nvGrpSpPr>
              <p:cNvPr id="84" name="Group 83">
                <a:extLst>
                  <a:ext uri="{FF2B5EF4-FFF2-40B4-BE49-F238E27FC236}">
                    <a16:creationId xmlns:a16="http://schemas.microsoft.com/office/drawing/2014/main" id="{2451E775-897C-3240-87F1-FE1B59EC3995}"/>
                  </a:ext>
                </a:extLst>
              </p:cNvPr>
              <p:cNvGrpSpPr/>
              <p:nvPr userDrawn="1"/>
            </p:nvGrpSpPr>
            <p:grpSpPr>
              <a:xfrm>
                <a:off x="9286315" y="3431192"/>
                <a:ext cx="2735151" cy="1280928"/>
                <a:chOff x="9286315" y="6976989"/>
                <a:chExt cx="2735151" cy="1280928"/>
              </a:xfrm>
            </p:grpSpPr>
            <p:sp>
              <p:nvSpPr>
                <p:cNvPr id="93" name="Rectangle 92">
                  <a:extLst>
                    <a:ext uri="{FF2B5EF4-FFF2-40B4-BE49-F238E27FC236}">
                      <a16:creationId xmlns:a16="http://schemas.microsoft.com/office/drawing/2014/main" id="{BB7CAF8A-39AD-C546-8915-185237EB5B15}"/>
                    </a:ext>
                  </a:extLst>
                </p:cNvPr>
                <p:cNvSpPr/>
                <p:nvPr userDrawn="1"/>
              </p:nvSpPr>
              <p:spPr>
                <a:xfrm>
                  <a:off x="9286315" y="6976989"/>
                  <a:ext cx="2735151" cy="1280928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  <p:sp>
              <p:nvSpPr>
                <p:cNvPr id="94" name="TextBox 93">
                  <a:extLst>
                    <a:ext uri="{FF2B5EF4-FFF2-40B4-BE49-F238E27FC236}">
                      <a16:creationId xmlns:a16="http://schemas.microsoft.com/office/drawing/2014/main" id="{C07F080B-FE36-C347-BD87-97C6AD55ADFD}"/>
                    </a:ext>
                  </a:extLst>
                </p:cNvPr>
                <p:cNvSpPr txBox="1"/>
                <p:nvPr userDrawn="1"/>
              </p:nvSpPr>
              <p:spPr>
                <a:xfrm>
                  <a:off x="9652506" y="7105788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8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rop Image</a:t>
                  </a:r>
                </a:p>
              </p:txBody>
            </p:sp>
            <p:pic>
              <p:nvPicPr>
                <p:cNvPr id="95" name="Graphic 94">
                  <a:extLst>
                    <a:ext uri="{FF2B5EF4-FFF2-40B4-BE49-F238E27FC236}">
                      <a16:creationId xmlns:a16="http://schemas.microsoft.com/office/drawing/2014/main" id="{AC53915D-6A22-0A40-8A2B-4B3226EA5B97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46538" y="7116071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96" name="TextBox 95">
                  <a:extLst>
                    <a:ext uri="{FF2B5EF4-FFF2-40B4-BE49-F238E27FC236}">
                      <a16:creationId xmlns:a16="http://schemas.microsoft.com/office/drawing/2014/main" id="{EE04E77D-44DF-3D4F-8CB4-3D9B1228C4A8}"/>
                    </a:ext>
                  </a:extLst>
                </p:cNvPr>
                <p:cNvSpPr txBox="1"/>
                <p:nvPr userDrawn="1"/>
              </p:nvSpPr>
              <p:spPr>
                <a:xfrm>
                  <a:off x="9446538" y="7369972"/>
                  <a:ext cx="2384904" cy="777136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Right-click on the image.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Choose “Crop” from the menu. (       )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Adjust the size and position of the image.</a:t>
                  </a:r>
                </a:p>
                <a:p>
                  <a:pPr lvl="1">
                    <a:defRPr/>
                  </a:pPr>
                  <a:r>
                    <a:rPr lang="en-US" sz="675" kern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Press Esc or click outside the image area to exit the cropping mode.</a:t>
                  </a:r>
                </a:p>
              </p:txBody>
            </p:sp>
            <p:pic>
              <p:nvPicPr>
                <p:cNvPr id="97" name="Picture 96">
                  <a:extLst>
                    <a:ext uri="{FF2B5EF4-FFF2-40B4-BE49-F238E27FC236}">
                      <a16:creationId xmlns:a16="http://schemas.microsoft.com/office/drawing/2014/main" id="{5E0CC428-D7B2-C14A-B7B1-DA955AE9FA5B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 rotWithShape="1">
                <a:blip r:embed="rId4"/>
                <a:srcRect l="33684" t="12097" r="43371" b="20368"/>
                <a:stretch/>
              </p:blipFill>
              <p:spPr>
                <a:xfrm>
                  <a:off x="11243541" y="7454405"/>
                  <a:ext cx="136897" cy="213643"/>
                </a:xfrm>
                <a:prstGeom prst="rect">
                  <a:avLst/>
                </a:prstGeom>
                <a:ln w="19050">
                  <a:solidFill>
                    <a:schemeClr val="accent3">
                      <a:lumMod val="60000"/>
                      <a:lumOff val="40000"/>
                    </a:schemeClr>
                  </a:solidFill>
                </a:ln>
              </p:spPr>
            </p:pic>
          </p:grpSp>
          <p:grpSp>
            <p:nvGrpSpPr>
              <p:cNvPr id="85" name="Group 84">
                <a:extLst>
                  <a:ext uri="{FF2B5EF4-FFF2-40B4-BE49-F238E27FC236}">
                    <a16:creationId xmlns:a16="http://schemas.microsoft.com/office/drawing/2014/main" id="{F58B63AF-D922-CD49-BC43-4169636672FA}"/>
                  </a:ext>
                </a:extLst>
              </p:cNvPr>
              <p:cNvGrpSpPr/>
              <p:nvPr userDrawn="1"/>
            </p:nvGrpSpPr>
            <p:grpSpPr>
              <a:xfrm>
                <a:off x="9266651" y="510458"/>
                <a:ext cx="2617883" cy="707288"/>
                <a:chOff x="12352022" y="513115"/>
                <a:chExt cx="2617883" cy="707288"/>
              </a:xfrm>
            </p:grpSpPr>
            <p:sp>
              <p:nvSpPr>
                <p:cNvPr id="90" name="TextBox 89">
                  <a:extLst>
                    <a:ext uri="{FF2B5EF4-FFF2-40B4-BE49-F238E27FC236}">
                      <a16:creationId xmlns:a16="http://schemas.microsoft.com/office/drawing/2014/main" id="{FC2CEFD3-F990-E046-992D-8FEABF5829F8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375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91" name="TextBox 90">
                  <a:extLst>
                    <a:ext uri="{FF2B5EF4-FFF2-40B4-BE49-F238E27FC236}">
                      <a16:creationId xmlns:a16="http://schemas.microsoft.com/office/drawing/2014/main" id="{7F412C02-87CB-E340-8BE6-07A1D513485E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1033696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375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2</a:t>
                  </a:r>
                </a:p>
              </p:txBody>
            </p:sp>
            <p:sp>
              <p:nvSpPr>
                <p:cNvPr id="92" name="TextBox 91">
                  <a:extLst>
                    <a:ext uri="{FF2B5EF4-FFF2-40B4-BE49-F238E27FC236}">
                      <a16:creationId xmlns:a16="http://schemas.microsoft.com/office/drawing/2014/main" id="{798508BC-3719-F043-963D-F484982CF8AE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453290" cy="70728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sz="788"/>
                    <a:t>Select and download images from the Marketing Resource Database.</a:t>
                  </a:r>
                </a:p>
                <a:p>
                  <a:pPr lvl="0"/>
                  <a:r>
                    <a:rPr lang="en-US" sz="788"/>
                    <a:t>Add the image to the placeholder.</a:t>
                  </a:r>
                </a:p>
              </p:txBody>
            </p:sp>
          </p:grpSp>
          <p:sp>
            <p:nvSpPr>
              <p:cNvPr id="86" name="TextBox 85">
                <a:extLst>
                  <a:ext uri="{FF2B5EF4-FFF2-40B4-BE49-F238E27FC236}">
                    <a16:creationId xmlns:a16="http://schemas.microsoft.com/office/drawing/2014/main" id="{74207B05-5316-FE4E-BDED-E91DB8AF1403}"/>
                  </a:ext>
                </a:extLst>
              </p:cNvPr>
              <p:cNvSpPr txBox="1"/>
              <p:nvPr userDrawn="1"/>
            </p:nvSpPr>
            <p:spPr>
              <a:xfrm>
                <a:off x="9419085" y="1529570"/>
                <a:ext cx="2374733" cy="32316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/>
                  <a:t>Note: If there are multiple image placeholders on the slide, select the intended placeholder before dragging in the image to let PowerPoint know where you want it.</a:t>
                </a:r>
              </a:p>
            </p:txBody>
          </p:sp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F8455CF3-6D2B-5345-A527-CD6EF4176CE7}"/>
                  </a:ext>
                </a:extLst>
              </p:cNvPr>
              <p:cNvSpPr txBox="1"/>
              <p:nvPr userDrawn="1"/>
            </p:nvSpPr>
            <p:spPr>
              <a:xfrm>
                <a:off x="9431244" y="1944827"/>
                <a:ext cx="2297338" cy="63145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/>
                  <a:t>Method 2: </a:t>
                </a:r>
                <a:r>
                  <a:rPr lang="en-US" sz="450" b="0"/>
                  <a:t>Paste from clipboard</a:t>
                </a:r>
              </a:p>
              <a:p>
                <a:pPr lvl="1">
                  <a:buNone/>
                </a:pPr>
                <a:r>
                  <a:rPr lang="en-US" sz="788"/>
                  <a:t>Select the image placeholder.</a:t>
                </a:r>
              </a:p>
              <a:p>
                <a:pPr lvl="1">
                  <a:buNone/>
                </a:pPr>
                <a:r>
                  <a:rPr lang="en-US" sz="788"/>
                  <a:t>Right-click or use keyboard shortcuts to paste the image.</a:t>
                </a:r>
              </a:p>
            </p:txBody>
          </p:sp>
          <p:sp>
            <p:nvSpPr>
              <p:cNvPr id="88" name="TextBox 87">
                <a:extLst>
                  <a:ext uri="{FF2B5EF4-FFF2-40B4-BE49-F238E27FC236}">
                    <a16:creationId xmlns:a16="http://schemas.microsoft.com/office/drawing/2014/main" id="{0E69DB1A-1E4B-7947-AEE8-1AD1A0CEE871}"/>
                  </a:ext>
                </a:extLst>
              </p:cNvPr>
              <p:cNvSpPr txBox="1"/>
              <p:nvPr userDrawn="1"/>
            </p:nvSpPr>
            <p:spPr>
              <a:xfrm>
                <a:off x="9431244" y="2664917"/>
                <a:ext cx="2297338" cy="4346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450"/>
                  <a:t>Method 3: </a:t>
                </a:r>
                <a:r>
                  <a:rPr lang="en-US" sz="450" b="0"/>
                  <a:t>Placeholder icon</a:t>
                </a:r>
              </a:p>
              <a:p>
                <a:pPr lvl="1">
                  <a:buNone/>
                </a:pPr>
                <a:r>
                  <a:rPr lang="en-US" sz="788"/>
                  <a:t>Click the image icon inside the placeholder to browse for an image.</a:t>
                </a:r>
              </a:p>
            </p:txBody>
          </p:sp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328EEF89-7454-7C46-865B-2C0F34935AD3}"/>
                  </a:ext>
                </a:extLst>
              </p:cNvPr>
              <p:cNvSpPr txBox="1"/>
              <p:nvPr userDrawn="1"/>
            </p:nvSpPr>
            <p:spPr>
              <a:xfrm>
                <a:off x="9419085" y="3095481"/>
                <a:ext cx="2374733" cy="21544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525"/>
                  <a:t>Note: This icon may be covered by another element.</a:t>
                </a:r>
                <a:br>
                  <a:rPr lang="en-US" sz="525"/>
                </a:br>
                <a:r>
                  <a:rPr lang="en-US" sz="525"/>
                  <a:t>In this case use one of the other methods.</a:t>
                </a:r>
              </a:p>
            </p:txBody>
          </p:sp>
        </p:grpSp>
      </p:grpSp>
      <p:sp>
        <p:nvSpPr>
          <p:cNvPr id="64" name="Picture Placeholder 63">
            <a:extLst>
              <a:ext uri="{FF2B5EF4-FFF2-40B4-BE49-F238E27FC236}">
                <a16:creationId xmlns:a16="http://schemas.microsoft.com/office/drawing/2014/main" id="{846FAB7A-A675-6C4B-BF10-A9B8CF7F7C96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" y="834628"/>
            <a:ext cx="9144001" cy="4308872"/>
          </a:xfrm>
          <a:custGeom>
            <a:avLst/>
            <a:gdLst>
              <a:gd name="connsiteX0" fmla="*/ 8545320 w 9144001"/>
              <a:gd name="connsiteY0" fmla="*/ 5464436 h 5745162"/>
              <a:gd name="connsiteX1" fmla="*/ 8554630 w 9144001"/>
              <a:gd name="connsiteY1" fmla="*/ 5464436 h 5745162"/>
              <a:gd name="connsiteX2" fmla="*/ 8572756 w 9144001"/>
              <a:gd name="connsiteY2" fmla="*/ 5479725 h 5745162"/>
              <a:gd name="connsiteX3" fmla="*/ 8552840 w 9144001"/>
              <a:gd name="connsiteY3" fmla="*/ 5495748 h 5745162"/>
              <a:gd name="connsiteX4" fmla="*/ 8552840 w 9144001"/>
              <a:gd name="connsiteY4" fmla="*/ 5495635 h 5745162"/>
              <a:gd name="connsiteX5" fmla="*/ 8545320 w 9144001"/>
              <a:gd name="connsiteY5" fmla="*/ 5495635 h 5745162"/>
              <a:gd name="connsiteX6" fmla="*/ 8440531 w 9144001"/>
              <a:gd name="connsiteY6" fmla="*/ 5463326 h 5745162"/>
              <a:gd name="connsiteX7" fmla="*/ 8450869 w 9144001"/>
              <a:gd name="connsiteY7" fmla="*/ 5463326 h 5745162"/>
              <a:gd name="connsiteX8" fmla="*/ 8486566 w 9144001"/>
              <a:gd name="connsiteY8" fmla="*/ 5494375 h 5745162"/>
              <a:gd name="connsiteX9" fmla="*/ 8452487 w 9144001"/>
              <a:gd name="connsiteY9" fmla="*/ 5527456 h 5745162"/>
              <a:gd name="connsiteX10" fmla="*/ 8440531 w 9144001"/>
              <a:gd name="connsiteY10" fmla="*/ 5527456 h 5745162"/>
              <a:gd name="connsiteX11" fmla="*/ 8359312 w 9144001"/>
              <a:gd name="connsiteY11" fmla="*/ 5441906 h 5745162"/>
              <a:gd name="connsiteX12" fmla="*/ 8357846 w 9144001"/>
              <a:gd name="connsiteY12" fmla="*/ 5445009 h 5745162"/>
              <a:gd name="connsiteX13" fmla="*/ 8338065 w 9144001"/>
              <a:gd name="connsiteY13" fmla="*/ 5486815 h 5745162"/>
              <a:gd name="connsiteX14" fmla="*/ 8338065 w 9144001"/>
              <a:gd name="connsiteY14" fmla="*/ 5548726 h 5745162"/>
              <a:gd name="connsiteX15" fmla="*/ 8406528 w 9144001"/>
              <a:gd name="connsiteY15" fmla="*/ 5548726 h 5745162"/>
              <a:gd name="connsiteX16" fmla="*/ 8406528 w 9144001"/>
              <a:gd name="connsiteY16" fmla="*/ 5526139 h 5745162"/>
              <a:gd name="connsiteX17" fmla="*/ 8363158 w 9144001"/>
              <a:gd name="connsiteY17" fmla="*/ 5526139 h 5745162"/>
              <a:gd name="connsiteX18" fmla="*/ 8363158 w 9144001"/>
              <a:gd name="connsiteY18" fmla="*/ 5505302 h 5745162"/>
              <a:gd name="connsiteX19" fmla="*/ 8402682 w 9144001"/>
              <a:gd name="connsiteY19" fmla="*/ 5505302 h 5745162"/>
              <a:gd name="connsiteX20" fmla="*/ 8402682 w 9144001"/>
              <a:gd name="connsiteY20" fmla="*/ 5483731 h 5745162"/>
              <a:gd name="connsiteX21" fmla="*/ 8363158 w 9144001"/>
              <a:gd name="connsiteY21" fmla="*/ 5483731 h 5745162"/>
              <a:gd name="connsiteX22" fmla="*/ 8363158 w 9144001"/>
              <a:gd name="connsiteY22" fmla="*/ 5464643 h 5745162"/>
              <a:gd name="connsiteX23" fmla="*/ 8406528 w 9144001"/>
              <a:gd name="connsiteY23" fmla="*/ 5464643 h 5745162"/>
              <a:gd name="connsiteX24" fmla="*/ 8406528 w 9144001"/>
              <a:gd name="connsiteY24" fmla="*/ 5441906 h 5745162"/>
              <a:gd name="connsiteX25" fmla="*/ 8245575 w 9144001"/>
              <a:gd name="connsiteY25" fmla="*/ 5441887 h 5745162"/>
              <a:gd name="connsiteX26" fmla="*/ 8262082 w 9144001"/>
              <a:gd name="connsiteY26" fmla="*/ 5476284 h 5745162"/>
              <a:gd name="connsiteX27" fmla="*/ 8288526 w 9144001"/>
              <a:gd name="connsiteY27" fmla="*/ 5476284 h 5745162"/>
              <a:gd name="connsiteX28" fmla="*/ 8273962 w 9144001"/>
              <a:gd name="connsiteY28" fmla="*/ 5441887 h 5745162"/>
              <a:gd name="connsiteX29" fmla="*/ 8520246 w 9144001"/>
              <a:gd name="connsiteY29" fmla="*/ 5441868 h 5745162"/>
              <a:gd name="connsiteX30" fmla="*/ 8520246 w 9144001"/>
              <a:gd name="connsiteY30" fmla="*/ 5548725 h 5745162"/>
              <a:gd name="connsiteX31" fmla="*/ 8545320 w 9144001"/>
              <a:gd name="connsiteY31" fmla="*/ 5548725 h 5745162"/>
              <a:gd name="connsiteX32" fmla="*/ 8545320 w 9144001"/>
              <a:gd name="connsiteY32" fmla="*/ 5517093 h 5745162"/>
              <a:gd name="connsiteX33" fmla="*/ 8554630 w 9144001"/>
              <a:gd name="connsiteY33" fmla="*/ 5517093 h 5745162"/>
              <a:gd name="connsiteX34" fmla="*/ 8598420 w 9144001"/>
              <a:gd name="connsiteY34" fmla="*/ 5479180 h 5745162"/>
              <a:gd name="connsiteX35" fmla="*/ 8550346 w 9144001"/>
              <a:gd name="connsiteY35" fmla="*/ 5441868 h 5745162"/>
              <a:gd name="connsiteX36" fmla="*/ 8415495 w 9144001"/>
              <a:gd name="connsiteY36" fmla="*/ 5441868 h 5745162"/>
              <a:gd name="connsiteX37" fmla="*/ 8415495 w 9144001"/>
              <a:gd name="connsiteY37" fmla="*/ 5548631 h 5745162"/>
              <a:gd name="connsiteX38" fmla="*/ 8448546 w 9144001"/>
              <a:gd name="connsiteY38" fmla="*/ 5548744 h 5745162"/>
              <a:gd name="connsiteX39" fmla="*/ 8513278 w 9144001"/>
              <a:gd name="connsiteY39" fmla="*/ 5494375 h 5745162"/>
              <a:gd name="connsiteX40" fmla="*/ 8447461 w 9144001"/>
              <a:gd name="connsiteY40" fmla="*/ 5441906 h 5745162"/>
              <a:gd name="connsiteX41" fmla="*/ 8447499 w 9144001"/>
              <a:gd name="connsiteY41" fmla="*/ 5441868 h 5745162"/>
              <a:gd name="connsiteX42" fmla="*/ 8415495 w 9144001"/>
              <a:gd name="connsiteY42" fmla="*/ 5441868 h 5745162"/>
              <a:gd name="connsiteX43" fmla="*/ 8323900 w 9144001"/>
              <a:gd name="connsiteY43" fmla="*/ 5441868 h 5745162"/>
              <a:gd name="connsiteX44" fmla="*/ 8298693 w 9144001"/>
              <a:gd name="connsiteY44" fmla="*/ 5499810 h 5745162"/>
              <a:gd name="connsiteX45" fmla="*/ 8291858 w 9144001"/>
              <a:gd name="connsiteY45" fmla="*/ 5483806 h 5745162"/>
              <a:gd name="connsiteX46" fmla="*/ 8265623 w 9144001"/>
              <a:gd name="connsiteY46" fmla="*/ 5483806 h 5745162"/>
              <a:gd name="connsiteX47" fmla="*/ 8296942 w 9144001"/>
              <a:gd name="connsiteY47" fmla="*/ 5549139 h 5745162"/>
              <a:gd name="connsiteX48" fmla="*/ 8299855 w 9144001"/>
              <a:gd name="connsiteY48" fmla="*/ 5549139 h 5745162"/>
              <a:gd name="connsiteX49" fmla="*/ 8350593 w 9144001"/>
              <a:gd name="connsiteY49" fmla="*/ 5441868 h 5745162"/>
              <a:gd name="connsiteX50" fmla="*/ 8704282 w 9144001"/>
              <a:gd name="connsiteY50" fmla="*/ 5403309 h 5745162"/>
              <a:gd name="connsiteX51" fmla="*/ 8704282 w 9144001"/>
              <a:gd name="connsiteY51" fmla="*/ 5577934 h 5745162"/>
              <a:gd name="connsiteX52" fmla="*/ 8723671 w 9144001"/>
              <a:gd name="connsiteY52" fmla="*/ 5577934 h 5745162"/>
              <a:gd name="connsiteX53" fmla="*/ 8723671 w 9144001"/>
              <a:gd name="connsiteY53" fmla="*/ 5403309 h 5745162"/>
              <a:gd name="connsiteX54" fmla="*/ 8950030 w 9144001"/>
              <a:gd name="connsiteY54" fmla="*/ 0 h 5745162"/>
              <a:gd name="connsiteX55" fmla="*/ 9144001 w 9144001"/>
              <a:gd name="connsiteY55" fmla="*/ 0 h 5745162"/>
              <a:gd name="connsiteX56" fmla="*/ 9144001 w 9144001"/>
              <a:gd name="connsiteY56" fmla="*/ 5745161 h 5745162"/>
              <a:gd name="connsiteX57" fmla="*/ 9144001 w 9144001"/>
              <a:gd name="connsiteY57" fmla="*/ 5745162 h 5745162"/>
              <a:gd name="connsiteX58" fmla="*/ 0 w 9144001"/>
              <a:gd name="connsiteY58" fmla="*/ 5745162 h 5745162"/>
              <a:gd name="connsiteX59" fmla="*/ 0 w 9144001"/>
              <a:gd name="connsiteY59" fmla="*/ 32567 h 5745162"/>
              <a:gd name="connsiteX60" fmla="*/ 8313 w 9144001"/>
              <a:gd name="connsiteY60" fmla="*/ 32567 h 5745162"/>
              <a:gd name="connsiteX61" fmla="*/ 8313 w 9144001"/>
              <a:gd name="connsiteY61" fmla="*/ 1 h 5745162"/>
              <a:gd name="connsiteX62" fmla="*/ 8950030 w 9144001"/>
              <a:gd name="connsiteY62" fmla="*/ 1 h 5745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9144001" h="5745162">
                <a:moveTo>
                  <a:pt x="8545320" y="5464436"/>
                </a:moveTo>
                <a:lnTo>
                  <a:pt x="8554630" y="5464436"/>
                </a:lnTo>
                <a:cubicBezTo>
                  <a:pt x="8567006" y="5464436"/>
                  <a:pt x="8572756" y="5471131"/>
                  <a:pt x="8572756" y="5479725"/>
                </a:cubicBezTo>
                <a:cubicBezTo>
                  <a:pt x="8572756" y="5490069"/>
                  <a:pt x="8566130" y="5495748"/>
                  <a:pt x="8552840" y="5495748"/>
                </a:cubicBezTo>
                <a:lnTo>
                  <a:pt x="8552840" y="5495635"/>
                </a:lnTo>
                <a:lnTo>
                  <a:pt x="8545320" y="5495635"/>
                </a:lnTo>
                <a:close/>
                <a:moveTo>
                  <a:pt x="8440531" y="5463326"/>
                </a:moveTo>
                <a:lnTo>
                  <a:pt x="8450869" y="5463326"/>
                </a:lnTo>
                <a:cubicBezTo>
                  <a:pt x="8474172" y="5463326"/>
                  <a:pt x="8486566" y="5474986"/>
                  <a:pt x="8486566" y="5494375"/>
                </a:cubicBezTo>
                <a:cubicBezTo>
                  <a:pt x="8486566" y="5514348"/>
                  <a:pt x="8476095" y="5527456"/>
                  <a:pt x="8452487" y="5527456"/>
                </a:cubicBezTo>
                <a:lnTo>
                  <a:pt x="8440531" y="5527456"/>
                </a:lnTo>
                <a:close/>
                <a:moveTo>
                  <a:pt x="8359312" y="5441906"/>
                </a:moveTo>
                <a:lnTo>
                  <a:pt x="8357846" y="5445009"/>
                </a:lnTo>
                <a:lnTo>
                  <a:pt x="8338065" y="5486815"/>
                </a:lnTo>
                <a:lnTo>
                  <a:pt x="8338065" y="5548726"/>
                </a:lnTo>
                <a:lnTo>
                  <a:pt x="8406528" y="5548726"/>
                </a:lnTo>
                <a:lnTo>
                  <a:pt x="8406528" y="5526139"/>
                </a:lnTo>
                <a:lnTo>
                  <a:pt x="8363158" y="5526139"/>
                </a:lnTo>
                <a:lnTo>
                  <a:pt x="8363158" y="5505302"/>
                </a:lnTo>
                <a:lnTo>
                  <a:pt x="8402682" y="5505302"/>
                </a:lnTo>
                <a:lnTo>
                  <a:pt x="8402682" y="5483731"/>
                </a:lnTo>
                <a:lnTo>
                  <a:pt x="8363158" y="5483731"/>
                </a:lnTo>
                <a:lnTo>
                  <a:pt x="8363158" y="5464643"/>
                </a:lnTo>
                <a:lnTo>
                  <a:pt x="8406528" y="5464643"/>
                </a:lnTo>
                <a:lnTo>
                  <a:pt x="8406528" y="5441906"/>
                </a:lnTo>
                <a:close/>
                <a:moveTo>
                  <a:pt x="8245575" y="5441887"/>
                </a:moveTo>
                <a:lnTo>
                  <a:pt x="8262082" y="5476284"/>
                </a:lnTo>
                <a:lnTo>
                  <a:pt x="8288526" y="5476284"/>
                </a:lnTo>
                <a:lnTo>
                  <a:pt x="8273962" y="5441887"/>
                </a:lnTo>
                <a:close/>
                <a:moveTo>
                  <a:pt x="8520246" y="5441868"/>
                </a:moveTo>
                <a:lnTo>
                  <a:pt x="8520246" y="5548725"/>
                </a:lnTo>
                <a:lnTo>
                  <a:pt x="8545320" y="5548725"/>
                </a:lnTo>
                <a:lnTo>
                  <a:pt x="8545320" y="5517093"/>
                </a:lnTo>
                <a:lnTo>
                  <a:pt x="8554630" y="5517093"/>
                </a:lnTo>
                <a:cubicBezTo>
                  <a:pt x="8583189" y="5517093"/>
                  <a:pt x="8598420" y="5501202"/>
                  <a:pt x="8598420" y="5479180"/>
                </a:cubicBezTo>
                <a:cubicBezTo>
                  <a:pt x="8598439" y="5457647"/>
                  <a:pt x="8581628" y="5441868"/>
                  <a:pt x="8550346" y="5441868"/>
                </a:cubicBezTo>
                <a:close/>
                <a:moveTo>
                  <a:pt x="8415495" y="5441868"/>
                </a:moveTo>
                <a:lnTo>
                  <a:pt x="8415495" y="5548631"/>
                </a:lnTo>
                <a:cubicBezTo>
                  <a:pt x="8415495" y="5548631"/>
                  <a:pt x="8435866" y="5548744"/>
                  <a:pt x="8448546" y="5548744"/>
                </a:cubicBezTo>
                <a:cubicBezTo>
                  <a:pt x="8493382" y="5548744"/>
                  <a:pt x="8513278" y="5525857"/>
                  <a:pt x="8513278" y="5494375"/>
                </a:cubicBezTo>
                <a:cubicBezTo>
                  <a:pt x="8513278" y="5464285"/>
                  <a:pt x="8492335" y="5441906"/>
                  <a:pt x="8447461" y="5441906"/>
                </a:cubicBezTo>
                <a:lnTo>
                  <a:pt x="8447499" y="5441868"/>
                </a:lnTo>
                <a:cubicBezTo>
                  <a:pt x="8436742" y="5441868"/>
                  <a:pt x="8415495" y="5441868"/>
                  <a:pt x="8415495" y="5441868"/>
                </a:cubicBezTo>
                <a:close/>
                <a:moveTo>
                  <a:pt x="8323900" y="5441868"/>
                </a:moveTo>
                <a:lnTo>
                  <a:pt x="8298693" y="5499810"/>
                </a:lnTo>
                <a:lnTo>
                  <a:pt x="8291858" y="5483806"/>
                </a:lnTo>
                <a:lnTo>
                  <a:pt x="8265623" y="5483806"/>
                </a:lnTo>
                <a:lnTo>
                  <a:pt x="8296942" y="5549139"/>
                </a:lnTo>
                <a:lnTo>
                  <a:pt x="8299855" y="5549139"/>
                </a:lnTo>
                <a:lnTo>
                  <a:pt x="8350593" y="5441868"/>
                </a:lnTo>
                <a:close/>
                <a:moveTo>
                  <a:pt x="8704282" y="5403309"/>
                </a:moveTo>
                <a:lnTo>
                  <a:pt x="8704282" y="5577934"/>
                </a:lnTo>
                <a:lnTo>
                  <a:pt x="8723671" y="5577934"/>
                </a:lnTo>
                <a:lnTo>
                  <a:pt x="8723671" y="5403309"/>
                </a:lnTo>
                <a:close/>
                <a:moveTo>
                  <a:pt x="8950030" y="0"/>
                </a:moveTo>
                <a:lnTo>
                  <a:pt x="9144001" y="0"/>
                </a:lnTo>
                <a:lnTo>
                  <a:pt x="9144001" y="5745161"/>
                </a:lnTo>
                <a:lnTo>
                  <a:pt x="9144001" y="5745162"/>
                </a:lnTo>
                <a:lnTo>
                  <a:pt x="0" y="5745162"/>
                </a:lnTo>
                <a:lnTo>
                  <a:pt x="0" y="32567"/>
                </a:lnTo>
                <a:lnTo>
                  <a:pt x="8313" y="32567"/>
                </a:lnTo>
                <a:lnTo>
                  <a:pt x="8313" y="1"/>
                </a:lnTo>
                <a:lnTo>
                  <a:pt x="8950030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rIns="43200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1pPr>
          </a:lstStyle>
          <a:p>
            <a:r>
              <a:rPr lang="en-US"/>
              <a:t>Drag image onto slide to add photo</a:t>
            </a:r>
          </a:p>
        </p:txBody>
      </p:sp>
      <p:sp>
        <p:nvSpPr>
          <p:cNvPr id="71" name="Subtitle 70">
            <a:extLst>
              <a:ext uri="{FF2B5EF4-FFF2-40B4-BE49-F238E27FC236}">
                <a16:creationId xmlns:a16="http://schemas.microsoft.com/office/drawing/2014/main" id="{2902DD29-5760-7741-8B06-89111BC5AEA1}"/>
              </a:ext>
            </a:extLst>
          </p:cNvPr>
          <p:cNvSpPr>
            <a:spLocks noGrp="1"/>
          </p:cNvSpPr>
          <p:nvPr>
            <p:ph type="subTitle" sz="quarter" idx="100" hasCustomPrompt="1"/>
          </p:nvPr>
        </p:nvSpPr>
        <p:spPr>
          <a:xfrm>
            <a:off x="-1" y="834629"/>
            <a:ext cx="7256524" cy="4308872"/>
          </a:xfrm>
          <a:custGeom>
            <a:avLst/>
            <a:gdLst>
              <a:gd name="connsiteX0" fmla="*/ 363188 w 7217022"/>
              <a:gd name="connsiteY0" fmla="*/ 0 h 5713887"/>
              <a:gd name="connsiteX1" fmla="*/ 4505496 w 7217022"/>
              <a:gd name="connsiteY1" fmla="*/ 0 h 5713887"/>
              <a:gd name="connsiteX2" fmla="*/ 7217022 w 7217022"/>
              <a:gd name="connsiteY2" fmla="*/ 5713887 h 5713887"/>
              <a:gd name="connsiteX3" fmla="*/ 1311018 w 7217022"/>
              <a:gd name="connsiteY3" fmla="*/ 5713887 h 5713887"/>
              <a:gd name="connsiteX4" fmla="*/ 363188 w 7217022"/>
              <a:gd name="connsiteY4" fmla="*/ 5713887 h 5713887"/>
              <a:gd name="connsiteX5" fmla="*/ 0 w 7217022"/>
              <a:gd name="connsiteY5" fmla="*/ 5713887 h 5713887"/>
              <a:gd name="connsiteX6" fmla="*/ 0 w 7217022"/>
              <a:gd name="connsiteY6" fmla="*/ 5186837 h 5713887"/>
              <a:gd name="connsiteX7" fmla="*/ 0 w 7217022"/>
              <a:gd name="connsiteY7" fmla="*/ 4697887 h 5713887"/>
              <a:gd name="connsiteX8" fmla="*/ 0 w 7217022"/>
              <a:gd name="connsiteY8" fmla="*/ 1293 h 5713887"/>
              <a:gd name="connsiteX9" fmla="*/ 363188 w 7217022"/>
              <a:gd name="connsiteY9" fmla="*/ 1293 h 5713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217022" h="5713887">
                <a:moveTo>
                  <a:pt x="363188" y="0"/>
                </a:moveTo>
                <a:lnTo>
                  <a:pt x="4505496" y="0"/>
                </a:lnTo>
                <a:lnTo>
                  <a:pt x="7217022" y="5713887"/>
                </a:lnTo>
                <a:lnTo>
                  <a:pt x="1311018" y="5713887"/>
                </a:lnTo>
                <a:lnTo>
                  <a:pt x="363188" y="5713887"/>
                </a:lnTo>
                <a:lnTo>
                  <a:pt x="0" y="5713887"/>
                </a:lnTo>
                <a:lnTo>
                  <a:pt x="0" y="5186837"/>
                </a:lnTo>
                <a:lnTo>
                  <a:pt x="0" y="4697887"/>
                </a:lnTo>
                <a:lnTo>
                  <a:pt x="0" y="1293"/>
                </a:lnTo>
                <a:lnTo>
                  <a:pt x="363188" y="1293"/>
                </a:lnTo>
                <a:close/>
              </a:path>
            </a:pathLst>
          </a:custGeom>
          <a:gradFill>
            <a:gsLst>
              <a:gs pos="0">
                <a:schemeClr val="accent1">
                  <a:alpha val="95000"/>
                </a:schemeClr>
              </a:gs>
              <a:gs pos="97000">
                <a:schemeClr val="accent1">
                  <a:alpha val="80000"/>
                </a:schemeClr>
              </a:gs>
            </a:gsLst>
            <a:lin ang="5400000" scaled="0"/>
          </a:gradFill>
          <a:ln>
            <a:solidFill>
              <a:schemeClr val="accent1">
                <a:alpha val="0"/>
              </a:schemeClr>
            </a:solidFill>
          </a:ln>
        </p:spPr>
        <p:txBody>
          <a:bodyPr wrap="square" lIns="432000" bIns="522000" anchor="b">
            <a:noAutofit/>
          </a:bodyPr>
          <a:lstStyle>
            <a:lvl1pPr marL="0" indent="0">
              <a:spcBef>
                <a:spcPts val="150"/>
              </a:spcBef>
              <a:spcAft>
                <a:spcPts val="0"/>
              </a:spcAft>
              <a:buSzPct val="75000"/>
              <a:buFont typeface="+mj-lt"/>
              <a:buNone/>
              <a:tabLst/>
              <a:defRPr sz="825">
                <a:solidFill>
                  <a:schemeClr val="bg1">
                    <a:alpha val="0"/>
                  </a:schemeClr>
                </a:solidFill>
              </a:defRPr>
            </a:lvl1pPr>
            <a:lvl2pPr marL="7144" indent="0">
              <a:spcBef>
                <a:spcPts val="300"/>
              </a:spcBef>
              <a:spcAft>
                <a:spcPts val="75"/>
              </a:spcAft>
              <a:buNone/>
              <a:tabLst/>
              <a:defRPr sz="825" i="1">
                <a:solidFill>
                  <a:schemeClr val="bg1">
                    <a:alpha val="80000"/>
                  </a:schemeClr>
                </a:solidFill>
              </a:defRPr>
            </a:lvl2pPr>
            <a:lvl3pPr>
              <a:spcBef>
                <a:spcPts val="75"/>
              </a:spcBef>
              <a:spcAft>
                <a:spcPts val="75"/>
              </a:spcAft>
              <a:defRPr sz="825">
                <a:solidFill>
                  <a:schemeClr val="accent6"/>
                </a:solidFill>
              </a:defRPr>
            </a:lvl3pPr>
            <a:lvl4pPr>
              <a:spcBef>
                <a:spcPts val="75"/>
              </a:spcBef>
              <a:spcAft>
                <a:spcPts val="75"/>
              </a:spcAft>
              <a:defRPr sz="825">
                <a:solidFill>
                  <a:schemeClr val="accent6"/>
                </a:solidFill>
              </a:defRPr>
            </a:lvl4pPr>
            <a:lvl5pPr>
              <a:spcBef>
                <a:spcPts val="75"/>
              </a:spcBef>
              <a:spcAft>
                <a:spcPts val="75"/>
              </a:spcAft>
              <a:defRPr sz="825">
                <a:solidFill>
                  <a:schemeClr val="accent6"/>
                </a:solidFill>
              </a:defRPr>
            </a:lvl5pPr>
          </a:lstStyle>
          <a:p>
            <a:pPr lvl="0"/>
            <a:endParaRPr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1D0EBE1-B4D6-4047-83E5-6123C3DC2687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0" y="1239423"/>
            <a:ext cx="4572000" cy="167356"/>
          </a:xfrm>
          <a:noFill/>
          <a:ln>
            <a:noFill/>
          </a:ln>
          <a:effectLst/>
        </p:spPr>
        <p:txBody>
          <a:bodyPr lIns="432000" tIns="18000" rIns="144000" bIns="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agenda item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CC577686-36A2-F643-B3D4-C5A2921D5F7D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0" y="1650444"/>
            <a:ext cx="4572000" cy="167356"/>
          </a:xfrm>
          <a:noFill/>
          <a:ln>
            <a:noFill/>
          </a:ln>
          <a:effectLst/>
        </p:spPr>
        <p:txBody>
          <a:bodyPr lIns="432000" tIns="18000" rIns="144000" bIns="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agenda item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46DB1FB2-683E-9B4E-ACC6-B46A2F011140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0" y="2061464"/>
            <a:ext cx="4572000" cy="167356"/>
          </a:xfrm>
          <a:noFill/>
          <a:ln>
            <a:noFill/>
          </a:ln>
          <a:effectLst/>
        </p:spPr>
        <p:txBody>
          <a:bodyPr lIns="432000" tIns="18000" rIns="144000" bIns="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agenda item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7006F5B0-C97C-BA41-841A-D54DE5C3469E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0" y="2472484"/>
            <a:ext cx="4572000" cy="167356"/>
          </a:xfrm>
          <a:noFill/>
          <a:ln>
            <a:noFill/>
          </a:ln>
          <a:effectLst/>
        </p:spPr>
        <p:txBody>
          <a:bodyPr lIns="432000" tIns="18000" rIns="144000" bIns="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agenda item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85A21497-54A9-774D-B270-BB2E796805E7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0" y="2883504"/>
            <a:ext cx="4572000" cy="167356"/>
          </a:xfrm>
          <a:noFill/>
          <a:ln>
            <a:noFill/>
          </a:ln>
          <a:effectLst/>
        </p:spPr>
        <p:txBody>
          <a:bodyPr lIns="432000" tIns="18000" rIns="144000" bIns="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agenda item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6E099CDA-61FC-6346-826F-84D1E7C935C1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0" y="3294525"/>
            <a:ext cx="4572000" cy="167356"/>
          </a:xfrm>
          <a:noFill/>
          <a:ln>
            <a:noFill/>
          </a:ln>
          <a:effectLst/>
        </p:spPr>
        <p:txBody>
          <a:bodyPr lIns="432000" tIns="18000" rIns="144000" bIns="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agenda item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D3BE9B67-1FCF-0A49-9AA8-CCF0BC3A843D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0" y="3705545"/>
            <a:ext cx="4572000" cy="167356"/>
          </a:xfrm>
          <a:noFill/>
          <a:ln>
            <a:noFill/>
          </a:ln>
          <a:effectLst/>
        </p:spPr>
        <p:txBody>
          <a:bodyPr lIns="432000" tIns="18000" rIns="144000" bIns="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agenda item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7AF93A84-8DAC-D44B-87D4-386F989CA395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0" y="4116563"/>
            <a:ext cx="4572000" cy="167356"/>
          </a:xfrm>
          <a:noFill/>
          <a:ln>
            <a:noFill/>
          </a:ln>
          <a:effectLst/>
        </p:spPr>
        <p:txBody>
          <a:bodyPr lIns="432000" tIns="18000" rIns="144000" bIns="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agenda item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F45B143-DDF1-6B4E-B0B2-7907B8C48F2D}"/>
              </a:ext>
            </a:extLst>
          </p:cNvPr>
          <p:cNvSpPr>
            <a:spLocks noGrp="1"/>
          </p:cNvSpPr>
          <p:nvPr userDrawn="1">
            <p:ph type="body" sz="quarter" idx="110" hasCustomPrompt="1"/>
          </p:nvPr>
        </p:nvSpPr>
        <p:spPr>
          <a:xfrm>
            <a:off x="9701721" y="1205896"/>
            <a:ext cx="2429418" cy="282566"/>
          </a:xfrm>
          <a:blipFill>
            <a:blip r:embed="rId5"/>
            <a:stretch>
              <a:fillRect/>
            </a:stretch>
          </a:blipFill>
          <a:effectLst/>
        </p:spPr>
        <p:txBody>
          <a:bodyPr lIns="432000" tIns="18000" rIns="144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1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1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1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1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Select this elemen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0403EB9-9CA5-F144-8CC3-6564291F2A72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Slide TITLE. ALL CAPS. TWO LINES max.</a:t>
            </a:r>
          </a:p>
        </p:txBody>
      </p:sp>
      <p:sp>
        <p:nvSpPr>
          <p:cNvPr id="500" name="Caption">
            <a:extLst>
              <a:ext uri="{FF2B5EF4-FFF2-40B4-BE49-F238E27FC236}">
                <a16:creationId xmlns:a16="http://schemas.microsoft.com/office/drawing/2014/main" id="{6BEA4198-478B-E14D-8C70-FD4227A8A468}"/>
              </a:ext>
            </a:extLst>
          </p:cNvPr>
          <p:cNvSpPr>
            <a:spLocks noGrp="1"/>
          </p:cNvSpPr>
          <p:nvPr>
            <p:ph type="body" sz="quarter" idx="500" hasCustomPrompt="1"/>
          </p:nvPr>
        </p:nvSpPr>
        <p:spPr>
          <a:xfrm>
            <a:off x="7256523" y="4650581"/>
            <a:ext cx="1446636" cy="114262"/>
          </a:xfrm>
          <a:effectLst/>
        </p:spPr>
        <p:txBody>
          <a:bodyPr wrap="square" anchor="b">
            <a:sp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825" b="0">
                <a:solidFill>
                  <a:schemeClr val="bg1"/>
                </a:solidFill>
                <a:effectLst/>
              </a:defRPr>
            </a:lvl1pPr>
            <a:lvl2pPr marL="0" indent="0" algn="r"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2pPr>
            <a:lvl3pPr marL="0" indent="0" algn="r"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3pPr>
            <a:lvl4pPr marL="0" indent="0" algn="r"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4pPr>
            <a:lvl5pPr marL="0" indent="0" algn="r"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5pPr>
            <a:lvl6pPr marL="0" indent="0" algn="r"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6pPr>
            <a:lvl7pPr marL="0" indent="0" algn="r"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7pPr>
            <a:lvl8pPr marL="0" indent="0" algn="r"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8pPr>
            <a:lvl9pPr marL="0" indent="0" algn="r">
              <a:spcAft>
                <a:spcPts val="0"/>
              </a:spcAft>
              <a:buFontTx/>
              <a:buNone/>
              <a:tabLst/>
              <a:defRPr sz="825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photo caption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05B8C93-D828-C84E-9755-475E2DD5D8AF}"/>
              </a:ext>
            </a:extLst>
          </p:cNvPr>
          <p:cNvSpPr>
            <a:spLocks noGrp="1"/>
          </p:cNvSpPr>
          <p:nvPr>
            <p:ph type="dt" sz="half" idx="1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459B6D8-C4E6-704C-8857-5CD7CA3BEE1D}"/>
              </a:ext>
            </a:extLst>
          </p:cNvPr>
          <p:cNvSpPr>
            <a:spLocks noGrp="1"/>
          </p:cNvSpPr>
          <p:nvPr>
            <p:ph type="ftr" sz="quarter" idx="1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8C9A36-7012-864C-8C5E-DEC51C83883E}"/>
              </a:ext>
            </a:extLst>
          </p:cNvPr>
          <p:cNvSpPr>
            <a:spLocks noGrp="1"/>
          </p:cNvSpPr>
          <p:nvPr>
            <p:ph type="sldNum" sz="quarter" idx="117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9525"/>
            <a:fld id="{078C017C-E1B9-8443-B047-B08AAA027B45}" type="slidenum">
              <a:rPr lang="en-US" smtClean="0"/>
              <a:pPr marL="9525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84781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61" Type="http://schemas.openxmlformats.org/officeDocument/2006/relationships/oleObject" Target="../embeddings/oleObject1.bin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tags" Target="../tags/tag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58.xml"/><Relationship Id="rId6" Type="http://schemas.openxmlformats.org/officeDocument/2006/relationships/image" Target="../media/image37.png"/><Relationship Id="rId5" Type="http://schemas.microsoft.com/office/2007/relationships/hdphoto" Target="../media/hdphoto1.wdp"/><Relationship Id="rId4" Type="http://schemas.openxmlformats.org/officeDocument/2006/relationships/image" Target="../media/image36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1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63.xml"/><Relationship Id="rId4" Type="http://schemas.openxmlformats.org/officeDocument/2006/relationships/slideLayout" Target="../slideLayouts/slideLayout6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5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6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83C530C-6A23-2143-97CF-E9F3861AF4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9"/>
            </p:custDataLst>
            <p:extLst>
              <p:ext uri="{D42A27DB-BD31-4B8C-83A1-F6EECF244321}">
                <p14:modId xmlns:p14="http://schemas.microsoft.com/office/powerpoint/2010/main" val="2509098974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1" imgW="7772400" imgH="10058400" progId="TCLayout.ActiveDocument.1">
                  <p:embed/>
                </p:oleObj>
              </mc:Choice>
              <mc:Fallback>
                <p:oleObj name="think-cell Slide" r:id="rId61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83C530C-6A23-2143-97CF-E9F3861AF4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2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9" name="TextBox 98">
            <a:extLst>
              <a:ext uri="{FF2B5EF4-FFF2-40B4-BE49-F238E27FC236}">
                <a16:creationId xmlns:a16="http://schemas.microsoft.com/office/drawing/2014/main" id="{F979FF17-4902-0E4D-BB4E-5DD367A3D3B2}"/>
              </a:ext>
            </a:extLst>
          </p:cNvPr>
          <p:cNvSpPr txBox="1">
            <a:spLocks/>
          </p:cNvSpPr>
          <p:nvPr userDrawn="1"/>
        </p:nvSpPr>
        <p:spPr>
          <a:xfrm>
            <a:off x="0" y="4650582"/>
            <a:ext cx="9144000" cy="492919"/>
          </a:xfrm>
          <a:custGeom>
            <a:avLst/>
            <a:gdLst>
              <a:gd name="connsiteX0" fmla="*/ 8545321 w 9144000"/>
              <a:gd name="connsiteY0" fmla="*/ 376500 h 657225"/>
              <a:gd name="connsiteX1" fmla="*/ 8554631 w 9144000"/>
              <a:gd name="connsiteY1" fmla="*/ 376500 h 657225"/>
              <a:gd name="connsiteX2" fmla="*/ 8572756 w 9144000"/>
              <a:gd name="connsiteY2" fmla="*/ 391789 h 657225"/>
              <a:gd name="connsiteX3" fmla="*/ 8552841 w 9144000"/>
              <a:gd name="connsiteY3" fmla="*/ 407812 h 657225"/>
              <a:gd name="connsiteX4" fmla="*/ 8552841 w 9144000"/>
              <a:gd name="connsiteY4" fmla="*/ 407699 h 657225"/>
              <a:gd name="connsiteX5" fmla="*/ 8545321 w 9144000"/>
              <a:gd name="connsiteY5" fmla="*/ 407699 h 657225"/>
              <a:gd name="connsiteX6" fmla="*/ 8440532 w 9144000"/>
              <a:gd name="connsiteY6" fmla="*/ 375390 h 657225"/>
              <a:gd name="connsiteX7" fmla="*/ 8450870 w 9144000"/>
              <a:gd name="connsiteY7" fmla="*/ 375390 h 657225"/>
              <a:gd name="connsiteX8" fmla="*/ 8486566 w 9144000"/>
              <a:gd name="connsiteY8" fmla="*/ 406439 h 657225"/>
              <a:gd name="connsiteX9" fmla="*/ 8452487 w 9144000"/>
              <a:gd name="connsiteY9" fmla="*/ 439520 h 657225"/>
              <a:gd name="connsiteX10" fmla="*/ 8440532 w 9144000"/>
              <a:gd name="connsiteY10" fmla="*/ 439520 h 657225"/>
              <a:gd name="connsiteX11" fmla="*/ 8359313 w 9144000"/>
              <a:gd name="connsiteY11" fmla="*/ 353970 h 657225"/>
              <a:gd name="connsiteX12" fmla="*/ 8357847 w 9144000"/>
              <a:gd name="connsiteY12" fmla="*/ 357073 h 657225"/>
              <a:gd name="connsiteX13" fmla="*/ 8338066 w 9144000"/>
              <a:gd name="connsiteY13" fmla="*/ 398879 h 657225"/>
              <a:gd name="connsiteX14" fmla="*/ 8338066 w 9144000"/>
              <a:gd name="connsiteY14" fmla="*/ 460790 h 657225"/>
              <a:gd name="connsiteX15" fmla="*/ 8406529 w 9144000"/>
              <a:gd name="connsiteY15" fmla="*/ 460790 h 657225"/>
              <a:gd name="connsiteX16" fmla="*/ 8406529 w 9144000"/>
              <a:gd name="connsiteY16" fmla="*/ 438203 h 657225"/>
              <a:gd name="connsiteX17" fmla="*/ 8363159 w 9144000"/>
              <a:gd name="connsiteY17" fmla="*/ 438203 h 657225"/>
              <a:gd name="connsiteX18" fmla="*/ 8363159 w 9144000"/>
              <a:gd name="connsiteY18" fmla="*/ 417366 h 657225"/>
              <a:gd name="connsiteX19" fmla="*/ 8402683 w 9144000"/>
              <a:gd name="connsiteY19" fmla="*/ 417366 h 657225"/>
              <a:gd name="connsiteX20" fmla="*/ 8402683 w 9144000"/>
              <a:gd name="connsiteY20" fmla="*/ 395795 h 657225"/>
              <a:gd name="connsiteX21" fmla="*/ 8363159 w 9144000"/>
              <a:gd name="connsiteY21" fmla="*/ 395795 h 657225"/>
              <a:gd name="connsiteX22" fmla="*/ 8363159 w 9144000"/>
              <a:gd name="connsiteY22" fmla="*/ 376707 h 657225"/>
              <a:gd name="connsiteX23" fmla="*/ 8406529 w 9144000"/>
              <a:gd name="connsiteY23" fmla="*/ 376707 h 657225"/>
              <a:gd name="connsiteX24" fmla="*/ 8406529 w 9144000"/>
              <a:gd name="connsiteY24" fmla="*/ 353970 h 657225"/>
              <a:gd name="connsiteX25" fmla="*/ 8245576 w 9144000"/>
              <a:gd name="connsiteY25" fmla="*/ 353951 h 657225"/>
              <a:gd name="connsiteX26" fmla="*/ 8262083 w 9144000"/>
              <a:gd name="connsiteY26" fmla="*/ 388348 h 657225"/>
              <a:gd name="connsiteX27" fmla="*/ 8288527 w 9144000"/>
              <a:gd name="connsiteY27" fmla="*/ 388348 h 657225"/>
              <a:gd name="connsiteX28" fmla="*/ 8273963 w 9144000"/>
              <a:gd name="connsiteY28" fmla="*/ 353951 h 657225"/>
              <a:gd name="connsiteX29" fmla="*/ 8520246 w 9144000"/>
              <a:gd name="connsiteY29" fmla="*/ 353932 h 657225"/>
              <a:gd name="connsiteX30" fmla="*/ 8520246 w 9144000"/>
              <a:gd name="connsiteY30" fmla="*/ 460789 h 657225"/>
              <a:gd name="connsiteX31" fmla="*/ 8545321 w 9144000"/>
              <a:gd name="connsiteY31" fmla="*/ 460789 h 657225"/>
              <a:gd name="connsiteX32" fmla="*/ 8545321 w 9144000"/>
              <a:gd name="connsiteY32" fmla="*/ 429157 h 657225"/>
              <a:gd name="connsiteX33" fmla="*/ 8554631 w 9144000"/>
              <a:gd name="connsiteY33" fmla="*/ 429157 h 657225"/>
              <a:gd name="connsiteX34" fmla="*/ 8598420 w 9144000"/>
              <a:gd name="connsiteY34" fmla="*/ 391244 h 657225"/>
              <a:gd name="connsiteX35" fmla="*/ 8550347 w 9144000"/>
              <a:gd name="connsiteY35" fmla="*/ 353932 h 657225"/>
              <a:gd name="connsiteX36" fmla="*/ 8415496 w 9144000"/>
              <a:gd name="connsiteY36" fmla="*/ 353932 h 657225"/>
              <a:gd name="connsiteX37" fmla="*/ 8415496 w 9144000"/>
              <a:gd name="connsiteY37" fmla="*/ 460695 h 657225"/>
              <a:gd name="connsiteX38" fmla="*/ 8448547 w 9144000"/>
              <a:gd name="connsiteY38" fmla="*/ 460808 h 657225"/>
              <a:gd name="connsiteX39" fmla="*/ 8513278 w 9144000"/>
              <a:gd name="connsiteY39" fmla="*/ 406439 h 657225"/>
              <a:gd name="connsiteX40" fmla="*/ 8447462 w 9144000"/>
              <a:gd name="connsiteY40" fmla="*/ 353970 h 657225"/>
              <a:gd name="connsiteX41" fmla="*/ 8447500 w 9144000"/>
              <a:gd name="connsiteY41" fmla="*/ 353932 h 657225"/>
              <a:gd name="connsiteX42" fmla="*/ 8415496 w 9144000"/>
              <a:gd name="connsiteY42" fmla="*/ 353932 h 657225"/>
              <a:gd name="connsiteX43" fmla="*/ 8323901 w 9144000"/>
              <a:gd name="connsiteY43" fmla="*/ 353932 h 657225"/>
              <a:gd name="connsiteX44" fmla="*/ 8298694 w 9144000"/>
              <a:gd name="connsiteY44" fmla="*/ 411874 h 657225"/>
              <a:gd name="connsiteX45" fmla="*/ 8291859 w 9144000"/>
              <a:gd name="connsiteY45" fmla="*/ 395870 h 657225"/>
              <a:gd name="connsiteX46" fmla="*/ 8265624 w 9144000"/>
              <a:gd name="connsiteY46" fmla="*/ 395870 h 657225"/>
              <a:gd name="connsiteX47" fmla="*/ 8296943 w 9144000"/>
              <a:gd name="connsiteY47" fmla="*/ 461203 h 657225"/>
              <a:gd name="connsiteX48" fmla="*/ 8299856 w 9144000"/>
              <a:gd name="connsiteY48" fmla="*/ 461203 h 657225"/>
              <a:gd name="connsiteX49" fmla="*/ 8350594 w 9144000"/>
              <a:gd name="connsiteY49" fmla="*/ 353932 h 657225"/>
              <a:gd name="connsiteX50" fmla="*/ 8704282 w 9144000"/>
              <a:gd name="connsiteY50" fmla="*/ 315373 h 657225"/>
              <a:gd name="connsiteX51" fmla="*/ 8704282 w 9144000"/>
              <a:gd name="connsiteY51" fmla="*/ 489998 h 657225"/>
              <a:gd name="connsiteX52" fmla="*/ 8723671 w 9144000"/>
              <a:gd name="connsiteY52" fmla="*/ 489998 h 657225"/>
              <a:gd name="connsiteX53" fmla="*/ 8723671 w 9144000"/>
              <a:gd name="connsiteY53" fmla="*/ 315373 h 657225"/>
              <a:gd name="connsiteX54" fmla="*/ 0 w 9144000"/>
              <a:gd name="connsiteY54" fmla="*/ 0 h 657225"/>
              <a:gd name="connsiteX55" fmla="*/ 9144000 w 9144000"/>
              <a:gd name="connsiteY55" fmla="*/ 0 h 657225"/>
              <a:gd name="connsiteX56" fmla="*/ 9144000 w 9144000"/>
              <a:gd name="connsiteY56" fmla="*/ 657225 h 657225"/>
              <a:gd name="connsiteX57" fmla="*/ 0 w 9144000"/>
              <a:gd name="connsiteY57" fmla="*/ 657225 h 657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9144000" h="657225">
                <a:moveTo>
                  <a:pt x="8545321" y="376500"/>
                </a:moveTo>
                <a:lnTo>
                  <a:pt x="8554631" y="376500"/>
                </a:lnTo>
                <a:cubicBezTo>
                  <a:pt x="8567006" y="376500"/>
                  <a:pt x="8572756" y="383195"/>
                  <a:pt x="8572756" y="391789"/>
                </a:cubicBezTo>
                <a:cubicBezTo>
                  <a:pt x="8572756" y="402133"/>
                  <a:pt x="8566130" y="407812"/>
                  <a:pt x="8552841" y="407812"/>
                </a:cubicBezTo>
                <a:lnTo>
                  <a:pt x="8552841" y="407699"/>
                </a:lnTo>
                <a:lnTo>
                  <a:pt x="8545321" y="407699"/>
                </a:lnTo>
                <a:close/>
                <a:moveTo>
                  <a:pt x="8440532" y="375390"/>
                </a:moveTo>
                <a:lnTo>
                  <a:pt x="8450870" y="375390"/>
                </a:lnTo>
                <a:cubicBezTo>
                  <a:pt x="8474172" y="375390"/>
                  <a:pt x="8486566" y="387050"/>
                  <a:pt x="8486566" y="406439"/>
                </a:cubicBezTo>
                <a:cubicBezTo>
                  <a:pt x="8486566" y="426412"/>
                  <a:pt x="8476095" y="439520"/>
                  <a:pt x="8452487" y="439520"/>
                </a:cubicBezTo>
                <a:lnTo>
                  <a:pt x="8440532" y="439520"/>
                </a:lnTo>
                <a:close/>
                <a:moveTo>
                  <a:pt x="8359313" y="353970"/>
                </a:moveTo>
                <a:lnTo>
                  <a:pt x="8357847" y="357073"/>
                </a:lnTo>
                <a:lnTo>
                  <a:pt x="8338066" y="398879"/>
                </a:lnTo>
                <a:lnTo>
                  <a:pt x="8338066" y="460790"/>
                </a:lnTo>
                <a:lnTo>
                  <a:pt x="8406529" y="460790"/>
                </a:lnTo>
                <a:lnTo>
                  <a:pt x="8406529" y="438203"/>
                </a:lnTo>
                <a:lnTo>
                  <a:pt x="8363159" y="438203"/>
                </a:lnTo>
                <a:lnTo>
                  <a:pt x="8363159" y="417366"/>
                </a:lnTo>
                <a:lnTo>
                  <a:pt x="8402683" y="417366"/>
                </a:lnTo>
                <a:lnTo>
                  <a:pt x="8402683" y="395795"/>
                </a:lnTo>
                <a:lnTo>
                  <a:pt x="8363159" y="395795"/>
                </a:lnTo>
                <a:lnTo>
                  <a:pt x="8363159" y="376707"/>
                </a:lnTo>
                <a:lnTo>
                  <a:pt x="8406529" y="376707"/>
                </a:lnTo>
                <a:lnTo>
                  <a:pt x="8406529" y="353970"/>
                </a:lnTo>
                <a:close/>
                <a:moveTo>
                  <a:pt x="8245576" y="353951"/>
                </a:moveTo>
                <a:lnTo>
                  <a:pt x="8262083" y="388348"/>
                </a:lnTo>
                <a:lnTo>
                  <a:pt x="8288527" y="388348"/>
                </a:lnTo>
                <a:lnTo>
                  <a:pt x="8273963" y="353951"/>
                </a:lnTo>
                <a:close/>
                <a:moveTo>
                  <a:pt x="8520246" y="353932"/>
                </a:moveTo>
                <a:lnTo>
                  <a:pt x="8520246" y="460789"/>
                </a:lnTo>
                <a:lnTo>
                  <a:pt x="8545321" y="460789"/>
                </a:lnTo>
                <a:lnTo>
                  <a:pt x="8545321" y="429157"/>
                </a:lnTo>
                <a:lnTo>
                  <a:pt x="8554631" y="429157"/>
                </a:lnTo>
                <a:cubicBezTo>
                  <a:pt x="8583189" y="429157"/>
                  <a:pt x="8598420" y="413266"/>
                  <a:pt x="8598420" y="391244"/>
                </a:cubicBezTo>
                <a:cubicBezTo>
                  <a:pt x="8598439" y="369711"/>
                  <a:pt x="8581628" y="353932"/>
                  <a:pt x="8550347" y="353932"/>
                </a:cubicBezTo>
                <a:close/>
                <a:moveTo>
                  <a:pt x="8415496" y="353932"/>
                </a:moveTo>
                <a:lnTo>
                  <a:pt x="8415496" y="460695"/>
                </a:lnTo>
                <a:cubicBezTo>
                  <a:pt x="8415496" y="460695"/>
                  <a:pt x="8435867" y="460808"/>
                  <a:pt x="8448547" y="460808"/>
                </a:cubicBezTo>
                <a:cubicBezTo>
                  <a:pt x="8493382" y="460808"/>
                  <a:pt x="8513278" y="437921"/>
                  <a:pt x="8513278" y="406439"/>
                </a:cubicBezTo>
                <a:cubicBezTo>
                  <a:pt x="8513278" y="376349"/>
                  <a:pt x="8492335" y="353970"/>
                  <a:pt x="8447462" y="353970"/>
                </a:cubicBezTo>
                <a:lnTo>
                  <a:pt x="8447500" y="353932"/>
                </a:lnTo>
                <a:cubicBezTo>
                  <a:pt x="8436743" y="353932"/>
                  <a:pt x="8415496" y="353932"/>
                  <a:pt x="8415496" y="353932"/>
                </a:cubicBezTo>
                <a:close/>
                <a:moveTo>
                  <a:pt x="8323901" y="353932"/>
                </a:moveTo>
                <a:lnTo>
                  <a:pt x="8298694" y="411874"/>
                </a:lnTo>
                <a:lnTo>
                  <a:pt x="8291859" y="395870"/>
                </a:lnTo>
                <a:lnTo>
                  <a:pt x="8265624" y="395870"/>
                </a:lnTo>
                <a:lnTo>
                  <a:pt x="8296943" y="461203"/>
                </a:lnTo>
                <a:lnTo>
                  <a:pt x="8299856" y="461203"/>
                </a:lnTo>
                <a:lnTo>
                  <a:pt x="8350594" y="353932"/>
                </a:lnTo>
                <a:close/>
                <a:moveTo>
                  <a:pt x="8704282" y="315373"/>
                </a:moveTo>
                <a:lnTo>
                  <a:pt x="8704282" y="489998"/>
                </a:lnTo>
                <a:lnTo>
                  <a:pt x="8723671" y="489998"/>
                </a:lnTo>
                <a:lnTo>
                  <a:pt x="8723671" y="315373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57225"/>
                </a:lnTo>
                <a:lnTo>
                  <a:pt x="0" y="65722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Wingdings" pitchFamily="2" charset="2"/>
              <a:buNone/>
              <a:defRPr sz="1400" b="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7850" indent="-30162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5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0D71511-F07B-A04E-A54D-BD95CD8FCE2A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431800" y="317278"/>
            <a:ext cx="8280400" cy="42554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A45110-0167-564A-88EE-77AC9A9796DD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0" y="5148434"/>
            <a:ext cx="0" cy="0"/>
          </a:xfrm>
          <a:prstGeom prst="rect">
            <a:avLst/>
          </a:prstGeom>
          <a:ln w="0">
            <a:solidFill>
              <a:schemeClr val="bg1">
                <a:alpha val="0"/>
              </a:schemeClr>
            </a:solidFill>
          </a:ln>
        </p:spPr>
        <p:txBody>
          <a:bodyPr vert="horz" lIns="0" tIns="45720" rIns="91440" bIns="45720" rtlCol="0" anchor="ctr"/>
          <a:lstStyle>
            <a:lvl1pPr algn="l">
              <a:defRPr sz="15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3D3717A-E9D8-444D-8D16-5A32534671E2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431800" y="925116"/>
            <a:ext cx="8280400" cy="369927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450"/>
              </a:spcBef>
              <a:spcAft>
                <a:spcPts val="225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ing (first level)</a:t>
            </a:r>
          </a:p>
          <a:p>
            <a:pPr lvl="1"/>
            <a:r>
              <a:rPr lang="en-US"/>
              <a:t>Body text (second level)</a:t>
            </a:r>
          </a:p>
          <a:p>
            <a:pPr lvl="2"/>
            <a:r>
              <a:rPr lang="en-US"/>
              <a:t>Square bullet (third level)</a:t>
            </a:r>
          </a:p>
          <a:p>
            <a:pPr lvl="3"/>
            <a:r>
              <a:rPr lang="en-US"/>
              <a:t>Dashed bullet (fourth level)</a:t>
            </a:r>
          </a:p>
          <a:p>
            <a:pPr lvl="4"/>
            <a:r>
              <a:rPr lang="en-US"/>
              <a:t>Dashed bullet (fifth level)</a:t>
            </a:r>
          </a:p>
          <a:p>
            <a:pPr lvl="5"/>
            <a:r>
              <a:rPr lang="en-US"/>
              <a:t>Dashed bullet (sixth level)</a:t>
            </a:r>
          </a:p>
          <a:p>
            <a:pPr lvl="6"/>
            <a:r>
              <a:rPr lang="en-US"/>
              <a:t>Dashed bullet (seventh level)</a:t>
            </a:r>
          </a:p>
          <a:p>
            <a:pPr lvl="7"/>
            <a:r>
              <a:rPr lang="en-US"/>
              <a:t>Dashed bullet (eighth level)</a:t>
            </a:r>
          </a:p>
          <a:p>
            <a:pPr lvl="8"/>
            <a:r>
              <a:rPr lang="en-US"/>
              <a:t>Dashed bullet (ninth level)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39F0740-B130-9148-920F-1FBC5D74BB85}"/>
              </a:ext>
            </a:extLst>
          </p:cNvPr>
          <p:cNvGrpSpPr/>
          <p:nvPr userDrawn="1"/>
        </p:nvGrpSpPr>
        <p:grpSpPr>
          <a:xfrm>
            <a:off x="-256964" y="-185200"/>
            <a:ext cx="9657929" cy="5511516"/>
            <a:chOff x="-256964" y="-246933"/>
            <a:chExt cx="9657929" cy="7348688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73BDEFE8-9FA7-3249-9B81-EC3C5E1E0CD6}"/>
                </a:ext>
              </a:extLst>
            </p:cNvPr>
            <p:cNvGrpSpPr/>
            <p:nvPr userDrawn="1"/>
          </p:nvGrpSpPr>
          <p:grpSpPr>
            <a:xfrm>
              <a:off x="-256964" y="421651"/>
              <a:ext cx="251461" cy="567396"/>
              <a:chOff x="-256404" y="360363"/>
              <a:chExt cx="251461" cy="692152"/>
            </a:xfrm>
          </p:grpSpPr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5E12FD18-FB76-9E45-A035-FA2ACD4D007A}"/>
                  </a:ext>
                </a:extLst>
              </p:cNvPr>
              <p:cNvGrpSpPr/>
              <p:nvPr userDrawn="1"/>
            </p:nvGrpSpPr>
            <p:grpSpPr>
              <a:xfrm rot="16200000">
                <a:off x="-476749" y="580708"/>
                <a:ext cx="692152" cy="251461"/>
                <a:chOff x="431800" y="-235792"/>
                <a:chExt cx="4400551" cy="235792"/>
              </a:xfrm>
            </p:grpSpPr>
            <p:cxnSp>
              <p:nvCxnSpPr>
                <p:cNvPr id="42" name="Straight Connector 41">
                  <a:extLst>
                    <a:ext uri="{FF2B5EF4-FFF2-40B4-BE49-F238E27FC236}">
                      <a16:creationId xmlns:a16="http://schemas.microsoft.com/office/drawing/2014/main" id="{F22B49D1-B420-0E48-A6FA-450123A6193B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Straight Connector 42">
                  <a:extLst>
                    <a:ext uri="{FF2B5EF4-FFF2-40B4-BE49-F238E27FC236}">
                      <a16:creationId xmlns:a16="http://schemas.microsoft.com/office/drawing/2014/main" id="{DB8D8002-031B-CE42-98C5-47AAD17660D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2C8986EF-5E91-E542-AF40-1DD8D8D0DACE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</p:grpSp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4A41689B-8D32-B948-A8FC-5383A4F1BF0A}"/>
                  </a:ext>
                </a:extLst>
              </p:cNvPr>
              <p:cNvSpPr txBox="1"/>
              <p:nvPr userDrawn="1"/>
            </p:nvSpPr>
            <p:spPr>
              <a:xfrm rot="16200000">
                <a:off x="-280590" y="662665"/>
                <a:ext cx="299839" cy="80791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/>
              <a:p>
                <a:pPr algn="ctr"/>
                <a:r>
                  <a:rPr lang="en-US" sz="5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TLE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D3D8E7E2-5950-E647-8606-275BB3DBFB13}"/>
                </a:ext>
              </a:extLst>
            </p:cNvPr>
            <p:cNvGrpSpPr/>
            <p:nvPr userDrawn="1"/>
          </p:nvGrpSpPr>
          <p:grpSpPr>
            <a:xfrm>
              <a:off x="-256963" y="6199390"/>
              <a:ext cx="251461" cy="505509"/>
              <a:chOff x="-256403" y="6200775"/>
              <a:chExt cx="251461" cy="505509"/>
            </a:xfrm>
          </p:grpSpPr>
          <p:grpSp>
            <p:nvGrpSpPr>
              <p:cNvPr id="58" name="Group 57">
                <a:extLst>
                  <a:ext uri="{FF2B5EF4-FFF2-40B4-BE49-F238E27FC236}">
                    <a16:creationId xmlns:a16="http://schemas.microsoft.com/office/drawing/2014/main" id="{AA9EE014-7DD6-A04C-A2C6-7D9CCBE48B53}"/>
                  </a:ext>
                </a:extLst>
              </p:cNvPr>
              <p:cNvGrpSpPr/>
              <p:nvPr userDrawn="1"/>
            </p:nvGrpSpPr>
            <p:grpSpPr>
              <a:xfrm rot="16200000">
                <a:off x="-383427" y="6327799"/>
                <a:ext cx="505509" cy="251461"/>
                <a:chOff x="431800" y="-235792"/>
                <a:chExt cx="4400551" cy="235792"/>
              </a:xfrm>
            </p:grpSpPr>
            <p:cxnSp>
              <p:nvCxnSpPr>
                <p:cNvPr id="59" name="Straight Connector 58">
                  <a:extLst>
                    <a:ext uri="{FF2B5EF4-FFF2-40B4-BE49-F238E27FC236}">
                      <a16:creationId xmlns:a16="http://schemas.microsoft.com/office/drawing/2014/main" id="{73AE3D48-81C2-CC4E-A917-4EFA9A8758E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0" name="Straight Connector 59">
                  <a:extLst>
                    <a:ext uri="{FF2B5EF4-FFF2-40B4-BE49-F238E27FC236}">
                      <a16:creationId xmlns:a16="http://schemas.microsoft.com/office/drawing/2014/main" id="{D7BA2BEC-D71E-2D4A-8263-034DF97FA827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1" name="Rectangle 60">
                  <a:extLst>
                    <a:ext uri="{FF2B5EF4-FFF2-40B4-BE49-F238E27FC236}">
                      <a16:creationId xmlns:a16="http://schemas.microsoft.com/office/drawing/2014/main" id="{C5E46BE6-4D23-5749-A5BA-CC466FA5839E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</p:grpSp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F4593E23-5413-AB48-9A3C-62AE835EAF18}"/>
                  </a:ext>
                </a:extLst>
              </p:cNvPr>
              <p:cNvSpPr txBox="1"/>
              <p:nvPr userDrawn="1"/>
            </p:nvSpPr>
            <p:spPr>
              <a:xfrm rot="16200000">
                <a:off x="-285630" y="6399802"/>
                <a:ext cx="309914" cy="129266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sz="5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FOOT</a:t>
                </a:r>
                <a:br>
                  <a:rPr lang="en-US" sz="5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</a:br>
                <a:r>
                  <a:rPr lang="en-US" sz="5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NOTES</a:t>
                </a: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F27CEBF6-43E9-5F47-8E2C-B54AD33300C0}"/>
                </a:ext>
              </a:extLst>
            </p:cNvPr>
            <p:cNvGrpSpPr/>
            <p:nvPr userDrawn="1"/>
          </p:nvGrpSpPr>
          <p:grpSpPr>
            <a:xfrm>
              <a:off x="431240" y="-246933"/>
              <a:ext cx="8280400" cy="7347304"/>
              <a:chOff x="431240" y="-246933"/>
              <a:chExt cx="8280400" cy="7347304"/>
            </a:xfrm>
          </p:grpSpPr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0FC885F4-0406-DD40-A377-62D4618F4E97}"/>
                  </a:ext>
                </a:extLst>
              </p:cNvPr>
              <p:cNvGrpSpPr/>
              <p:nvPr userDrawn="1"/>
            </p:nvGrpSpPr>
            <p:grpSpPr>
              <a:xfrm>
                <a:off x="431242" y="6864579"/>
                <a:ext cx="8280398" cy="235792"/>
                <a:chOff x="431801" y="-235792"/>
                <a:chExt cx="4400550" cy="235792"/>
              </a:xfrm>
            </p:grpSpPr>
            <p:cxnSp>
              <p:nvCxnSpPr>
                <p:cNvPr id="55" name="Straight Connector 54">
                  <a:extLst>
                    <a:ext uri="{FF2B5EF4-FFF2-40B4-BE49-F238E27FC236}">
                      <a16:creationId xmlns:a16="http://schemas.microsoft.com/office/drawing/2014/main" id="{5BF68FD4-ABD4-6F49-AD60-341BFE5D1119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" name="Straight Connector 55">
                  <a:extLst>
                    <a:ext uri="{FF2B5EF4-FFF2-40B4-BE49-F238E27FC236}">
                      <a16:creationId xmlns:a16="http://schemas.microsoft.com/office/drawing/2014/main" id="{660F2D9F-628D-F44D-844A-F65DE298D8EB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2015149B-889B-6140-AA46-36035191AC4D}"/>
                  </a:ext>
                </a:extLst>
              </p:cNvPr>
              <p:cNvGrpSpPr/>
              <p:nvPr userDrawn="1"/>
            </p:nvGrpSpPr>
            <p:grpSpPr>
              <a:xfrm>
                <a:off x="431240" y="-246933"/>
                <a:ext cx="8280400" cy="235792"/>
                <a:chOff x="431800" y="-240735"/>
                <a:chExt cx="8280400" cy="235792"/>
              </a:xfrm>
            </p:grpSpPr>
            <p:grpSp>
              <p:nvGrpSpPr>
                <p:cNvPr id="29" name="Group 28">
                  <a:extLst>
                    <a:ext uri="{FF2B5EF4-FFF2-40B4-BE49-F238E27FC236}">
                      <a16:creationId xmlns:a16="http://schemas.microsoft.com/office/drawing/2014/main" id="{6943FC13-01DD-AC42-A596-C5EAB432F263}"/>
                    </a:ext>
                  </a:extLst>
                </p:cNvPr>
                <p:cNvGrpSpPr/>
                <p:nvPr userDrawn="1"/>
              </p:nvGrpSpPr>
              <p:grpSpPr>
                <a:xfrm>
                  <a:off x="431800" y="-240735"/>
                  <a:ext cx="8280400" cy="235792"/>
                  <a:chOff x="431800" y="-235792"/>
                  <a:chExt cx="4400551" cy="235792"/>
                </a:xfrm>
              </p:grpSpPr>
              <p:cxnSp>
                <p:nvCxnSpPr>
                  <p:cNvPr id="23" name="Straight Connector 22">
                    <a:extLst>
                      <a:ext uri="{FF2B5EF4-FFF2-40B4-BE49-F238E27FC236}">
                        <a16:creationId xmlns:a16="http://schemas.microsoft.com/office/drawing/2014/main" id="{12F2B51E-5808-304B-9933-3B15AE6AE843}"/>
                      </a:ext>
                    </a:extLst>
                  </p:cNvPr>
                  <p:cNvCxnSpPr>
                    <a:cxnSpLocks/>
                  </p:cNvCxnSpPr>
                  <p:nvPr userDrawn="1"/>
                </p:nvCxnSpPr>
                <p:spPr>
                  <a:xfrm flipV="1">
                    <a:off x="4832351" y="-235792"/>
                    <a:ext cx="0" cy="235792"/>
                  </a:xfrm>
                  <a:prstGeom prst="line">
                    <a:avLst/>
                  </a:prstGeom>
                  <a:ln w="25400"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4" name="Straight Connector 23">
                    <a:extLst>
                      <a:ext uri="{FF2B5EF4-FFF2-40B4-BE49-F238E27FC236}">
                        <a16:creationId xmlns:a16="http://schemas.microsoft.com/office/drawing/2014/main" id="{A3FF3526-1234-674B-80E7-BCA857B95E8C}"/>
                      </a:ext>
                    </a:extLst>
                  </p:cNvPr>
                  <p:cNvCxnSpPr>
                    <a:cxnSpLocks/>
                  </p:cNvCxnSpPr>
                  <p:nvPr userDrawn="1"/>
                </p:nvCxnSpPr>
                <p:spPr>
                  <a:xfrm flipV="1">
                    <a:off x="431801" y="-235792"/>
                    <a:ext cx="0" cy="235791"/>
                  </a:xfrm>
                  <a:prstGeom prst="line">
                    <a:avLst/>
                  </a:prstGeom>
                  <a:ln w="25400"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22" name="Rectangle 21">
                    <a:extLst>
                      <a:ext uri="{FF2B5EF4-FFF2-40B4-BE49-F238E27FC236}">
                        <a16:creationId xmlns:a16="http://schemas.microsoft.com/office/drawing/2014/main" id="{F4605588-4BA0-B14E-B9D7-4220945390FF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2514180" y="-2318172"/>
                    <a:ext cx="235791" cy="4400551"/>
                  </a:xfrm>
                  <a:prstGeom prst="rect">
                    <a:avLst/>
                  </a:prstGeom>
                  <a:solidFill>
                    <a:schemeClr val="accent2">
                      <a:alpha val="1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50"/>
                  </a:p>
                </p:txBody>
              </p:sp>
            </p:grp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75E48346-3BAB-6A45-BD6B-2E12F1AC491B}"/>
                    </a:ext>
                  </a:extLst>
                </p:cNvPr>
                <p:cNvSpPr txBox="1"/>
                <p:nvPr userDrawn="1"/>
              </p:nvSpPr>
              <p:spPr>
                <a:xfrm>
                  <a:off x="3883466" y="-176700"/>
                  <a:ext cx="1377081" cy="107721"/>
                </a:xfrm>
                <a:prstGeom prst="rect">
                  <a:avLst/>
                </a:prstGeom>
              </p:spPr>
              <p:txBody>
                <a:bodyPr vert="horz" wrap="none" lIns="108000" tIns="0" rIns="108000" bIns="0" rtlCol="0" anchor="ctr">
                  <a:spAutoFit/>
                </a:bodyPr>
                <a:lstStyle/>
                <a:p>
                  <a:pPr algn="ctr"/>
                  <a:r>
                    <a:rPr lang="en-US" sz="525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KEEP CONTENT WITHIN THIS AREA</a:t>
                  </a:r>
                </a:p>
              </p:txBody>
            </p:sp>
            <p:cxnSp>
              <p:nvCxnSpPr>
                <p:cNvPr id="64" name="Straight Arrow Connector 63">
                  <a:extLst>
                    <a:ext uri="{FF2B5EF4-FFF2-40B4-BE49-F238E27FC236}">
                      <a16:creationId xmlns:a16="http://schemas.microsoft.com/office/drawing/2014/main" id="{7C3A3DDC-8736-8B47-957C-4DB3DC7BA389}"/>
                    </a:ext>
                  </a:extLst>
                </p:cNvPr>
                <p:cNvCxnSpPr>
                  <a:cxnSpLocks/>
                  <a:stCxn id="30" idx="1"/>
                  <a:endCxn id="22" idx="2"/>
                </p:cNvCxnSpPr>
                <p:nvPr userDrawn="1"/>
              </p:nvCxnSpPr>
              <p:spPr>
                <a:xfrm flipH="1">
                  <a:off x="431800" y="-122839"/>
                  <a:ext cx="3451666" cy="1"/>
                </a:xfrm>
                <a:prstGeom prst="straightConnector1">
                  <a:avLst/>
                </a:prstGeom>
                <a:ln>
                  <a:solidFill>
                    <a:schemeClr val="accent2"/>
                  </a:solidFill>
                  <a:tailEnd type="arrow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5" name="Straight Arrow Connector 64">
                  <a:extLst>
                    <a:ext uri="{FF2B5EF4-FFF2-40B4-BE49-F238E27FC236}">
                      <a16:creationId xmlns:a16="http://schemas.microsoft.com/office/drawing/2014/main" id="{9E1BBA66-E33F-5246-A101-D1F7F9E3EFE0}"/>
                    </a:ext>
                  </a:extLst>
                </p:cNvPr>
                <p:cNvCxnSpPr>
                  <a:cxnSpLocks/>
                  <a:stCxn id="30" idx="3"/>
                  <a:endCxn id="22" idx="0"/>
                </p:cNvCxnSpPr>
                <p:nvPr userDrawn="1"/>
              </p:nvCxnSpPr>
              <p:spPr>
                <a:xfrm>
                  <a:off x="5260547" y="-122839"/>
                  <a:ext cx="3451653" cy="0"/>
                </a:xfrm>
                <a:prstGeom prst="straightConnector1">
                  <a:avLst/>
                </a:prstGeom>
                <a:ln>
                  <a:solidFill>
                    <a:schemeClr val="accent2"/>
                  </a:solidFill>
                  <a:tailEnd type="arrow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00980A37-D446-294D-95D8-4AE280E4D28B}"/>
                </a:ext>
              </a:extLst>
            </p:cNvPr>
            <p:cNvGrpSpPr/>
            <p:nvPr userDrawn="1"/>
          </p:nvGrpSpPr>
          <p:grpSpPr>
            <a:xfrm>
              <a:off x="-256963" y="1233487"/>
              <a:ext cx="251461" cy="4930977"/>
              <a:chOff x="-256403" y="1304924"/>
              <a:chExt cx="251461" cy="4843215"/>
            </a:xfrm>
          </p:grpSpPr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45EE91C7-0375-8348-97F0-234CD68ACFF0}"/>
                  </a:ext>
                </a:extLst>
              </p:cNvPr>
              <p:cNvGrpSpPr/>
              <p:nvPr userDrawn="1"/>
            </p:nvGrpSpPr>
            <p:grpSpPr>
              <a:xfrm rot="16200000">
                <a:off x="-2552280" y="3600801"/>
                <a:ext cx="4843215" cy="251461"/>
                <a:chOff x="431800" y="-235792"/>
                <a:chExt cx="4400551" cy="235792"/>
              </a:xfrm>
            </p:grpSpPr>
            <p:cxnSp>
              <p:nvCxnSpPr>
                <p:cNvPr id="37" name="Straight Connector 36">
                  <a:extLst>
                    <a:ext uri="{FF2B5EF4-FFF2-40B4-BE49-F238E27FC236}">
                      <a16:creationId xmlns:a16="http://schemas.microsoft.com/office/drawing/2014/main" id="{2EC75812-09C4-7D47-9562-5A8554E02090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Straight Connector 37">
                  <a:extLst>
                    <a:ext uri="{FF2B5EF4-FFF2-40B4-BE49-F238E27FC236}">
                      <a16:creationId xmlns:a16="http://schemas.microsoft.com/office/drawing/2014/main" id="{786B1498-4B03-674C-80E6-9988AA331A62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3DD40D0F-5B45-A441-A065-F744384DF89A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/>
                </a:p>
              </p:txBody>
            </p:sp>
          </p:grp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CE0455E3-6AFB-7D40-BC14-7ACB1F9DAD6E}"/>
                  </a:ext>
                </a:extLst>
              </p:cNvPr>
              <p:cNvSpPr txBox="1"/>
              <p:nvPr userDrawn="1"/>
            </p:nvSpPr>
            <p:spPr>
              <a:xfrm rot="16200000">
                <a:off x="-1032387" y="3686135"/>
                <a:ext cx="1803429" cy="80791"/>
              </a:xfrm>
              <a:prstGeom prst="rect">
                <a:avLst/>
              </a:prstGeom>
            </p:spPr>
            <p:txBody>
              <a:bodyPr vert="horz" wrap="none" lIns="108000" tIns="0" rIns="108000" bIns="0" rtlCol="0" anchor="ctr">
                <a:spAutoFit/>
              </a:bodyPr>
              <a:lstStyle/>
              <a:p>
                <a:pPr algn="ctr"/>
                <a:r>
                  <a:rPr lang="en-US" sz="5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KEEP CONTENT WITHIN THIS AREA</a:t>
                </a:r>
              </a:p>
            </p:txBody>
          </p:sp>
          <p:cxnSp>
            <p:nvCxnSpPr>
              <p:cNvPr id="66" name="Straight Arrow Connector 65">
                <a:extLst>
                  <a:ext uri="{FF2B5EF4-FFF2-40B4-BE49-F238E27FC236}">
                    <a16:creationId xmlns:a16="http://schemas.microsoft.com/office/drawing/2014/main" id="{369A0288-B930-114B-B48F-D4F3EF647C47}"/>
                  </a:ext>
                </a:extLst>
              </p:cNvPr>
              <p:cNvCxnSpPr>
                <a:cxnSpLocks/>
                <a:stCxn id="40" idx="1"/>
              </p:cNvCxnSpPr>
              <p:nvPr userDrawn="1"/>
            </p:nvCxnSpPr>
            <p:spPr>
              <a:xfrm>
                <a:off x="-130672" y="4628245"/>
                <a:ext cx="0" cy="1519893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Arrow Connector 66">
                <a:extLst>
                  <a:ext uri="{FF2B5EF4-FFF2-40B4-BE49-F238E27FC236}">
                    <a16:creationId xmlns:a16="http://schemas.microsoft.com/office/drawing/2014/main" id="{C5709236-298B-344F-AFF7-86E5F553B2FA}"/>
                  </a:ext>
                </a:extLst>
              </p:cNvPr>
              <p:cNvCxnSpPr>
                <a:cxnSpLocks/>
                <a:stCxn id="40" idx="3"/>
              </p:cNvCxnSpPr>
              <p:nvPr userDrawn="1"/>
            </p:nvCxnSpPr>
            <p:spPr>
              <a:xfrm flipH="1" flipV="1">
                <a:off x="-130673" y="1304928"/>
                <a:ext cx="1" cy="1519888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6943FE73-F9AD-6244-A555-E55A255D9C2B}"/>
                </a:ext>
              </a:extLst>
            </p:cNvPr>
            <p:cNvGrpSpPr/>
            <p:nvPr userDrawn="1"/>
          </p:nvGrpSpPr>
          <p:grpSpPr>
            <a:xfrm rot="16200000">
              <a:off x="8991537" y="579617"/>
              <a:ext cx="567396" cy="251461"/>
              <a:chOff x="431801" y="-235792"/>
              <a:chExt cx="4400550" cy="235792"/>
            </a:xfrm>
          </p:grpSpPr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C3628860-D8D8-0042-9BCF-5AA5EE7B104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D8BB8402-4D22-B448-885D-1B05C4E245E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5AE26B18-92DF-3249-AC98-8FA7C7C05ACB}"/>
                </a:ext>
              </a:extLst>
            </p:cNvPr>
            <p:cNvGrpSpPr/>
            <p:nvPr userDrawn="1"/>
          </p:nvGrpSpPr>
          <p:grpSpPr>
            <a:xfrm rot="16200000">
              <a:off x="9022480" y="6326414"/>
              <a:ext cx="505509" cy="251461"/>
              <a:chOff x="431801" y="-235792"/>
              <a:chExt cx="4400550" cy="235792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CF4903C6-7D49-3144-8CA4-C4535B8178A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C18B5DD9-7082-2F46-B230-AB7FEF259DF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2450701C-1FD4-734B-B53D-04C1A47F09EC}"/>
                </a:ext>
              </a:extLst>
            </p:cNvPr>
            <p:cNvGrpSpPr/>
            <p:nvPr userDrawn="1"/>
          </p:nvGrpSpPr>
          <p:grpSpPr>
            <a:xfrm rot="16200000">
              <a:off x="6810642" y="3574139"/>
              <a:ext cx="4929186" cy="251461"/>
              <a:chOff x="431801" y="-235792"/>
              <a:chExt cx="4462347" cy="235792"/>
            </a:xfrm>
          </p:grpSpPr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EA7F5C02-DBA8-114C-B8AD-E6E39FB3E4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94148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2BBED8D4-0952-E441-B264-00A3F7C399D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3C2F4607-7DC3-324D-879F-E486D0EDF66B}"/>
                </a:ext>
              </a:extLst>
            </p:cNvPr>
            <p:cNvGrpSpPr/>
            <p:nvPr userDrawn="1"/>
          </p:nvGrpSpPr>
          <p:grpSpPr>
            <a:xfrm>
              <a:off x="3121397" y="6865965"/>
              <a:ext cx="2929914" cy="235790"/>
              <a:chOff x="3121388" y="6869197"/>
              <a:chExt cx="2929914" cy="235790"/>
            </a:xfrm>
          </p:grpSpPr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AEF875DB-5EB3-4849-8E5F-39088FA886E7}"/>
                  </a:ext>
                </a:extLst>
              </p:cNvPr>
              <p:cNvGrpSpPr/>
              <p:nvPr userDrawn="1"/>
            </p:nvGrpSpPr>
            <p:grpSpPr>
              <a:xfrm>
                <a:off x="3184525" y="6869197"/>
                <a:ext cx="2774950" cy="60992"/>
                <a:chOff x="3184525" y="6869196"/>
                <a:chExt cx="2774950" cy="235791"/>
              </a:xfrm>
            </p:grpSpPr>
            <p:cxnSp>
              <p:nvCxnSpPr>
                <p:cNvPr id="73" name="Straight Connector 72">
                  <a:extLst>
                    <a:ext uri="{FF2B5EF4-FFF2-40B4-BE49-F238E27FC236}">
                      <a16:creationId xmlns:a16="http://schemas.microsoft.com/office/drawing/2014/main" id="{401B80A4-C088-3F40-B2A2-2D862F375A3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3184525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4" name="Straight Connector 73">
                  <a:extLst>
                    <a:ext uri="{FF2B5EF4-FFF2-40B4-BE49-F238E27FC236}">
                      <a16:creationId xmlns:a16="http://schemas.microsoft.com/office/drawing/2014/main" id="{D2736629-EF45-5843-9E91-AF39A137BD0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569513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3" name="Straight Connector 82">
                  <a:extLst>
                    <a:ext uri="{FF2B5EF4-FFF2-40B4-BE49-F238E27FC236}">
                      <a16:creationId xmlns:a16="http://schemas.microsoft.com/office/drawing/2014/main" id="{AD5C415B-C58A-5143-B195-53B6A53B164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5959475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7CA58A63-C828-AB49-B77B-45A6B4DBDD83}"/>
                  </a:ext>
                </a:extLst>
              </p:cNvPr>
              <p:cNvSpPr txBox="1"/>
              <p:nvPr userDrawn="1"/>
            </p:nvSpPr>
            <p:spPr>
              <a:xfrm>
                <a:off x="3121388" y="6954537"/>
                <a:ext cx="153888" cy="861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sz="5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1/3</a:t>
                </a:r>
                <a:r>
                  <a:rPr lang="en-US" sz="488" kern="1200" baseline="300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RD</a:t>
                </a:r>
              </a:p>
            </p:txBody>
          </p:sp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0005311A-1292-E544-A38B-88988BFE1577}"/>
                  </a:ext>
                </a:extLst>
              </p:cNvPr>
              <p:cNvSpPr txBox="1"/>
              <p:nvPr userDrawn="1"/>
            </p:nvSpPr>
            <p:spPr>
              <a:xfrm>
                <a:off x="4487590" y="6954537"/>
                <a:ext cx="171522" cy="861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sz="5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HALF</a:t>
                </a:r>
              </a:p>
            </p:txBody>
          </p:sp>
          <p:sp>
            <p:nvSpPr>
              <p:cNvPr id="90" name="TextBox 89">
                <a:extLst>
                  <a:ext uri="{FF2B5EF4-FFF2-40B4-BE49-F238E27FC236}">
                    <a16:creationId xmlns:a16="http://schemas.microsoft.com/office/drawing/2014/main" id="{417A683D-6BBC-AD4D-9603-29408D7E4EE4}"/>
                  </a:ext>
                </a:extLst>
              </p:cNvPr>
              <p:cNvSpPr txBox="1"/>
              <p:nvPr userDrawn="1"/>
            </p:nvSpPr>
            <p:spPr>
              <a:xfrm>
                <a:off x="5870162" y="6954537"/>
                <a:ext cx="181140" cy="861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sz="525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2/3</a:t>
                </a:r>
                <a:r>
                  <a:rPr lang="en-US" sz="488" baseline="300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RDS</a:t>
                </a:r>
              </a:p>
            </p:txBody>
          </p:sp>
          <p:grpSp>
            <p:nvGrpSpPr>
              <p:cNvPr id="91" name="Group 90">
                <a:extLst>
                  <a:ext uri="{FF2B5EF4-FFF2-40B4-BE49-F238E27FC236}">
                    <a16:creationId xmlns:a16="http://schemas.microsoft.com/office/drawing/2014/main" id="{3236913A-BD45-484F-BBAE-557205654333}"/>
                  </a:ext>
                </a:extLst>
              </p:cNvPr>
              <p:cNvGrpSpPr/>
              <p:nvPr userDrawn="1"/>
            </p:nvGrpSpPr>
            <p:grpSpPr>
              <a:xfrm>
                <a:off x="3184525" y="7040714"/>
                <a:ext cx="2774950" cy="64273"/>
                <a:chOff x="3184525" y="6869196"/>
                <a:chExt cx="2774950" cy="235791"/>
              </a:xfrm>
            </p:grpSpPr>
            <p:cxnSp>
              <p:nvCxnSpPr>
                <p:cNvPr id="94" name="Straight Connector 93">
                  <a:extLst>
                    <a:ext uri="{FF2B5EF4-FFF2-40B4-BE49-F238E27FC236}">
                      <a16:creationId xmlns:a16="http://schemas.microsoft.com/office/drawing/2014/main" id="{B8DC771C-3FBD-2747-9F87-9ED9BB8478E7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3184525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5" name="Straight Connector 94">
                  <a:extLst>
                    <a:ext uri="{FF2B5EF4-FFF2-40B4-BE49-F238E27FC236}">
                      <a16:creationId xmlns:a16="http://schemas.microsoft.com/office/drawing/2014/main" id="{FE5CA426-9DD9-D944-BE42-16A5DAC54CD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569513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6" name="Straight Connector 95">
                  <a:extLst>
                    <a:ext uri="{FF2B5EF4-FFF2-40B4-BE49-F238E27FC236}">
                      <a16:creationId xmlns:a16="http://schemas.microsoft.com/office/drawing/2014/main" id="{02052529-8A86-4346-9F9F-9FB1DD488169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5959475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98" name="Slide Number Placeholder 97">
            <a:extLst>
              <a:ext uri="{FF2B5EF4-FFF2-40B4-BE49-F238E27FC236}">
                <a16:creationId xmlns:a16="http://schemas.microsoft.com/office/drawing/2014/main" id="{8B997069-D21E-5945-9056-B66AD470AD31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8790039" y="4887111"/>
            <a:ext cx="350454" cy="13096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 algn="l">
              <a:defRPr sz="675" b="1">
                <a:solidFill>
                  <a:schemeClr val="accent1"/>
                </a:solidFill>
              </a:defRPr>
            </a:lvl1pPr>
          </a:lstStyle>
          <a:p>
            <a:pPr marL="9525"/>
            <a:fld id="{078C017C-E1B9-8443-B047-B08AAA027B45}" type="slidenum">
              <a:rPr lang="en-US" smtClean="0"/>
              <a:pPr marL="9525"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CDD5D0-2B57-DD49-8A52-35BB8429C6FC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0" y="5148434"/>
            <a:ext cx="0" cy="0"/>
          </a:xfrm>
          <a:prstGeom prst="rect">
            <a:avLst/>
          </a:prstGeom>
          <a:ln w="0">
            <a:solidFill>
              <a:schemeClr val="bg1">
                <a:alpha val="0"/>
              </a:schemeClr>
            </a:solidFill>
          </a:ln>
        </p:spPr>
        <p:txBody>
          <a:bodyPr vert="horz" lIns="0" tIns="0" rIns="0" bIns="0" rtlCol="0" anchor="b"/>
          <a:lstStyle>
            <a:lvl1pPr marL="3572" indent="0" algn="l">
              <a:buFont typeface="Arial" panose="020B0604020202020204" pitchFamily="34" charset="0"/>
              <a:buNone/>
              <a:tabLst/>
              <a:defRPr sz="150">
                <a:solidFill>
                  <a:schemeClr val="tx1">
                    <a:alpha val="0"/>
                  </a:schemeClr>
                </a:solidFill>
              </a:defRPr>
            </a:lvl1pPr>
            <a:lvl2pPr marL="3572" indent="0" algn="l">
              <a:tabLst/>
              <a:defRPr sz="825"/>
            </a:lvl2pPr>
            <a:lvl3pPr marL="3572" indent="0" algn="l">
              <a:tabLst/>
              <a:defRPr sz="825"/>
            </a:lvl3pPr>
            <a:lvl4pPr marL="3572" indent="0" algn="l">
              <a:tabLst/>
              <a:defRPr sz="825"/>
            </a:lvl4pPr>
            <a:lvl5pPr marL="3572" indent="0" algn="l">
              <a:tabLst/>
              <a:defRPr sz="825"/>
            </a:lvl5pPr>
            <a:lvl6pPr marL="3572" indent="0" algn="l">
              <a:tabLst/>
              <a:defRPr sz="825"/>
            </a:lvl6pPr>
            <a:lvl7pPr marL="3572" indent="0" algn="l">
              <a:tabLst/>
              <a:defRPr sz="825"/>
            </a:lvl7pPr>
            <a:lvl8pPr marL="3572" indent="0" algn="l">
              <a:tabLst/>
              <a:defRPr sz="825"/>
            </a:lvl8pPr>
            <a:lvl9pPr marL="3572" indent="0" algn="l">
              <a:tabLst/>
              <a:defRPr sz="825"/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02038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1" r:id="rId12"/>
    <p:sldLayoutId id="2147483672" r:id="rId13"/>
    <p:sldLayoutId id="2147483673" r:id="rId14"/>
    <p:sldLayoutId id="2147483674" r:id="rId15"/>
    <p:sldLayoutId id="2147483675" r:id="rId16"/>
    <p:sldLayoutId id="2147483676" r:id="rId17"/>
    <p:sldLayoutId id="2147483677" r:id="rId18"/>
    <p:sldLayoutId id="2147483678" r:id="rId19"/>
    <p:sldLayoutId id="2147483679" r:id="rId20"/>
    <p:sldLayoutId id="2147483680" r:id="rId21"/>
    <p:sldLayoutId id="2147483681" r:id="rId22"/>
    <p:sldLayoutId id="2147483682" r:id="rId23"/>
    <p:sldLayoutId id="2147483683" r:id="rId24"/>
    <p:sldLayoutId id="2147483684" r:id="rId25"/>
    <p:sldLayoutId id="2147483685" r:id="rId26"/>
    <p:sldLayoutId id="2147483686" r:id="rId27"/>
    <p:sldLayoutId id="2147483687" r:id="rId28"/>
    <p:sldLayoutId id="2147483688" r:id="rId29"/>
    <p:sldLayoutId id="2147483689" r:id="rId30"/>
    <p:sldLayoutId id="2147483690" r:id="rId31"/>
    <p:sldLayoutId id="2147483691" r:id="rId32"/>
    <p:sldLayoutId id="2147483692" r:id="rId33"/>
    <p:sldLayoutId id="2147483693" r:id="rId34"/>
    <p:sldLayoutId id="2147483694" r:id="rId35"/>
    <p:sldLayoutId id="2147483695" r:id="rId36"/>
    <p:sldLayoutId id="2147483696" r:id="rId37"/>
    <p:sldLayoutId id="2147483697" r:id="rId38"/>
    <p:sldLayoutId id="2147483698" r:id="rId39"/>
    <p:sldLayoutId id="2147483699" r:id="rId40"/>
    <p:sldLayoutId id="2147483700" r:id="rId41"/>
    <p:sldLayoutId id="2147483701" r:id="rId42"/>
    <p:sldLayoutId id="2147483702" r:id="rId43"/>
    <p:sldLayoutId id="2147483703" r:id="rId44"/>
    <p:sldLayoutId id="2147483704" r:id="rId45"/>
    <p:sldLayoutId id="2147483705" r:id="rId46"/>
    <p:sldLayoutId id="2147483706" r:id="rId47"/>
    <p:sldLayoutId id="2147483707" r:id="rId48"/>
    <p:sldLayoutId id="2147483708" r:id="rId49"/>
    <p:sldLayoutId id="2147483709" r:id="rId50"/>
    <p:sldLayoutId id="2147483710" r:id="rId51"/>
    <p:sldLayoutId id="2147483711" r:id="rId52"/>
    <p:sldLayoutId id="2147483712" r:id="rId53"/>
    <p:sldLayoutId id="2147483713" r:id="rId54"/>
    <p:sldLayoutId id="2147483714" r:id="rId55"/>
    <p:sldLayoutId id="2147483715" r:id="rId56"/>
    <p:sldLayoutId id="2147483716" r:id="rId57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425" b="1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685800" rtl="0" eaLnBrk="1" fontAlgn="auto" latinLnBrk="0" hangingPunct="1">
        <a:lnSpc>
          <a:spcPct val="90000"/>
        </a:lnSpc>
        <a:spcBef>
          <a:spcPts val="450"/>
        </a:spcBef>
        <a:spcAft>
          <a:spcPts val="225"/>
        </a:spcAft>
        <a:buClrTx/>
        <a:buSzTx/>
        <a:buFont typeface="Wingdings" pitchFamily="2" charset="2"/>
        <a:buNone/>
        <a:tabLst/>
        <a:defRPr sz="105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ct val="90000"/>
        </a:lnSpc>
        <a:spcBef>
          <a:spcPts val="0"/>
        </a:spcBef>
        <a:spcAft>
          <a:spcPts val="225"/>
        </a:spcAft>
        <a:buFont typeface="System Font Regular"/>
        <a:buNone/>
        <a:tabLst/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200025" indent="-200025" algn="l" defTabSz="685800" rtl="0" eaLnBrk="1" latinLnBrk="0" hangingPunct="1">
        <a:lnSpc>
          <a:spcPct val="90000"/>
        </a:lnSpc>
        <a:spcBef>
          <a:spcPts val="0"/>
        </a:spcBef>
        <a:spcAft>
          <a:spcPts val="225"/>
        </a:spcAft>
        <a:buFont typeface="Wingdings" pitchFamily="2" charset="2"/>
        <a:buChar char="§"/>
        <a:tabLst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413100" indent="-199800" algn="l" defTabSz="685800" rtl="0" eaLnBrk="1" latinLnBrk="0" hangingPunct="1">
        <a:lnSpc>
          <a:spcPct val="90000"/>
        </a:lnSpc>
        <a:spcBef>
          <a:spcPts val="0"/>
        </a:spcBef>
        <a:spcAft>
          <a:spcPts val="225"/>
        </a:spcAft>
        <a:buFont typeface="System Font Regular"/>
        <a:buChar char="–"/>
        <a:tabLst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626400" indent="-199800" algn="l" defTabSz="685800" rtl="0" eaLnBrk="1" latinLnBrk="0" hangingPunct="1">
        <a:lnSpc>
          <a:spcPct val="90000"/>
        </a:lnSpc>
        <a:spcBef>
          <a:spcPts val="0"/>
        </a:spcBef>
        <a:spcAft>
          <a:spcPts val="225"/>
        </a:spcAft>
        <a:buFont typeface="System Font Regular"/>
        <a:buChar char="–"/>
        <a:tabLst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626400" indent="-199800" algn="l" defTabSz="685800" rtl="0" eaLnBrk="1" latinLnBrk="0" hangingPunct="1">
        <a:lnSpc>
          <a:spcPct val="90000"/>
        </a:lnSpc>
        <a:spcBef>
          <a:spcPts val="0"/>
        </a:spcBef>
        <a:spcAft>
          <a:spcPts val="225"/>
        </a:spcAft>
        <a:buFont typeface="System Font Regular"/>
        <a:buChar char="–"/>
        <a:tabLst/>
        <a:defRPr sz="1050" kern="1200">
          <a:solidFill>
            <a:schemeClr val="tx1"/>
          </a:solidFill>
          <a:latin typeface="+mn-lt"/>
          <a:ea typeface="+mn-ea"/>
          <a:cs typeface="+mn-cs"/>
        </a:defRPr>
      </a:lvl6pPr>
      <a:lvl7pPr marL="626400" indent="-199800" algn="l" defTabSz="685800" rtl="0" eaLnBrk="1" latinLnBrk="0" hangingPunct="1">
        <a:lnSpc>
          <a:spcPct val="90000"/>
        </a:lnSpc>
        <a:spcBef>
          <a:spcPts val="0"/>
        </a:spcBef>
        <a:spcAft>
          <a:spcPts val="225"/>
        </a:spcAft>
        <a:buFont typeface="System Font Regular"/>
        <a:buChar char="–"/>
        <a:tabLst/>
        <a:defRPr sz="1050" kern="1200">
          <a:solidFill>
            <a:schemeClr val="tx1"/>
          </a:solidFill>
          <a:latin typeface="+mn-lt"/>
          <a:ea typeface="+mn-ea"/>
          <a:cs typeface="+mn-cs"/>
        </a:defRPr>
      </a:lvl7pPr>
      <a:lvl8pPr marL="626400" indent="-199800" algn="l" defTabSz="685800" rtl="0" eaLnBrk="1" latinLnBrk="0" hangingPunct="1">
        <a:lnSpc>
          <a:spcPct val="90000"/>
        </a:lnSpc>
        <a:spcBef>
          <a:spcPts val="0"/>
        </a:spcBef>
        <a:spcAft>
          <a:spcPts val="225"/>
        </a:spcAft>
        <a:buFont typeface="System Font Regular"/>
        <a:buChar char="–"/>
        <a:tabLst/>
        <a:defRPr sz="1050" kern="1200">
          <a:solidFill>
            <a:schemeClr val="tx1"/>
          </a:solidFill>
          <a:latin typeface="+mn-lt"/>
          <a:ea typeface="+mn-ea"/>
          <a:cs typeface="+mn-cs"/>
        </a:defRPr>
      </a:lvl8pPr>
      <a:lvl9pPr marL="626400" indent="-199800" algn="l" defTabSz="685800" rtl="0" eaLnBrk="1" latinLnBrk="0" hangingPunct="1">
        <a:lnSpc>
          <a:spcPct val="90000"/>
        </a:lnSpc>
        <a:spcBef>
          <a:spcPts val="0"/>
        </a:spcBef>
        <a:spcAft>
          <a:spcPts val="225"/>
        </a:spcAft>
        <a:buFont typeface="System Font Regular"/>
        <a:buChar char="–"/>
        <a:tabLst/>
        <a:defRPr sz="10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00025" indent="-200025" algn="l" defTabSz="685800" rtl="0" eaLnBrk="1" latinLnBrk="0" hangingPunct="1">
        <a:lnSpc>
          <a:spcPct val="90000"/>
        </a:lnSpc>
        <a:spcBef>
          <a:spcPts val="0"/>
        </a:spcBef>
        <a:spcAft>
          <a:spcPts val="225"/>
        </a:spcAft>
        <a:buFont typeface="Wingdings" pitchFamily="2" charset="2"/>
        <a:buChar char="§"/>
        <a:tabLst/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13100" indent="-199800" algn="l" defTabSz="685800" rtl="0" eaLnBrk="1" latinLnBrk="0" hangingPunct="1">
        <a:lnSpc>
          <a:spcPct val="90000"/>
        </a:lnSpc>
        <a:spcBef>
          <a:spcPts val="0"/>
        </a:spcBef>
        <a:spcAft>
          <a:spcPts val="225"/>
        </a:spcAft>
        <a:buFont typeface="System Font Regular"/>
        <a:buChar char="–"/>
        <a:tabLst/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26400" indent="-199800" algn="l" defTabSz="685800" rtl="0" eaLnBrk="1" latinLnBrk="0" hangingPunct="1">
        <a:lnSpc>
          <a:spcPct val="90000"/>
        </a:lnSpc>
        <a:spcBef>
          <a:spcPts val="0"/>
        </a:spcBef>
        <a:spcAft>
          <a:spcPts val="225"/>
        </a:spcAft>
        <a:buFont typeface="System Font Regular"/>
        <a:buChar char="–"/>
        <a:tabLst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626400" indent="-199800" algn="l" defTabSz="685800" rtl="0" eaLnBrk="1" latinLnBrk="0" hangingPunct="1">
        <a:lnSpc>
          <a:spcPct val="90000"/>
        </a:lnSpc>
        <a:spcBef>
          <a:spcPts val="0"/>
        </a:spcBef>
        <a:spcAft>
          <a:spcPts val="225"/>
        </a:spcAft>
        <a:buFont typeface="System Font Regular"/>
        <a:buChar char="–"/>
        <a:tabLst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626400" indent="-199800" algn="l" defTabSz="685800" rtl="0" eaLnBrk="1" latinLnBrk="0" hangingPunct="1">
        <a:lnSpc>
          <a:spcPct val="90000"/>
        </a:lnSpc>
        <a:spcBef>
          <a:spcPts val="0"/>
        </a:spcBef>
        <a:spcAft>
          <a:spcPts val="225"/>
        </a:spcAft>
        <a:buFont typeface="System Font Regular"/>
        <a:buChar char="–"/>
        <a:tabLst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626400" indent="-199800" algn="l" defTabSz="685800" rtl="0" eaLnBrk="1" latinLnBrk="0" hangingPunct="1">
        <a:lnSpc>
          <a:spcPct val="90000"/>
        </a:lnSpc>
        <a:spcBef>
          <a:spcPts val="0"/>
        </a:spcBef>
        <a:spcAft>
          <a:spcPts val="225"/>
        </a:spcAft>
        <a:buFont typeface="System Font Regular"/>
        <a:buChar char="–"/>
        <a:tabLst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626400" indent="-199800" algn="l" defTabSz="685800" rtl="0" eaLnBrk="1" latinLnBrk="0" hangingPunct="1">
        <a:lnSpc>
          <a:spcPct val="90000"/>
        </a:lnSpc>
        <a:spcBef>
          <a:spcPts val="0"/>
        </a:spcBef>
        <a:spcAft>
          <a:spcPts val="225"/>
        </a:spcAft>
        <a:buFont typeface="System Font Regular"/>
        <a:buChar char="–"/>
        <a:tabLst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626400" indent="-199800" algn="l" defTabSz="685800" rtl="0" eaLnBrk="1" latinLnBrk="0" hangingPunct="1">
        <a:lnSpc>
          <a:spcPct val="90000"/>
        </a:lnSpc>
        <a:spcBef>
          <a:spcPts val="0"/>
        </a:spcBef>
        <a:spcAft>
          <a:spcPts val="225"/>
        </a:spcAft>
        <a:buFont typeface="System Font Regular"/>
        <a:buChar char="–"/>
        <a:tabLst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880">
          <p15:clr>
            <a:srgbClr val="A4A3A4"/>
          </p15:clr>
        </p15:guide>
        <p15:guide id="3" pos="272">
          <p15:clr>
            <a:srgbClr val="C35EA4"/>
          </p15:clr>
        </p15:guide>
        <p15:guide id="4" pos="5488">
          <p15:clr>
            <a:srgbClr val="C35EA4"/>
          </p15:clr>
        </p15:guide>
        <p15:guide id="5" orient="horz" pos="624">
          <p15:clr>
            <a:srgbClr val="A4A3A4"/>
          </p15:clr>
        </p15:guide>
        <p15:guide id="6" orient="horz" pos="777">
          <p15:clr>
            <a:srgbClr val="F26B43"/>
          </p15:clr>
        </p15:guide>
        <p15:guide id="7" orient="horz" pos="3884">
          <p15:clr>
            <a:srgbClr val="F26B43"/>
          </p15:clr>
        </p15:guide>
        <p15:guide id="9" orient="horz" pos="3906">
          <p15:clr>
            <a:srgbClr val="A4A3A4"/>
          </p15:clr>
        </p15:guide>
        <p15:guide id="10" orient="horz" pos="4224">
          <p15:clr>
            <a:srgbClr val="A4A3A4"/>
          </p15:clr>
        </p15:guide>
        <p15:guide id="11" orient="horz" pos="265">
          <p15:clr>
            <a:srgbClr val="A4A3A4"/>
          </p15:clr>
        </p15:guide>
        <p15:guide id="13" pos="5624">
          <p15:clr>
            <a:srgbClr val="F26B43"/>
          </p15:clr>
        </p15:guide>
        <p15:guide id="14" orient="horz" pos="701">
          <p15:clr>
            <a:srgbClr val="5ACBF0"/>
          </p15:clr>
        </p15:guide>
        <p15:guide id="15" pos="136">
          <p15:clr>
            <a:srgbClr val="F26B43"/>
          </p15:clr>
        </p15:guide>
        <p15:guide id="16" pos="2006">
          <p15:clr>
            <a:srgbClr val="A4A3A4"/>
          </p15:clr>
        </p15:guide>
        <p15:guide id="17" pos="3754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5400000">
            <a:off x="5269960" y="1270048"/>
            <a:ext cx="5145551" cy="2609561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>
          <a:xfrm>
            <a:off x="6553960" y="0"/>
            <a:ext cx="2590040" cy="5143500"/>
          </a:xfrm>
          <a:prstGeom prst="rect">
            <a:avLst/>
          </a:prstGeom>
          <a:solidFill>
            <a:srgbClr val="232D4B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1" y="754380"/>
            <a:ext cx="5438042" cy="157734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672084" y="2573505"/>
            <a:ext cx="2726772" cy="1"/>
          </a:xfrm>
          <a:prstGeom prst="line">
            <a:avLst/>
          </a:prstGeom>
          <a:ln w="57150">
            <a:solidFill>
              <a:srgbClr val="7FCFE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6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1940" y="3064301"/>
            <a:ext cx="2549250" cy="2097748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5698" y="3843112"/>
            <a:ext cx="1466564" cy="696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3957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</p:sldLayoutIdLst>
  <p:hf hdr="0" dt="0"/>
  <p:txStyles>
    <p:titleStyle>
      <a:lvl1pPr algn="l" defTabSz="685800" rtl="0" eaLnBrk="1" latinLnBrk="0" hangingPunct="1">
        <a:lnSpc>
          <a:spcPct val="80000"/>
        </a:lnSpc>
        <a:spcBef>
          <a:spcPct val="0"/>
        </a:spcBef>
        <a:buNone/>
        <a:defRPr lang="en-US" sz="3900" b="1" kern="1200" cap="none" spc="-75" baseline="0" dirty="0">
          <a:solidFill>
            <a:srgbClr val="232D4B"/>
          </a:solidFill>
          <a:latin typeface="ITC Franklin Gothic Std MedCd" panose="020B0606030503020204" pitchFamily="34" charset="0"/>
          <a:ea typeface="+mj-ea"/>
          <a:cs typeface="Arial" panose="020B0604020202020204" pitchFamily="34" charset="0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1" y="4652840"/>
            <a:ext cx="9143999" cy="494180"/>
          </a:xfrm>
          <a:prstGeom prst="rect">
            <a:avLst/>
          </a:prstGeom>
          <a:solidFill>
            <a:srgbClr val="232D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srgbClr val="FFFFFF"/>
              </a:solidFill>
            </a:endParaRP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309360" y="4767263"/>
            <a:ext cx="185166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75" kern="1200" spc="0" baseline="0" dirty="0" smtClean="0">
                <a:solidFill>
                  <a:srgbClr val="F1F1EF"/>
                </a:solidFill>
                <a:latin typeface="ITC Franklin Gothic Std Bk Cd" panose="020B05060305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OPER CENTER </a:t>
            </a:r>
            <a:r>
              <a:rPr lang="en-US" sz="1200" dirty="0"/>
              <a:t>|</a:t>
            </a:r>
            <a:r>
              <a:rPr lang="en-US" dirty="0"/>
              <a:t> PUBLIC SERVICE</a:t>
            </a:r>
          </a:p>
        </p:txBody>
      </p:sp>
      <p:sp>
        <p:nvSpPr>
          <p:cNvPr id="13" name="Oval 12"/>
          <p:cNvSpPr/>
          <p:nvPr userDrawn="1"/>
        </p:nvSpPr>
        <p:spPr>
          <a:xfrm>
            <a:off x="8304122" y="4792922"/>
            <a:ext cx="217170" cy="217170"/>
          </a:xfrm>
          <a:prstGeom prst="ellipse">
            <a:avLst/>
          </a:prstGeom>
          <a:solidFill>
            <a:srgbClr val="7FCF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57033" y="4780026"/>
            <a:ext cx="311351" cy="2429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25">
                <a:solidFill>
                  <a:srgbClr val="F1F1EF"/>
                </a:solidFill>
                <a:latin typeface="ITC Franklin Gothic Std Bk Cd" panose="020B0506030503020204" pitchFamily="34" charset="0"/>
                <a:cs typeface="Arial" panose="020B0604020202020204" pitchFamily="34" charset="0"/>
              </a:defRPr>
            </a:lvl1pPr>
          </a:lstStyle>
          <a:p>
            <a:fld id="{F2085B6F-5DD0-4AA7-A598-31079D007F5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4080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" y="4658464"/>
            <a:ext cx="9143999" cy="494180"/>
          </a:xfrm>
          <a:prstGeom prst="rect">
            <a:avLst/>
          </a:prstGeom>
          <a:solidFill>
            <a:srgbClr val="232D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8640" y="411480"/>
            <a:ext cx="8023860" cy="411480"/>
          </a:xfrm>
          <a:prstGeom prst="rect">
            <a:avLst/>
          </a:prstGeom>
        </p:spPr>
        <p:txBody>
          <a:bodyPr vert="horz" lIns="91440" tIns="45720" rIns="91440" bIns="0"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0" y="843534"/>
            <a:ext cx="4272361" cy="157734"/>
            <a:chOff x="0" y="1817918"/>
            <a:chExt cx="5696481" cy="210312"/>
          </a:xfrm>
        </p:grpSpPr>
        <p:sp>
          <p:nvSpPr>
            <p:cNvPr id="5" name="Oval 4"/>
            <p:cNvSpPr/>
            <p:nvPr userDrawn="1"/>
          </p:nvSpPr>
          <p:spPr>
            <a:xfrm>
              <a:off x="5486169" y="1817918"/>
              <a:ext cx="210312" cy="210312"/>
            </a:xfrm>
            <a:prstGeom prst="ellipse">
              <a:avLst/>
            </a:prstGeom>
            <a:solidFill>
              <a:srgbClr val="7FCF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/>
            </a:p>
          </p:txBody>
        </p:sp>
        <p:cxnSp>
          <p:nvCxnSpPr>
            <p:cNvPr id="15" name="Straight Connector 14"/>
            <p:cNvCxnSpPr/>
            <p:nvPr userDrawn="1"/>
          </p:nvCxnSpPr>
          <p:spPr>
            <a:xfrm>
              <a:off x="0" y="1920654"/>
              <a:ext cx="5486400" cy="0"/>
            </a:xfrm>
            <a:prstGeom prst="line">
              <a:avLst/>
            </a:prstGeom>
            <a:ln w="28575">
              <a:solidFill>
                <a:srgbClr val="7FCFE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Text Placeholder 7"/>
          <p:cNvSpPr>
            <a:spLocks noGrp="1"/>
          </p:cNvSpPr>
          <p:nvPr userDrawn="1">
            <p:ph type="body" idx="1"/>
          </p:nvPr>
        </p:nvSpPr>
        <p:spPr>
          <a:xfrm>
            <a:off x="548640" y="1303020"/>
            <a:ext cx="8023860" cy="3086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309360" y="4767263"/>
            <a:ext cx="185166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75" kern="1200" spc="0" baseline="0" dirty="0" smtClean="0">
                <a:solidFill>
                  <a:srgbClr val="F1F1EF"/>
                </a:solidFill>
                <a:latin typeface="ITC Franklin Gothic Std Bk Cd" panose="020B05060305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/>
              <a:t>COOPER CENTER </a:t>
            </a:r>
            <a:r>
              <a:rPr lang="en-US" sz="1200"/>
              <a:t>|</a:t>
            </a:r>
            <a:r>
              <a:rPr lang="en-US"/>
              <a:t> PUBLIC SERVICE</a:t>
            </a:r>
          </a:p>
        </p:txBody>
      </p:sp>
      <p:sp>
        <p:nvSpPr>
          <p:cNvPr id="12" name="Oval 11"/>
          <p:cNvSpPr/>
          <p:nvPr userDrawn="1"/>
        </p:nvSpPr>
        <p:spPr>
          <a:xfrm>
            <a:off x="8304122" y="4792922"/>
            <a:ext cx="217170" cy="217170"/>
          </a:xfrm>
          <a:prstGeom prst="ellipse">
            <a:avLst/>
          </a:prstGeom>
          <a:solidFill>
            <a:srgbClr val="7FCF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57033" y="4780026"/>
            <a:ext cx="311351" cy="2429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25">
                <a:solidFill>
                  <a:srgbClr val="F1F1EF"/>
                </a:solidFill>
                <a:latin typeface="ITC Franklin Gothic Std Bk Cd" panose="020B0506030503020204" pitchFamily="34" charset="0"/>
                <a:cs typeface="Arial" panose="020B0604020202020204" pitchFamily="34" charset="0"/>
              </a:defRPr>
            </a:lvl1pPr>
          </a:lstStyle>
          <a:p>
            <a:fld id="{F2085B6F-5DD0-4AA7-A598-31079D007F5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16183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</p:sldLayoutIdLst>
  <p:hf hdr="0" dt="0"/>
  <p:txStyles>
    <p:titleStyle>
      <a:lvl1pPr algn="l" defTabSz="685800" rtl="0" eaLnBrk="1" latinLnBrk="0" hangingPunct="1">
        <a:lnSpc>
          <a:spcPct val="80000"/>
        </a:lnSpc>
        <a:spcBef>
          <a:spcPct val="0"/>
        </a:spcBef>
        <a:buNone/>
        <a:defRPr lang="en-US" sz="3300" b="1" i="0" u="none" strike="noStrike" kern="1200" cap="none" spc="-75" baseline="0" dirty="0" smtClean="0">
          <a:solidFill>
            <a:srgbClr val="232D4B"/>
          </a:solidFill>
          <a:uFillTx/>
          <a:latin typeface="ITC Franklin Gothic Std MedCd" panose="020B0606030503020204" pitchFamily="34" charset="0"/>
          <a:ea typeface="+mj-ea"/>
          <a:cs typeface="+mj-cs"/>
          <a:sym typeface="ITC Franklin Gothic Std Book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lang="en-US" sz="1800" kern="1200" spc="-38" baseline="0" dirty="0">
          <a:solidFill>
            <a:srgbClr val="232D4B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42900" indent="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indent="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None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None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1"/>
            </a:gs>
            <a:gs pos="100000">
              <a:srgbClr val="F1F1F1"/>
            </a:gs>
          </a:gsLst>
          <a:lin ang="5400000" scaled="1"/>
          <a:tileRect/>
        </a:gra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AB18DEA-6401-00D8-9E66-333E5517C4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1981"/>
            <a:ext cx="7886700" cy="5372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0D806E3-32CC-EE1C-6466-4836C195E5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205421"/>
            <a:ext cx="7924800" cy="333609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07101461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90" r:id="rId6"/>
    <p:sldLayoutId id="2147483791" r:id="rId7"/>
    <p:sldLayoutId id="2147483792" r:id="rId8"/>
    <p:sldLayoutId id="2147483793" r:id="rId9"/>
  </p:sldLayoutIdLst>
  <p:hf hd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ts val="324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400" b="1" i="0" u="none" strike="noStrike" cap="none" dirty="0">
          <a:solidFill>
            <a:schemeClr val="bg2"/>
          </a:solidFill>
          <a:latin typeface="+mj-lt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L="139700" marR="0" lvl="0" indent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Tx/>
        <a:buNone/>
        <a:defRPr sz="1800" b="0" i="0" u="none" strike="noStrike" cap="none">
          <a:solidFill>
            <a:schemeClr val="bg2"/>
          </a:solidFill>
          <a:latin typeface="+mn-lt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600" b="0" i="0" u="none" strike="noStrike" cap="none">
          <a:solidFill>
            <a:schemeClr val="bg2"/>
          </a:solidFill>
          <a:latin typeface="+mn-lt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chemeClr val="bg2"/>
          </a:solidFill>
          <a:latin typeface="+mn-lt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chemeClr val="bg2"/>
          </a:solidFill>
          <a:latin typeface="+mn-lt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00" b="0" i="0" u="none" strike="noStrike" cap="none">
          <a:solidFill>
            <a:schemeClr val="bg2"/>
          </a:solidFill>
          <a:latin typeface="+mn-lt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2">
          <p15:clr>
            <a:srgbClr val="F26B43"/>
          </p15:clr>
        </p15:guide>
        <p15:guide id="2" pos="384">
          <p15:clr>
            <a:srgbClr val="F26B43"/>
          </p15:clr>
        </p15:guide>
        <p15:guide id="3" pos="5376">
          <p15:clr>
            <a:srgbClr val="F26B43"/>
          </p15:clr>
        </p15:guide>
        <p15:guide id="4" orient="horz" pos="286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2">
            <a:extLst>
              <a:ext uri="{FF2B5EF4-FFF2-40B4-BE49-F238E27FC236}">
                <a16:creationId xmlns:a16="http://schemas.microsoft.com/office/drawing/2014/main" id="{BC801806-FA62-6EDB-B8C4-E28F15BA8E9E}"/>
              </a:ext>
            </a:extLst>
          </p:cNvPr>
          <p:cNvPicPr>
            <a:picLocks noGrp="1" noChangeAspect="1"/>
          </p:cNvPicPr>
          <p:nvPr>
            <p:ph type="pic" idx="2"/>
          </p:nvPr>
        </p:nvPicPr>
        <p:blipFill>
          <a:blip r:embed="rId3"/>
          <a:srcRect l="22746" r="22746"/>
          <a:stretch>
            <a:fillRect/>
          </a:stretch>
        </p:blipFill>
        <p:spPr>
          <a:prstGeom prst="rect">
            <a:avLst/>
          </a:prstGeom>
          <a:noFill/>
          <a:ln>
            <a:solidFill>
              <a:srgbClr val="004150"/>
            </a:solidFill>
            <a:round/>
          </a:ln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439F542F-B908-68B0-7CEE-E7711805C111}"/>
              </a:ext>
            </a:extLst>
          </p:cNvPr>
          <p:cNvSpPr/>
          <p:nvPr/>
        </p:nvSpPr>
        <p:spPr>
          <a:xfrm>
            <a:off x="609600" y="966686"/>
            <a:ext cx="188976" cy="23286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  <a:sym typeface="Arial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8BEEBE4-5D55-FE80-5CCC-79EED6C39C62}"/>
              </a:ext>
            </a:extLst>
          </p:cNvPr>
          <p:cNvSpPr txBox="1"/>
          <p:nvPr/>
        </p:nvSpPr>
        <p:spPr>
          <a:xfrm>
            <a:off x="920496" y="966686"/>
            <a:ext cx="4364304" cy="16876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44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VIRGINIA</a:t>
            </a:r>
            <a:r>
              <a:rPr lang="en-US" sz="3600" b="1" dirty="0">
                <a:solidFill>
                  <a:srgbClr val="004150"/>
                </a:solidFill>
                <a:latin typeface="Century Gothic" panose="020F0302020204030204"/>
              </a:rPr>
              <a:t> GROWTH &amp; OPPORTUNITY BOARD</a:t>
            </a:r>
            <a:endParaRPr kumimoji="0" lang="en-US" sz="3600" b="1" i="0" u="none" strike="noStrike" kern="0" cap="none" spc="0" normalizeH="0" baseline="0" noProof="0" dirty="0">
              <a:ln>
                <a:noFill/>
              </a:ln>
              <a:solidFill>
                <a:srgbClr val="004150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7BA9179-B62E-2824-8C26-2E4316EEC381}"/>
              </a:ext>
            </a:extLst>
          </p:cNvPr>
          <p:cNvSpPr txBox="1"/>
          <p:nvPr/>
        </p:nvSpPr>
        <p:spPr>
          <a:xfrm>
            <a:off x="944880" y="2710142"/>
            <a:ext cx="3919728" cy="6668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5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2800" dirty="0">
                <a:solidFill>
                  <a:srgbClr val="004150"/>
                </a:solidFill>
                <a:latin typeface="Century Gothic" panose="020F0302020204030204"/>
              </a:rPr>
              <a:t>Business Meeting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004150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ts val="25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2800" dirty="0">
                <a:solidFill>
                  <a:srgbClr val="004150"/>
                </a:solidFill>
                <a:latin typeface="Century Gothic" panose="020F0302020204030204"/>
              </a:rPr>
              <a:t>June 9, 2026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004150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0">
          <a:extLst>
            <a:ext uri="{FF2B5EF4-FFF2-40B4-BE49-F238E27FC236}">
              <a16:creationId xmlns:a16="http://schemas.microsoft.com/office/drawing/2014/main" id="{8384D876-EB13-0C22-266C-9E5A3003F1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7FCD5B81-2F4E-6284-06B3-A47EE109AD4C}"/>
              </a:ext>
            </a:extLst>
          </p:cNvPr>
          <p:cNvSpPr/>
          <p:nvPr/>
        </p:nvSpPr>
        <p:spPr>
          <a:xfrm>
            <a:off x="6322979" y="597035"/>
            <a:ext cx="2211422" cy="1231765"/>
          </a:xfrm>
          <a:prstGeom prst="roundRect">
            <a:avLst>
              <a:gd name="adj" fmla="val 5065"/>
            </a:avLst>
          </a:prstGeom>
          <a:gradFill>
            <a:gsLst>
              <a:gs pos="0">
                <a:schemeClr val="accent1"/>
              </a:gs>
              <a:gs pos="100000">
                <a:srgbClr val="2F8B8F"/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  <a:sym typeface="Arial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99CE38CA-D3EA-E9A1-C5E7-AEA8C3CA36F0}"/>
              </a:ext>
            </a:extLst>
          </p:cNvPr>
          <p:cNvSpPr/>
          <p:nvPr/>
        </p:nvSpPr>
        <p:spPr>
          <a:xfrm>
            <a:off x="4002894" y="590550"/>
            <a:ext cx="2211422" cy="2373144"/>
          </a:xfrm>
          <a:prstGeom prst="roundRect">
            <a:avLst>
              <a:gd name="adj" fmla="val 5065"/>
            </a:avLst>
          </a:prstGeom>
          <a:gradFill>
            <a:gsLst>
              <a:gs pos="0">
                <a:schemeClr val="tx2"/>
              </a:gs>
              <a:gs pos="100000">
                <a:srgbClr val="006684"/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  <a:sym typeface="Arial"/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1B1E11FB-529C-E092-C9A9-5C673998EE79}"/>
              </a:ext>
            </a:extLst>
          </p:cNvPr>
          <p:cNvSpPr/>
          <p:nvPr/>
        </p:nvSpPr>
        <p:spPr>
          <a:xfrm>
            <a:off x="6322979" y="1939451"/>
            <a:ext cx="2211422" cy="2607013"/>
          </a:xfrm>
          <a:prstGeom prst="roundRect">
            <a:avLst>
              <a:gd name="adj" fmla="val 5065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  <a:sym typeface="Arial"/>
            </a:endParaRP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D8DB8A1B-B2C7-0202-C789-37CF1DBB536D}"/>
              </a:ext>
            </a:extLst>
          </p:cNvPr>
          <p:cNvSpPr/>
          <p:nvPr/>
        </p:nvSpPr>
        <p:spPr>
          <a:xfrm>
            <a:off x="4002894" y="3080832"/>
            <a:ext cx="2211422" cy="1465632"/>
          </a:xfrm>
          <a:prstGeom prst="roundRect">
            <a:avLst>
              <a:gd name="adj" fmla="val 5065"/>
            </a:avLst>
          </a:prstGeom>
          <a:gradFill>
            <a:gsLst>
              <a:gs pos="0">
                <a:srgbClr val="8E66A8"/>
              </a:gs>
              <a:gs pos="100000">
                <a:srgbClr val="7A5792"/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  <a:sym typeface="Arial"/>
            </a:endParaRPr>
          </a:p>
        </p:txBody>
      </p:sp>
      <p:sp>
        <p:nvSpPr>
          <p:cNvPr id="9" name="Google Shape;163;p17">
            <a:extLst>
              <a:ext uri="{FF2B5EF4-FFF2-40B4-BE49-F238E27FC236}">
                <a16:creationId xmlns:a16="http://schemas.microsoft.com/office/drawing/2014/main" id="{1F26A6A1-A8E8-A35C-370A-EAAEA533614D}"/>
              </a:ext>
            </a:extLst>
          </p:cNvPr>
          <p:cNvSpPr txBox="1"/>
          <p:nvPr/>
        </p:nvSpPr>
        <p:spPr>
          <a:xfrm>
            <a:off x="4208835" y="798073"/>
            <a:ext cx="1394298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20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GOVA Request:</a:t>
            </a:r>
            <a:endParaRPr kumimoji="0" sz="20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0" name="Google Shape;163;p17">
            <a:extLst>
              <a:ext uri="{FF2B5EF4-FFF2-40B4-BE49-F238E27FC236}">
                <a16:creationId xmlns:a16="http://schemas.microsoft.com/office/drawing/2014/main" id="{B38AC489-4E5C-6D4C-9699-02F0062A2F10}"/>
              </a:ext>
            </a:extLst>
          </p:cNvPr>
          <p:cNvSpPr txBox="1"/>
          <p:nvPr/>
        </p:nvSpPr>
        <p:spPr>
          <a:xfrm>
            <a:off x="4218564" y="3208285"/>
            <a:ext cx="1394298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8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Additional Leverage: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1" name="Google Shape;163;p17">
            <a:extLst>
              <a:ext uri="{FF2B5EF4-FFF2-40B4-BE49-F238E27FC236}">
                <a16:creationId xmlns:a16="http://schemas.microsoft.com/office/drawing/2014/main" id="{EAAE1542-9CEF-BFEB-6F99-B93BE7735837}"/>
              </a:ext>
            </a:extLst>
          </p:cNvPr>
          <p:cNvSpPr txBox="1"/>
          <p:nvPr/>
        </p:nvSpPr>
        <p:spPr>
          <a:xfrm>
            <a:off x="4208835" y="1721443"/>
            <a:ext cx="1802859" cy="2180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8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Total Match: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2" name="Google Shape;163;p17">
            <a:extLst>
              <a:ext uri="{FF2B5EF4-FFF2-40B4-BE49-F238E27FC236}">
                <a16:creationId xmlns:a16="http://schemas.microsoft.com/office/drawing/2014/main" id="{4181C5FC-2EC9-8ED6-AC08-576DE9E12BEF}"/>
              </a:ext>
            </a:extLst>
          </p:cNvPr>
          <p:cNvSpPr txBox="1"/>
          <p:nvPr/>
        </p:nvSpPr>
        <p:spPr>
          <a:xfrm>
            <a:off x="4240192" y="3959553"/>
            <a:ext cx="1802859" cy="2180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8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Total Budget: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0115B5A-3054-BEE4-2A9E-5DC8FBE7074F}"/>
              </a:ext>
            </a:extLst>
          </p:cNvPr>
          <p:cNvSpPr txBox="1"/>
          <p:nvPr/>
        </p:nvSpPr>
        <p:spPr>
          <a:xfrm>
            <a:off x="4155588" y="1251214"/>
            <a:ext cx="175746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2400" b="1" dirty="0">
                <a:solidFill>
                  <a:srgbClr val="FEFFFF"/>
                </a:solidFill>
                <a:latin typeface="Century Gothic" panose="020F0302020204030204"/>
              </a:rPr>
              <a:t>$139,777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FB9A2E2-1C79-985B-89A4-55E6DADE57AA}"/>
              </a:ext>
            </a:extLst>
          </p:cNvPr>
          <p:cNvSpPr txBox="1"/>
          <p:nvPr/>
        </p:nvSpPr>
        <p:spPr>
          <a:xfrm>
            <a:off x="4218564" y="1970742"/>
            <a:ext cx="17574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600" dirty="0">
                <a:solidFill>
                  <a:srgbClr val="FEFFFF"/>
                </a:solidFill>
                <a:latin typeface="Century Gothic" panose="020F0302020204030204"/>
              </a:rPr>
              <a:t>$71,530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2" name="Google Shape;163;p17">
            <a:extLst>
              <a:ext uri="{FF2B5EF4-FFF2-40B4-BE49-F238E27FC236}">
                <a16:creationId xmlns:a16="http://schemas.microsoft.com/office/drawing/2014/main" id="{F097F391-E042-83B0-B0AA-F44F60A88C98}"/>
              </a:ext>
            </a:extLst>
          </p:cNvPr>
          <p:cNvSpPr txBox="1"/>
          <p:nvPr/>
        </p:nvSpPr>
        <p:spPr>
          <a:xfrm>
            <a:off x="304008" y="272287"/>
            <a:ext cx="3479537" cy="9618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48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ea typeface="Roboto"/>
                <a:cs typeface="Arial"/>
                <a:sym typeface="Roboto"/>
              </a:rPr>
              <a:t>Region 2: Sweet Briar Thermal Engineering Program in Greater Lynchburg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57912D7-A7EF-8338-7EDF-B80A89A06788}"/>
              </a:ext>
            </a:extLst>
          </p:cNvPr>
          <p:cNvSpPr txBox="1"/>
          <p:nvPr/>
        </p:nvSpPr>
        <p:spPr>
          <a:xfrm>
            <a:off x="301240" y="1152374"/>
            <a:ext cx="3441657" cy="25619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000" b="1" dirty="0">
                <a:solidFill>
                  <a:srgbClr val="004150"/>
                </a:solidFill>
                <a:latin typeface="Century Gothic" panose="020F0302020204030204"/>
              </a:rPr>
              <a:t>Target Cluster(s): </a:t>
            </a:r>
            <a:r>
              <a:rPr lang="en-US" sz="1000" dirty="0">
                <a:solidFill>
                  <a:srgbClr val="004150"/>
                </a:solidFill>
                <a:latin typeface="Century Gothic" panose="020F0302020204030204"/>
              </a:rPr>
              <a:t>IT, Engineering Services, and Emerging Technology</a:t>
            </a:r>
            <a:endParaRPr lang="en-US" sz="1000" b="1" dirty="0">
              <a:solidFill>
                <a:srgbClr val="004150"/>
              </a:solidFill>
              <a:latin typeface="Century Gothic" panose="020F0302020204030204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Applicant: </a:t>
            </a:r>
            <a:r>
              <a:rPr lang="en-US" sz="1000" dirty="0">
                <a:solidFill>
                  <a:srgbClr val="004150"/>
                </a:solidFill>
                <a:latin typeface="Century Gothic" panose="020F0302020204030204"/>
              </a:rPr>
              <a:t>Sweet Briar College</a:t>
            </a:r>
            <a:endParaRPr kumimoji="0" lang="en-US" sz="1000" i="0" u="none" strike="noStrike" kern="0" cap="none" spc="0" normalizeH="0" baseline="0" noProof="0" dirty="0">
              <a:ln>
                <a:noFill/>
              </a:ln>
              <a:solidFill>
                <a:srgbClr val="004150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000" b="1" dirty="0">
                <a:solidFill>
                  <a:srgbClr val="004150"/>
                </a:solidFill>
                <a:latin typeface="Century Gothic" panose="020F0302020204030204"/>
              </a:rPr>
              <a:t>Investment Strategy: </a:t>
            </a:r>
            <a:r>
              <a:rPr lang="en-US" sz="1000" dirty="0">
                <a:solidFill>
                  <a:srgbClr val="004150"/>
                </a:solidFill>
                <a:latin typeface="Century Gothic" panose="020F0302020204030204"/>
              </a:rPr>
              <a:t>Talent Development</a:t>
            </a:r>
            <a:endParaRPr lang="en-US" sz="1000" b="1" dirty="0">
              <a:solidFill>
                <a:srgbClr val="004150"/>
              </a:solidFill>
              <a:latin typeface="Century Gothic" panose="020F0302020204030204"/>
            </a:endParaRPr>
          </a:p>
          <a:p>
            <a:pPr lvl="0">
              <a:lnSpc>
                <a:spcPct val="150000"/>
              </a:lnSpc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Goal: </a:t>
            </a:r>
            <a:r>
              <a:rPr lang="en-US" sz="1000" dirty="0">
                <a:solidFill>
                  <a:schemeClr val="bg2"/>
                </a:solidFill>
                <a:latin typeface="+mn-lt"/>
              </a:rPr>
              <a:t>To expand the pool of qualified engineers trained in thermal systems prepared to work in the energy sector with Region 2. </a:t>
            </a: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Outcomes: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15 </a:t>
            </a:r>
            <a:r>
              <a:rPr lang="en-US" sz="800" dirty="0">
                <a:solidFill>
                  <a:srgbClr val="004150"/>
                </a:solidFill>
                <a:latin typeface="Century Gothic" panose="020F0302020204030204"/>
              </a:rPr>
              <a:t>p</a:t>
            </a:r>
            <a:r>
              <a:rPr kumimoji="0" lang="en-US" sz="800" i="0" u="none" strike="noStrike" kern="0" cap="none" spc="0" normalizeH="0" baseline="0" noProof="0" dirty="0" err="1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eople</a:t>
            </a:r>
            <a:r>
              <a:rPr kumimoji="0" lang="en-US" sz="800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 trained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800" dirty="0">
                <a:solidFill>
                  <a:srgbClr val="004150"/>
                </a:solidFill>
                <a:latin typeface="Century Gothic" panose="020F0302020204030204"/>
              </a:rPr>
              <a:t>3 job placements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7 interns placed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800" i="0" u="none" strike="noStrike" kern="0" cap="none" spc="0" normalizeH="0" baseline="0" noProof="0" dirty="0">
              <a:ln>
                <a:noFill/>
              </a:ln>
              <a:solidFill>
                <a:srgbClr val="004150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5" name="Google Shape;163;p17">
            <a:extLst>
              <a:ext uri="{FF2B5EF4-FFF2-40B4-BE49-F238E27FC236}">
                <a16:creationId xmlns:a16="http://schemas.microsoft.com/office/drawing/2014/main" id="{045D44EF-8F96-3209-07D0-CA8824A07992}"/>
              </a:ext>
            </a:extLst>
          </p:cNvPr>
          <p:cNvSpPr txBox="1"/>
          <p:nvPr/>
        </p:nvSpPr>
        <p:spPr>
          <a:xfrm>
            <a:off x="6456144" y="690888"/>
            <a:ext cx="1945091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6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Workgroup Reccomendation: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3" name="Google Shape;163;p17">
            <a:extLst>
              <a:ext uri="{FF2B5EF4-FFF2-40B4-BE49-F238E27FC236}">
                <a16:creationId xmlns:a16="http://schemas.microsoft.com/office/drawing/2014/main" id="{08C552FA-8E4E-F53E-24D2-C7A4367DB8CD}"/>
              </a:ext>
            </a:extLst>
          </p:cNvPr>
          <p:cNvSpPr txBox="1"/>
          <p:nvPr/>
        </p:nvSpPr>
        <p:spPr>
          <a:xfrm>
            <a:off x="4208835" y="2288685"/>
            <a:ext cx="1802859" cy="2180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8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Local Match: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2E8F70E-44D1-B309-5FA0-C0669DA4131F}"/>
              </a:ext>
            </a:extLst>
          </p:cNvPr>
          <p:cNvSpPr txBox="1"/>
          <p:nvPr/>
        </p:nvSpPr>
        <p:spPr>
          <a:xfrm>
            <a:off x="4218564" y="2535458"/>
            <a:ext cx="17574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600" dirty="0">
                <a:solidFill>
                  <a:srgbClr val="FEFFFF"/>
                </a:solidFill>
                <a:latin typeface="Century Gothic" panose="020F0302020204030204"/>
              </a:rPr>
              <a:t>$23,000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BA16E9D-6F51-DFCA-294F-B78AF2F7A915}"/>
              </a:ext>
            </a:extLst>
          </p:cNvPr>
          <p:cNvSpPr txBox="1"/>
          <p:nvPr/>
        </p:nvSpPr>
        <p:spPr>
          <a:xfrm>
            <a:off x="4155589" y="3661426"/>
            <a:ext cx="17574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600" dirty="0">
                <a:solidFill>
                  <a:srgbClr val="FEFFFF"/>
                </a:solidFill>
                <a:latin typeface="Century Gothic" panose="020F0302020204030204"/>
              </a:rPr>
              <a:t>$ - 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485B687-B5B4-3F07-1B6D-54B6C9117E85}"/>
              </a:ext>
            </a:extLst>
          </p:cNvPr>
          <p:cNvSpPr txBox="1"/>
          <p:nvPr/>
        </p:nvSpPr>
        <p:spPr>
          <a:xfrm>
            <a:off x="4155588" y="4196574"/>
            <a:ext cx="17574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600" dirty="0">
                <a:solidFill>
                  <a:srgbClr val="FEFFFF"/>
                </a:solidFill>
                <a:latin typeface="Century Gothic" panose="020F0302020204030204"/>
              </a:rPr>
              <a:t>$211,307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83B3121-5A00-0993-2EDE-DDF5E94C937C}"/>
              </a:ext>
            </a:extLst>
          </p:cNvPr>
          <p:cNvSpPr txBox="1"/>
          <p:nvPr/>
        </p:nvSpPr>
        <p:spPr>
          <a:xfrm>
            <a:off x="6494242" y="1316269"/>
            <a:ext cx="17574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/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Arial"/>
                <a:sym typeface="Arial"/>
              </a:rPr>
              <a:t>Defer</a:t>
            </a:r>
          </a:p>
        </p:txBody>
      </p:sp>
      <p:sp>
        <p:nvSpPr>
          <p:cNvPr id="24" name="Google Shape;163;p17">
            <a:extLst>
              <a:ext uri="{FF2B5EF4-FFF2-40B4-BE49-F238E27FC236}">
                <a16:creationId xmlns:a16="http://schemas.microsoft.com/office/drawing/2014/main" id="{6D18DB35-EA3C-1D28-8EBC-7F819139E018}"/>
              </a:ext>
            </a:extLst>
          </p:cNvPr>
          <p:cNvSpPr txBox="1"/>
          <p:nvPr/>
        </p:nvSpPr>
        <p:spPr>
          <a:xfrm>
            <a:off x="6471545" y="2065564"/>
            <a:ext cx="1802859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6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Participating Localities: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B3C807B-8A79-1ED8-E5B5-F14791C36816}"/>
              </a:ext>
            </a:extLst>
          </p:cNvPr>
          <p:cNvSpPr txBox="1"/>
          <p:nvPr/>
        </p:nvSpPr>
        <p:spPr>
          <a:xfrm>
            <a:off x="6429986" y="2535458"/>
            <a:ext cx="1971249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bg1"/>
                </a:solidFill>
                <a:latin typeface="+mj-lt"/>
              </a:rPr>
              <a:t>Amherst</a:t>
            </a: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Arial"/>
                <a:sym typeface="Arial"/>
              </a:rPr>
              <a:t> County (Cash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bg1"/>
                </a:solidFill>
                <a:latin typeface="+mj-lt"/>
              </a:rPr>
              <a:t>Campbell County (Cash and In-Kind)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cs typeface="Arial"/>
              <a:sym typeface="Arial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bg1"/>
                </a:solidFill>
                <a:latin typeface="+mj-lt"/>
              </a:rPr>
              <a:t>Town of Amherst (Cash)</a:t>
            </a:r>
          </a:p>
        </p:txBody>
      </p:sp>
    </p:spTree>
    <p:extLst>
      <p:ext uri="{BB962C8B-B14F-4D97-AF65-F5344CB8AC3E}">
        <p14:creationId xmlns:p14="http://schemas.microsoft.com/office/powerpoint/2010/main" val="27554787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0">
          <a:extLst>
            <a:ext uri="{FF2B5EF4-FFF2-40B4-BE49-F238E27FC236}">
              <a16:creationId xmlns:a16="http://schemas.microsoft.com/office/drawing/2014/main" id="{37B83B91-7452-123C-1633-E5391154A6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EFC63763-24FD-280E-A41E-DF08CC6B8D2A}"/>
              </a:ext>
            </a:extLst>
          </p:cNvPr>
          <p:cNvSpPr/>
          <p:nvPr/>
        </p:nvSpPr>
        <p:spPr>
          <a:xfrm>
            <a:off x="6322979" y="597035"/>
            <a:ext cx="2211422" cy="1231765"/>
          </a:xfrm>
          <a:prstGeom prst="roundRect">
            <a:avLst>
              <a:gd name="adj" fmla="val 5065"/>
            </a:avLst>
          </a:prstGeom>
          <a:gradFill>
            <a:gsLst>
              <a:gs pos="0">
                <a:schemeClr val="accent1"/>
              </a:gs>
              <a:gs pos="100000">
                <a:srgbClr val="2F8B8F"/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  <a:sym typeface="Arial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96C25F10-0ED4-3397-8B36-1C6600ABB5EF}"/>
              </a:ext>
            </a:extLst>
          </p:cNvPr>
          <p:cNvSpPr/>
          <p:nvPr/>
        </p:nvSpPr>
        <p:spPr>
          <a:xfrm>
            <a:off x="4002894" y="590550"/>
            <a:ext cx="2211422" cy="2373144"/>
          </a:xfrm>
          <a:prstGeom prst="roundRect">
            <a:avLst>
              <a:gd name="adj" fmla="val 5065"/>
            </a:avLst>
          </a:prstGeom>
          <a:gradFill>
            <a:gsLst>
              <a:gs pos="0">
                <a:schemeClr val="tx2"/>
              </a:gs>
              <a:gs pos="100000">
                <a:srgbClr val="006684"/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  <a:sym typeface="Arial"/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61879B4E-6A38-1B3B-7B4A-5B99B026A5C4}"/>
              </a:ext>
            </a:extLst>
          </p:cNvPr>
          <p:cNvSpPr/>
          <p:nvPr/>
        </p:nvSpPr>
        <p:spPr>
          <a:xfrm>
            <a:off x="6322979" y="1939451"/>
            <a:ext cx="2211422" cy="2607013"/>
          </a:xfrm>
          <a:prstGeom prst="roundRect">
            <a:avLst>
              <a:gd name="adj" fmla="val 5065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  <a:sym typeface="Arial"/>
            </a:endParaRP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A9E1EFD8-4CBA-F7F6-CFE3-E70AFC05C869}"/>
              </a:ext>
            </a:extLst>
          </p:cNvPr>
          <p:cNvSpPr/>
          <p:nvPr/>
        </p:nvSpPr>
        <p:spPr>
          <a:xfrm>
            <a:off x="4002894" y="3080832"/>
            <a:ext cx="2211422" cy="1465632"/>
          </a:xfrm>
          <a:prstGeom prst="roundRect">
            <a:avLst>
              <a:gd name="adj" fmla="val 5065"/>
            </a:avLst>
          </a:prstGeom>
          <a:gradFill>
            <a:gsLst>
              <a:gs pos="0">
                <a:srgbClr val="8E66A8"/>
              </a:gs>
              <a:gs pos="100000">
                <a:srgbClr val="7A5792"/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  <a:sym typeface="Arial"/>
            </a:endParaRPr>
          </a:p>
        </p:txBody>
      </p:sp>
      <p:sp>
        <p:nvSpPr>
          <p:cNvPr id="9" name="Google Shape;163;p17">
            <a:extLst>
              <a:ext uri="{FF2B5EF4-FFF2-40B4-BE49-F238E27FC236}">
                <a16:creationId xmlns:a16="http://schemas.microsoft.com/office/drawing/2014/main" id="{710C9364-745E-0F1D-FFBD-11F57A4DF157}"/>
              </a:ext>
            </a:extLst>
          </p:cNvPr>
          <p:cNvSpPr txBox="1"/>
          <p:nvPr/>
        </p:nvSpPr>
        <p:spPr>
          <a:xfrm>
            <a:off x="4208835" y="798073"/>
            <a:ext cx="1394298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20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GOVA Request:</a:t>
            </a:r>
            <a:endParaRPr kumimoji="0" sz="20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0" name="Google Shape;163;p17">
            <a:extLst>
              <a:ext uri="{FF2B5EF4-FFF2-40B4-BE49-F238E27FC236}">
                <a16:creationId xmlns:a16="http://schemas.microsoft.com/office/drawing/2014/main" id="{73F830E5-8698-60EE-B67D-057E2CD6E632}"/>
              </a:ext>
            </a:extLst>
          </p:cNvPr>
          <p:cNvSpPr txBox="1"/>
          <p:nvPr/>
        </p:nvSpPr>
        <p:spPr>
          <a:xfrm>
            <a:off x="4218564" y="3208285"/>
            <a:ext cx="1394298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8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Additional Leverage: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1" name="Google Shape;163;p17">
            <a:extLst>
              <a:ext uri="{FF2B5EF4-FFF2-40B4-BE49-F238E27FC236}">
                <a16:creationId xmlns:a16="http://schemas.microsoft.com/office/drawing/2014/main" id="{5DE68070-9670-5338-6FBA-BC751F0ED7B7}"/>
              </a:ext>
            </a:extLst>
          </p:cNvPr>
          <p:cNvSpPr txBox="1"/>
          <p:nvPr/>
        </p:nvSpPr>
        <p:spPr>
          <a:xfrm>
            <a:off x="4208835" y="1721443"/>
            <a:ext cx="1802859" cy="2180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8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Total Match: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2" name="Google Shape;163;p17">
            <a:extLst>
              <a:ext uri="{FF2B5EF4-FFF2-40B4-BE49-F238E27FC236}">
                <a16:creationId xmlns:a16="http://schemas.microsoft.com/office/drawing/2014/main" id="{63C4C605-6F84-580F-A843-B622C1D21108}"/>
              </a:ext>
            </a:extLst>
          </p:cNvPr>
          <p:cNvSpPr txBox="1"/>
          <p:nvPr/>
        </p:nvSpPr>
        <p:spPr>
          <a:xfrm>
            <a:off x="4240192" y="3959553"/>
            <a:ext cx="1802859" cy="2180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8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Total Budget: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A8FD956-BEDF-ACD9-04C9-5DF57B255E19}"/>
              </a:ext>
            </a:extLst>
          </p:cNvPr>
          <p:cNvSpPr txBox="1"/>
          <p:nvPr/>
        </p:nvSpPr>
        <p:spPr>
          <a:xfrm>
            <a:off x="4155588" y="1251214"/>
            <a:ext cx="175746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2400" b="1" dirty="0">
                <a:solidFill>
                  <a:srgbClr val="FEFFFF"/>
                </a:solidFill>
                <a:latin typeface="Century Gothic" panose="020F0302020204030204"/>
              </a:rPr>
              <a:t>$351,537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A59CDE9-6E51-C66E-0BF6-8CAF2401ABF0}"/>
              </a:ext>
            </a:extLst>
          </p:cNvPr>
          <p:cNvSpPr txBox="1"/>
          <p:nvPr/>
        </p:nvSpPr>
        <p:spPr>
          <a:xfrm>
            <a:off x="4218564" y="1970742"/>
            <a:ext cx="17574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600" dirty="0">
                <a:solidFill>
                  <a:srgbClr val="FEFFFF"/>
                </a:solidFill>
                <a:latin typeface="Century Gothic" panose="020F0302020204030204"/>
              </a:rPr>
              <a:t>$190,617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2" name="Google Shape;163;p17">
            <a:extLst>
              <a:ext uri="{FF2B5EF4-FFF2-40B4-BE49-F238E27FC236}">
                <a16:creationId xmlns:a16="http://schemas.microsoft.com/office/drawing/2014/main" id="{E671E1B9-53F3-E860-F3BE-C979F0284AEE}"/>
              </a:ext>
            </a:extLst>
          </p:cNvPr>
          <p:cNvSpPr txBox="1"/>
          <p:nvPr/>
        </p:nvSpPr>
        <p:spPr>
          <a:xfrm>
            <a:off x="268617" y="116134"/>
            <a:ext cx="3679946" cy="9618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48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ea typeface="Roboto"/>
                <a:cs typeface="Arial"/>
                <a:sym typeface="Roboto"/>
              </a:rPr>
              <a:t>Region 4: Cybersecurity and Artificial Intelligence Lab to Advance Workforce Readines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C1D6345-C639-C2E1-4CAE-F51D4E8EDB7D}"/>
              </a:ext>
            </a:extLst>
          </p:cNvPr>
          <p:cNvSpPr txBox="1"/>
          <p:nvPr/>
        </p:nvSpPr>
        <p:spPr>
          <a:xfrm>
            <a:off x="294488" y="1016081"/>
            <a:ext cx="3441657" cy="33929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000" b="1" dirty="0">
                <a:solidFill>
                  <a:srgbClr val="004150"/>
                </a:solidFill>
                <a:latin typeface="Century Gothic" panose="020F0302020204030204"/>
              </a:rPr>
              <a:t>Target Cluster(s): </a:t>
            </a:r>
            <a:r>
              <a:rPr lang="en-US" sz="1000" dirty="0">
                <a:solidFill>
                  <a:srgbClr val="004150"/>
                </a:solidFill>
                <a:latin typeface="Century Gothic" panose="020F0302020204030204"/>
              </a:rPr>
              <a:t>Information Technology</a:t>
            </a:r>
            <a:endParaRPr lang="en-US" sz="1000" b="1" dirty="0">
              <a:solidFill>
                <a:srgbClr val="004150"/>
              </a:solidFill>
              <a:latin typeface="Century Gothic" panose="020F0302020204030204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Applicant: </a:t>
            </a:r>
            <a:r>
              <a:rPr lang="en-US" sz="1000" dirty="0">
                <a:solidFill>
                  <a:srgbClr val="004150"/>
                </a:solidFill>
                <a:latin typeface="Century Gothic" panose="020F0302020204030204"/>
              </a:rPr>
              <a:t>Brightpoint Community College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004150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000" b="1" dirty="0">
                <a:solidFill>
                  <a:srgbClr val="004150"/>
                </a:solidFill>
                <a:latin typeface="Century Gothic" panose="020F0302020204030204"/>
              </a:rPr>
              <a:t>Investment Strategy: </a:t>
            </a:r>
            <a:r>
              <a:rPr lang="en-US" sz="1000" dirty="0">
                <a:solidFill>
                  <a:srgbClr val="004150"/>
                </a:solidFill>
                <a:latin typeface="Century Gothic" panose="020F0302020204030204"/>
              </a:rPr>
              <a:t>Talent Development</a:t>
            </a:r>
            <a:endParaRPr lang="en-US" sz="1000" b="1" dirty="0">
              <a:solidFill>
                <a:srgbClr val="004150"/>
              </a:solidFill>
              <a:latin typeface="Century Gothic" panose="020F0302020204030204"/>
            </a:endParaRPr>
          </a:p>
          <a:p>
            <a:pPr lvl="0">
              <a:lnSpc>
                <a:spcPct val="150000"/>
              </a:lnSpc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Goal: </a:t>
            </a:r>
            <a:r>
              <a:rPr lang="en-US" sz="1000" dirty="0">
                <a:solidFill>
                  <a:schemeClr val="bg2"/>
                </a:solidFill>
                <a:latin typeface="+mn-lt"/>
              </a:rPr>
              <a:t>To expand the pool of qualified workers in Cybersecurity and Artificial </a:t>
            </a:r>
          </a:p>
          <a:p>
            <a:pPr lvl="0">
              <a:lnSpc>
                <a:spcPct val="150000"/>
              </a:lnSpc>
            </a:pPr>
            <a:r>
              <a:rPr lang="en-US" sz="1000" dirty="0">
                <a:solidFill>
                  <a:schemeClr val="bg2"/>
                </a:solidFill>
                <a:latin typeface="+mn-lt"/>
              </a:rPr>
              <a:t>Intelligence by integrating hands-on instruction, industry-recognized credentialing, and </a:t>
            </a:r>
          </a:p>
          <a:p>
            <a:pPr lvl="0">
              <a:lnSpc>
                <a:spcPct val="150000"/>
              </a:lnSpc>
            </a:pPr>
            <a:r>
              <a:rPr lang="en-US" sz="1000" dirty="0">
                <a:solidFill>
                  <a:schemeClr val="bg2"/>
                </a:solidFill>
                <a:latin typeface="+mn-lt"/>
              </a:rPr>
              <a:t>employer-driven work-based learning.</a:t>
            </a:r>
          </a:p>
          <a:p>
            <a:pPr lvl="0">
              <a:lnSpc>
                <a:spcPct val="150000"/>
              </a:lnSpc>
            </a:pPr>
            <a:r>
              <a:rPr lang="en-US" sz="1000" b="1" dirty="0">
                <a:solidFill>
                  <a:srgbClr val="004150"/>
                </a:solidFill>
                <a:latin typeface="Century Gothic" panose="020F0302020204030204"/>
              </a:rPr>
              <a:t>Products: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800" dirty="0">
                <a:solidFill>
                  <a:srgbClr val="004150"/>
                </a:solidFill>
                <a:latin typeface="Century Gothic" panose="020F0302020204030204"/>
              </a:rPr>
              <a:t>Creation of AI and Cybersecurity Lab</a:t>
            </a: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Outcomes: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800" dirty="0">
                <a:solidFill>
                  <a:srgbClr val="004150"/>
                </a:solidFill>
                <a:latin typeface="Century Gothic" panose="020F0302020204030204"/>
              </a:rPr>
              <a:t>100 People Trained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50 Job Placements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800" dirty="0">
                <a:solidFill>
                  <a:srgbClr val="004150"/>
                </a:solidFill>
                <a:latin typeface="Century Gothic" panose="020F0302020204030204"/>
              </a:rPr>
              <a:t>10 New Interns Placed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800" dirty="0">
                <a:solidFill>
                  <a:srgbClr val="004150"/>
                </a:solidFill>
                <a:latin typeface="Century Gothic" panose="020F0302020204030204"/>
              </a:rPr>
              <a:t>50 Credentials Awarded</a:t>
            </a:r>
            <a:endParaRPr kumimoji="0" lang="en-US" sz="800" i="0" u="none" strike="noStrike" kern="0" cap="none" spc="0" normalizeH="0" baseline="0" noProof="0" dirty="0">
              <a:ln>
                <a:noFill/>
              </a:ln>
              <a:solidFill>
                <a:srgbClr val="004150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endParaRPr kumimoji="0" lang="en-US" sz="800" i="0" u="none" strike="noStrike" kern="0" cap="none" spc="0" normalizeH="0" baseline="0" noProof="0" dirty="0">
              <a:ln>
                <a:noFill/>
              </a:ln>
              <a:solidFill>
                <a:srgbClr val="004150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5" name="Google Shape;163;p17">
            <a:extLst>
              <a:ext uri="{FF2B5EF4-FFF2-40B4-BE49-F238E27FC236}">
                <a16:creationId xmlns:a16="http://schemas.microsoft.com/office/drawing/2014/main" id="{65C17E53-ACE8-2F0B-1E01-82F461731756}"/>
              </a:ext>
            </a:extLst>
          </p:cNvPr>
          <p:cNvSpPr txBox="1"/>
          <p:nvPr/>
        </p:nvSpPr>
        <p:spPr>
          <a:xfrm>
            <a:off x="6456144" y="690888"/>
            <a:ext cx="1945091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6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Workgroup Reccomendation: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3" name="Google Shape;163;p17">
            <a:extLst>
              <a:ext uri="{FF2B5EF4-FFF2-40B4-BE49-F238E27FC236}">
                <a16:creationId xmlns:a16="http://schemas.microsoft.com/office/drawing/2014/main" id="{1A48B10C-7904-1C1D-3838-118784140B47}"/>
              </a:ext>
            </a:extLst>
          </p:cNvPr>
          <p:cNvSpPr txBox="1"/>
          <p:nvPr/>
        </p:nvSpPr>
        <p:spPr>
          <a:xfrm>
            <a:off x="4208835" y="2288685"/>
            <a:ext cx="1802859" cy="2180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8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Local Match: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D8F1F78-39A6-ED24-88EF-3A8864724320}"/>
              </a:ext>
            </a:extLst>
          </p:cNvPr>
          <p:cNvSpPr txBox="1"/>
          <p:nvPr/>
        </p:nvSpPr>
        <p:spPr>
          <a:xfrm>
            <a:off x="4218564" y="2535458"/>
            <a:ext cx="17574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600" dirty="0">
                <a:solidFill>
                  <a:srgbClr val="FEFFFF"/>
                </a:solidFill>
                <a:latin typeface="Century Gothic" panose="020F0302020204030204"/>
              </a:rPr>
              <a:t>$40,617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892E4E7-38F9-7413-1BD8-571DA9FE3E01}"/>
              </a:ext>
            </a:extLst>
          </p:cNvPr>
          <p:cNvSpPr txBox="1"/>
          <p:nvPr/>
        </p:nvSpPr>
        <p:spPr>
          <a:xfrm>
            <a:off x="4155589" y="3661426"/>
            <a:ext cx="17574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600" dirty="0">
                <a:solidFill>
                  <a:srgbClr val="FEFFFF"/>
                </a:solidFill>
                <a:latin typeface="Century Gothic" panose="020F0302020204030204"/>
              </a:rPr>
              <a:t>$8,829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F9C8D17-BE40-9AB3-EE11-BCEFCDD48B19}"/>
              </a:ext>
            </a:extLst>
          </p:cNvPr>
          <p:cNvSpPr txBox="1"/>
          <p:nvPr/>
        </p:nvSpPr>
        <p:spPr>
          <a:xfrm>
            <a:off x="4208835" y="4185695"/>
            <a:ext cx="17574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600" dirty="0">
                <a:solidFill>
                  <a:srgbClr val="FEFFFF"/>
                </a:solidFill>
                <a:latin typeface="Century Gothic" panose="020F0302020204030204"/>
              </a:rPr>
              <a:t>$550,983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B41AD11-9AE7-937D-0624-4B204BA3E67F}"/>
              </a:ext>
            </a:extLst>
          </p:cNvPr>
          <p:cNvSpPr txBox="1"/>
          <p:nvPr/>
        </p:nvSpPr>
        <p:spPr>
          <a:xfrm>
            <a:off x="6494242" y="1316269"/>
            <a:ext cx="17574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/>
            <a:r>
              <a:rPr lang="en-US" sz="1600" dirty="0">
                <a:solidFill>
                  <a:schemeClr val="bg1"/>
                </a:solidFill>
                <a:latin typeface="+mj-lt"/>
              </a:rPr>
              <a:t>Approve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cs typeface="Arial"/>
              <a:sym typeface="Arial"/>
            </a:endParaRPr>
          </a:p>
        </p:txBody>
      </p:sp>
      <p:sp>
        <p:nvSpPr>
          <p:cNvPr id="24" name="Google Shape;163;p17">
            <a:extLst>
              <a:ext uri="{FF2B5EF4-FFF2-40B4-BE49-F238E27FC236}">
                <a16:creationId xmlns:a16="http://schemas.microsoft.com/office/drawing/2014/main" id="{A872C5E2-E1B0-816B-521D-49B89E2DA5E0}"/>
              </a:ext>
            </a:extLst>
          </p:cNvPr>
          <p:cNvSpPr txBox="1"/>
          <p:nvPr/>
        </p:nvSpPr>
        <p:spPr>
          <a:xfrm>
            <a:off x="6471545" y="2065564"/>
            <a:ext cx="1802859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6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Participating Localities: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02DA1C0-FE41-5C47-FA27-2F9ABD83CE9A}"/>
              </a:ext>
            </a:extLst>
          </p:cNvPr>
          <p:cNvSpPr txBox="1"/>
          <p:nvPr/>
        </p:nvSpPr>
        <p:spPr>
          <a:xfrm>
            <a:off x="6429986" y="2535458"/>
            <a:ext cx="1971249" cy="17774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Arial"/>
                <a:sym typeface="Arial"/>
              </a:rPr>
              <a:t>Charles City County (Cash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Arial"/>
                <a:sym typeface="Arial"/>
              </a:rPr>
              <a:t>Chesterfield County (Cash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bg1"/>
                </a:solidFill>
                <a:latin typeface="+mj-lt"/>
              </a:rPr>
              <a:t>Dinwiddie County (Cash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Arial"/>
                <a:sym typeface="Arial"/>
              </a:rPr>
              <a:t>Prince George County (Cash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bg1"/>
                </a:solidFill>
                <a:latin typeface="+mj-lt"/>
              </a:rPr>
              <a:t>Surry County (Cash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Arial"/>
                <a:sym typeface="Arial"/>
              </a:rPr>
              <a:t>Sussex County (Cash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bg1"/>
                </a:solidFill>
                <a:latin typeface="+mj-lt"/>
              </a:rPr>
              <a:t>City of Colonial Heights (Cash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bg1"/>
                </a:solidFill>
                <a:latin typeface="+mj-lt"/>
              </a:rPr>
              <a:t>City of Hopewell (Cash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bg1"/>
                </a:solidFill>
                <a:latin typeface="+mj-lt"/>
              </a:rPr>
              <a:t>City of Petersburg (Cash)</a:t>
            </a:r>
          </a:p>
        </p:txBody>
      </p:sp>
    </p:spTree>
    <p:extLst>
      <p:ext uri="{BB962C8B-B14F-4D97-AF65-F5344CB8AC3E}">
        <p14:creationId xmlns:p14="http://schemas.microsoft.com/office/powerpoint/2010/main" val="29857578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0">
          <a:extLst>
            <a:ext uri="{FF2B5EF4-FFF2-40B4-BE49-F238E27FC236}">
              <a16:creationId xmlns:a16="http://schemas.microsoft.com/office/drawing/2014/main" id="{16D66B93-83FF-5730-6888-FCA25D6863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1FAFF4CC-7EF5-9051-417E-A3BF231ECF23}"/>
              </a:ext>
            </a:extLst>
          </p:cNvPr>
          <p:cNvSpPr/>
          <p:nvPr/>
        </p:nvSpPr>
        <p:spPr>
          <a:xfrm>
            <a:off x="6322979" y="597035"/>
            <a:ext cx="2211422" cy="1231765"/>
          </a:xfrm>
          <a:prstGeom prst="roundRect">
            <a:avLst>
              <a:gd name="adj" fmla="val 5065"/>
            </a:avLst>
          </a:prstGeom>
          <a:gradFill>
            <a:gsLst>
              <a:gs pos="0">
                <a:schemeClr val="accent1"/>
              </a:gs>
              <a:gs pos="100000">
                <a:srgbClr val="2F8B8F"/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  <a:sym typeface="Arial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2449B9B-F6BD-2EB6-0D6A-4BEE36752128}"/>
              </a:ext>
            </a:extLst>
          </p:cNvPr>
          <p:cNvSpPr/>
          <p:nvPr/>
        </p:nvSpPr>
        <p:spPr>
          <a:xfrm>
            <a:off x="4002894" y="590550"/>
            <a:ext cx="2211422" cy="2373144"/>
          </a:xfrm>
          <a:prstGeom prst="roundRect">
            <a:avLst>
              <a:gd name="adj" fmla="val 5065"/>
            </a:avLst>
          </a:prstGeom>
          <a:gradFill>
            <a:gsLst>
              <a:gs pos="0">
                <a:schemeClr val="tx2"/>
              </a:gs>
              <a:gs pos="100000">
                <a:srgbClr val="006684"/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  <a:sym typeface="Arial"/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9A2851B9-B73C-CAF1-7922-9E4EB1804A6B}"/>
              </a:ext>
            </a:extLst>
          </p:cNvPr>
          <p:cNvSpPr/>
          <p:nvPr/>
        </p:nvSpPr>
        <p:spPr>
          <a:xfrm>
            <a:off x="6322979" y="1939451"/>
            <a:ext cx="2211422" cy="2607013"/>
          </a:xfrm>
          <a:prstGeom prst="roundRect">
            <a:avLst>
              <a:gd name="adj" fmla="val 5065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  <a:sym typeface="Arial"/>
            </a:endParaRP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9BE3C5A7-3F61-FAB7-A1C0-7C89E22B9162}"/>
              </a:ext>
            </a:extLst>
          </p:cNvPr>
          <p:cNvSpPr/>
          <p:nvPr/>
        </p:nvSpPr>
        <p:spPr>
          <a:xfrm>
            <a:off x="4002894" y="3080832"/>
            <a:ext cx="2211422" cy="1465632"/>
          </a:xfrm>
          <a:prstGeom prst="roundRect">
            <a:avLst>
              <a:gd name="adj" fmla="val 5065"/>
            </a:avLst>
          </a:prstGeom>
          <a:gradFill>
            <a:gsLst>
              <a:gs pos="0">
                <a:srgbClr val="8E66A8"/>
              </a:gs>
              <a:gs pos="100000">
                <a:srgbClr val="7A5792"/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  <a:sym typeface="Arial"/>
            </a:endParaRPr>
          </a:p>
        </p:txBody>
      </p:sp>
      <p:sp>
        <p:nvSpPr>
          <p:cNvPr id="9" name="Google Shape;163;p17">
            <a:extLst>
              <a:ext uri="{FF2B5EF4-FFF2-40B4-BE49-F238E27FC236}">
                <a16:creationId xmlns:a16="http://schemas.microsoft.com/office/drawing/2014/main" id="{27ABB1B3-C822-DB49-10A1-9B53B61CFF21}"/>
              </a:ext>
            </a:extLst>
          </p:cNvPr>
          <p:cNvSpPr txBox="1"/>
          <p:nvPr/>
        </p:nvSpPr>
        <p:spPr>
          <a:xfrm>
            <a:off x="4208835" y="798073"/>
            <a:ext cx="1394298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20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GOVA Request:</a:t>
            </a:r>
            <a:endParaRPr kumimoji="0" sz="20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0" name="Google Shape;163;p17">
            <a:extLst>
              <a:ext uri="{FF2B5EF4-FFF2-40B4-BE49-F238E27FC236}">
                <a16:creationId xmlns:a16="http://schemas.microsoft.com/office/drawing/2014/main" id="{9A258B40-AB86-DCD0-CEB6-DF3C0A8B1912}"/>
              </a:ext>
            </a:extLst>
          </p:cNvPr>
          <p:cNvSpPr txBox="1"/>
          <p:nvPr/>
        </p:nvSpPr>
        <p:spPr>
          <a:xfrm>
            <a:off x="4218564" y="3208285"/>
            <a:ext cx="1394298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8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Additional Leverage: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1" name="Google Shape;163;p17">
            <a:extLst>
              <a:ext uri="{FF2B5EF4-FFF2-40B4-BE49-F238E27FC236}">
                <a16:creationId xmlns:a16="http://schemas.microsoft.com/office/drawing/2014/main" id="{29533B1A-A981-418C-6729-E5749E4B72C2}"/>
              </a:ext>
            </a:extLst>
          </p:cNvPr>
          <p:cNvSpPr txBox="1"/>
          <p:nvPr/>
        </p:nvSpPr>
        <p:spPr>
          <a:xfrm>
            <a:off x="4208835" y="1721443"/>
            <a:ext cx="1802859" cy="2180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8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Total Match: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2" name="Google Shape;163;p17">
            <a:extLst>
              <a:ext uri="{FF2B5EF4-FFF2-40B4-BE49-F238E27FC236}">
                <a16:creationId xmlns:a16="http://schemas.microsoft.com/office/drawing/2014/main" id="{26B09599-921D-1EE8-7ABC-0BECB48E3980}"/>
              </a:ext>
            </a:extLst>
          </p:cNvPr>
          <p:cNvSpPr txBox="1"/>
          <p:nvPr/>
        </p:nvSpPr>
        <p:spPr>
          <a:xfrm>
            <a:off x="4240192" y="3959553"/>
            <a:ext cx="1802859" cy="2180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8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Total Budget: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0D264E0-1E62-5C4E-E4BD-B92C682A57A5}"/>
              </a:ext>
            </a:extLst>
          </p:cNvPr>
          <p:cNvSpPr txBox="1"/>
          <p:nvPr/>
        </p:nvSpPr>
        <p:spPr>
          <a:xfrm>
            <a:off x="4155588" y="1251214"/>
            <a:ext cx="175746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2400" b="1" dirty="0">
                <a:solidFill>
                  <a:srgbClr val="FEFFFF"/>
                </a:solidFill>
                <a:latin typeface="Century Gothic" panose="020F0302020204030204"/>
              </a:rPr>
              <a:t>$475,000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B9A6A60-EB82-DAC2-4F48-96B1AB4C2DB2}"/>
              </a:ext>
            </a:extLst>
          </p:cNvPr>
          <p:cNvSpPr txBox="1"/>
          <p:nvPr/>
        </p:nvSpPr>
        <p:spPr>
          <a:xfrm>
            <a:off x="4218564" y="1970742"/>
            <a:ext cx="17574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600" dirty="0">
                <a:solidFill>
                  <a:srgbClr val="FEFFFF"/>
                </a:solidFill>
                <a:latin typeface="Century Gothic" panose="020F0302020204030204"/>
              </a:rPr>
              <a:t>$237,500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2" name="Google Shape;163;p17">
            <a:extLst>
              <a:ext uri="{FF2B5EF4-FFF2-40B4-BE49-F238E27FC236}">
                <a16:creationId xmlns:a16="http://schemas.microsoft.com/office/drawing/2014/main" id="{5CE6F2C9-3CF6-4D73-2B81-AB1F6C8EE7B9}"/>
              </a:ext>
            </a:extLst>
          </p:cNvPr>
          <p:cNvSpPr txBox="1"/>
          <p:nvPr/>
        </p:nvSpPr>
        <p:spPr>
          <a:xfrm>
            <a:off x="304008" y="165103"/>
            <a:ext cx="3393294" cy="9618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48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ea typeface="Roboto"/>
                <a:cs typeface="Arial"/>
                <a:sym typeface="Roboto"/>
              </a:rPr>
              <a:t>Region </a:t>
            </a:r>
            <a:r>
              <a:rPr lang="en-US" sz="1600" b="1" dirty="0">
                <a:solidFill>
                  <a:srgbClr val="004150"/>
                </a:solidFill>
                <a:latin typeface="Century Gothic" panose="020F0302020204030204"/>
                <a:ea typeface="Roboto"/>
                <a:sym typeface="Roboto"/>
              </a:rPr>
              <a:t>8: Shenandoah Valley Aviation and Logistics Workforce Pipeline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004150"/>
              </a:solidFill>
              <a:effectLst/>
              <a:uLnTx/>
              <a:uFillTx/>
              <a:latin typeface="Century Gothic" panose="020F0302020204030204"/>
              <a:ea typeface="Roboto"/>
              <a:cs typeface="Arial"/>
              <a:sym typeface="Roboto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C454C28-6C94-137E-50E8-17B0D277868C}"/>
              </a:ext>
            </a:extLst>
          </p:cNvPr>
          <p:cNvSpPr txBox="1"/>
          <p:nvPr/>
        </p:nvSpPr>
        <p:spPr>
          <a:xfrm>
            <a:off x="317187" y="1046749"/>
            <a:ext cx="3441657" cy="30697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000" b="1" dirty="0">
                <a:solidFill>
                  <a:srgbClr val="004150"/>
                </a:solidFill>
                <a:latin typeface="Century Gothic" panose="020F0302020204030204"/>
              </a:rPr>
              <a:t>Target Cluster(s): </a:t>
            </a:r>
            <a:r>
              <a:rPr lang="en-US" sz="1000" dirty="0">
                <a:solidFill>
                  <a:srgbClr val="004150"/>
                </a:solidFill>
                <a:latin typeface="Century Gothic" panose="020F0302020204030204"/>
              </a:rPr>
              <a:t>Transportation and Logistics</a:t>
            </a:r>
            <a:endParaRPr lang="en-US" sz="1000" b="1" dirty="0">
              <a:solidFill>
                <a:srgbClr val="004150"/>
              </a:solidFill>
              <a:latin typeface="Century Gothic" panose="020F0302020204030204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Applicant: </a:t>
            </a:r>
            <a:r>
              <a:rPr lang="en-US" sz="1000" dirty="0">
                <a:solidFill>
                  <a:srgbClr val="004150"/>
                </a:solidFill>
                <a:latin typeface="Century Gothic" panose="020F0302020204030204"/>
              </a:rPr>
              <a:t>Winchester Regional Airport Authority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004150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000" b="1" dirty="0">
                <a:solidFill>
                  <a:srgbClr val="004150"/>
                </a:solidFill>
                <a:latin typeface="Century Gothic" panose="020F0302020204030204"/>
              </a:rPr>
              <a:t>Investment Strategy: </a:t>
            </a:r>
            <a:r>
              <a:rPr lang="en-US" sz="1000" dirty="0">
                <a:solidFill>
                  <a:srgbClr val="004150"/>
                </a:solidFill>
                <a:latin typeface="Century Gothic" panose="020F0302020204030204"/>
              </a:rPr>
              <a:t>Talent Development</a:t>
            </a:r>
            <a:endParaRPr lang="en-US" sz="1000" b="1" dirty="0">
              <a:solidFill>
                <a:srgbClr val="004150"/>
              </a:solidFill>
              <a:latin typeface="Century Gothic" panose="020F0302020204030204"/>
            </a:endParaRPr>
          </a:p>
          <a:p>
            <a:pPr lvl="0">
              <a:lnSpc>
                <a:spcPct val="150000"/>
              </a:lnSpc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Goal: </a:t>
            </a:r>
            <a:r>
              <a:rPr lang="en-US" sz="1000" dirty="0">
                <a:solidFill>
                  <a:schemeClr val="bg2"/>
                </a:solidFill>
                <a:latin typeface="+mn-lt"/>
              </a:rPr>
              <a:t>To expand the pool of qualified applicants in GO Virginia Region 8’s Transportation and Logistics industry sectors.</a:t>
            </a: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Outcomes: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800" dirty="0">
                <a:solidFill>
                  <a:srgbClr val="004150"/>
                </a:solidFill>
                <a:latin typeface="Century Gothic" panose="020F0302020204030204"/>
              </a:rPr>
              <a:t>303 People Trained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45 Job Placements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800" dirty="0">
                <a:solidFill>
                  <a:srgbClr val="004150"/>
                </a:solidFill>
                <a:latin typeface="Century Gothic" panose="020F0302020204030204"/>
              </a:rPr>
              <a:t>15 Businesses Served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89 New Interns Placed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800" dirty="0">
                <a:solidFill>
                  <a:srgbClr val="004150"/>
                </a:solidFill>
                <a:latin typeface="Century Gothic" panose="020F0302020204030204"/>
              </a:rPr>
              <a:t>27 New Apprenticeships Created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5 New Programs Implemented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800" dirty="0">
                <a:solidFill>
                  <a:srgbClr val="004150"/>
                </a:solidFill>
                <a:latin typeface="Century Gothic" panose="020F0302020204030204"/>
              </a:rPr>
              <a:t>205 Credentials Awarded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97 Students Completing Dual Enrollment Programs</a:t>
            </a:r>
          </a:p>
        </p:txBody>
      </p:sp>
      <p:sp>
        <p:nvSpPr>
          <p:cNvPr id="5" name="Google Shape;163;p17">
            <a:extLst>
              <a:ext uri="{FF2B5EF4-FFF2-40B4-BE49-F238E27FC236}">
                <a16:creationId xmlns:a16="http://schemas.microsoft.com/office/drawing/2014/main" id="{BB6828AB-921A-0435-8806-117BC45C6427}"/>
              </a:ext>
            </a:extLst>
          </p:cNvPr>
          <p:cNvSpPr txBox="1"/>
          <p:nvPr/>
        </p:nvSpPr>
        <p:spPr>
          <a:xfrm>
            <a:off x="6456144" y="690888"/>
            <a:ext cx="1945091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6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Workgroup Reccomendation: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3" name="Google Shape;163;p17">
            <a:extLst>
              <a:ext uri="{FF2B5EF4-FFF2-40B4-BE49-F238E27FC236}">
                <a16:creationId xmlns:a16="http://schemas.microsoft.com/office/drawing/2014/main" id="{C7D882E4-868C-72C4-4D59-16C8C87A291A}"/>
              </a:ext>
            </a:extLst>
          </p:cNvPr>
          <p:cNvSpPr txBox="1"/>
          <p:nvPr/>
        </p:nvSpPr>
        <p:spPr>
          <a:xfrm>
            <a:off x="4208835" y="2288685"/>
            <a:ext cx="1802859" cy="2180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8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Local Match: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C441269-03E1-A956-BFB8-FF7607D4F803}"/>
              </a:ext>
            </a:extLst>
          </p:cNvPr>
          <p:cNvSpPr txBox="1"/>
          <p:nvPr/>
        </p:nvSpPr>
        <p:spPr>
          <a:xfrm>
            <a:off x="4218564" y="2535458"/>
            <a:ext cx="17574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600" dirty="0">
                <a:solidFill>
                  <a:srgbClr val="FEFFFF"/>
                </a:solidFill>
                <a:latin typeface="Century Gothic" panose="020F0302020204030204"/>
              </a:rPr>
              <a:t>$47,500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82D10E5-419E-9934-D773-41D1567DE09B}"/>
              </a:ext>
            </a:extLst>
          </p:cNvPr>
          <p:cNvSpPr txBox="1"/>
          <p:nvPr/>
        </p:nvSpPr>
        <p:spPr>
          <a:xfrm>
            <a:off x="4155589" y="3661426"/>
            <a:ext cx="17574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600" dirty="0">
                <a:solidFill>
                  <a:srgbClr val="FEFFFF"/>
                </a:solidFill>
                <a:latin typeface="Century Gothic" panose="020F0302020204030204"/>
              </a:rPr>
              <a:t>$ -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D2DB048-1985-7599-CE5F-3EDBA64AE703}"/>
              </a:ext>
            </a:extLst>
          </p:cNvPr>
          <p:cNvSpPr txBox="1"/>
          <p:nvPr/>
        </p:nvSpPr>
        <p:spPr>
          <a:xfrm>
            <a:off x="4208835" y="4185695"/>
            <a:ext cx="17574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600" dirty="0">
                <a:solidFill>
                  <a:srgbClr val="FEFFFF"/>
                </a:solidFill>
                <a:latin typeface="Century Gothic" panose="020F0302020204030204"/>
              </a:rPr>
              <a:t>$712,500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24EDBAF-920B-932B-4EF9-8B3ED0B6E842}"/>
              </a:ext>
            </a:extLst>
          </p:cNvPr>
          <p:cNvSpPr txBox="1"/>
          <p:nvPr/>
        </p:nvSpPr>
        <p:spPr>
          <a:xfrm>
            <a:off x="6494242" y="1316269"/>
            <a:ext cx="17574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/>
            <a:r>
              <a:rPr lang="en-US" sz="1600" dirty="0">
                <a:solidFill>
                  <a:schemeClr val="bg1"/>
                </a:solidFill>
                <a:latin typeface="+mj-lt"/>
              </a:rPr>
              <a:t>Approve</a:t>
            </a:r>
          </a:p>
        </p:txBody>
      </p:sp>
      <p:sp>
        <p:nvSpPr>
          <p:cNvPr id="24" name="Google Shape;163;p17">
            <a:extLst>
              <a:ext uri="{FF2B5EF4-FFF2-40B4-BE49-F238E27FC236}">
                <a16:creationId xmlns:a16="http://schemas.microsoft.com/office/drawing/2014/main" id="{7B097BFF-31BA-90DD-4FDB-23D5CF728C06}"/>
              </a:ext>
            </a:extLst>
          </p:cNvPr>
          <p:cNvSpPr txBox="1"/>
          <p:nvPr/>
        </p:nvSpPr>
        <p:spPr>
          <a:xfrm>
            <a:off x="6471545" y="2065564"/>
            <a:ext cx="1802859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6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Participating Localities: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CC5CD55-D556-D32C-0865-75C3CCD95E48}"/>
              </a:ext>
            </a:extLst>
          </p:cNvPr>
          <p:cNvSpPr txBox="1"/>
          <p:nvPr/>
        </p:nvSpPr>
        <p:spPr>
          <a:xfrm>
            <a:off x="6429986" y="2535458"/>
            <a:ext cx="1971249" cy="8079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Arial"/>
                <a:sym typeface="Arial"/>
              </a:rPr>
              <a:t>Frederick County (Cash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bg1"/>
                </a:solidFill>
                <a:latin typeface="+mj-lt"/>
              </a:rPr>
              <a:t>City of Winchester (Cash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bg1"/>
                </a:solidFill>
                <a:latin typeface="+mj-lt"/>
              </a:rPr>
              <a:t>Winchester Regional Airport Authority, on behalf of its member localities (Cash)</a:t>
            </a:r>
          </a:p>
        </p:txBody>
      </p:sp>
    </p:spTree>
    <p:extLst>
      <p:ext uri="{BB962C8B-B14F-4D97-AF65-F5344CB8AC3E}">
        <p14:creationId xmlns:p14="http://schemas.microsoft.com/office/powerpoint/2010/main" val="29253822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0">
          <a:extLst>
            <a:ext uri="{FF2B5EF4-FFF2-40B4-BE49-F238E27FC236}">
              <a16:creationId xmlns:a16="http://schemas.microsoft.com/office/drawing/2014/main" id="{C9B8B31C-C409-7238-9719-CFA89A26FB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Google Shape;163;p17">
            <a:extLst>
              <a:ext uri="{FF2B5EF4-FFF2-40B4-BE49-F238E27FC236}">
                <a16:creationId xmlns:a16="http://schemas.microsoft.com/office/drawing/2014/main" id="{1CE1C1FD-D220-CBB7-91A1-B2007811FD1D}"/>
              </a:ext>
            </a:extLst>
          </p:cNvPr>
          <p:cNvSpPr txBox="1"/>
          <p:nvPr/>
        </p:nvSpPr>
        <p:spPr>
          <a:xfrm>
            <a:off x="609600" y="590550"/>
            <a:ext cx="7636329" cy="3206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48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2400" b="1" dirty="0">
                <a:solidFill>
                  <a:srgbClr val="004150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III. Deputy Director’s Report</a:t>
            </a:r>
            <a:endParaRPr kumimoji="0" sz="2400" b="1" i="0" u="none" strike="noStrike" kern="0" cap="none" spc="0" normalizeH="0" baseline="0" noProof="0" dirty="0">
              <a:ln>
                <a:noFill/>
              </a:ln>
              <a:solidFill>
                <a:srgbClr val="004150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3D11B8C-BADF-36BD-DFE4-AFC5D64FC31A}"/>
              </a:ext>
            </a:extLst>
          </p:cNvPr>
          <p:cNvSpPr txBox="1"/>
          <p:nvPr/>
        </p:nvSpPr>
        <p:spPr>
          <a:xfrm>
            <a:off x="609600" y="911151"/>
            <a:ext cx="5694218" cy="13499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b.  Competitive Applications (4) – </a:t>
            </a:r>
            <a:r>
              <a:rPr kumimoji="0" lang="en-US" sz="1200" b="1" i="1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Action Item</a:t>
            </a:r>
            <a:br>
              <a:rPr lang="en-US" sz="1200" dirty="0">
                <a:solidFill>
                  <a:srgbClr val="004150"/>
                </a:solidFill>
                <a:latin typeface="Century Gothic" panose="020F0302020204030204"/>
              </a:rPr>
            </a:br>
            <a:r>
              <a:rPr lang="en-US" sz="1200" dirty="0">
                <a:solidFill>
                  <a:srgbClr val="004150"/>
                </a:solidFill>
                <a:latin typeface="Century Gothic" panose="020F0302020204030204"/>
              </a:rPr>
              <a:t>	</a:t>
            </a:r>
            <a:r>
              <a:rPr lang="en-US" sz="1200" dirty="0" err="1">
                <a:solidFill>
                  <a:srgbClr val="004150"/>
                </a:solidFill>
                <a:latin typeface="Century Gothic" panose="020F0302020204030204"/>
              </a:rPr>
              <a:t>i</a:t>
            </a:r>
            <a:r>
              <a:rPr lang="en-US" sz="1200" dirty="0">
                <a:solidFill>
                  <a:srgbClr val="004150"/>
                </a:solidFill>
                <a:latin typeface="Century Gothic" panose="020F0302020204030204"/>
              </a:rPr>
              <a:t>. Cluster Scale Up (1)</a:t>
            </a:r>
            <a:br>
              <a:rPr lang="en-US" sz="1200" dirty="0">
                <a:solidFill>
                  <a:srgbClr val="004150"/>
                </a:solidFill>
                <a:latin typeface="Century Gothic" panose="020F0302020204030204"/>
              </a:rPr>
            </a:br>
            <a:r>
              <a:rPr lang="en-US" sz="1200" dirty="0">
                <a:solidFill>
                  <a:srgbClr val="004150"/>
                </a:solidFill>
                <a:latin typeface="Century Gothic" panose="020F0302020204030204"/>
              </a:rPr>
              <a:t>	ii. Sites and Infrastructure (1)</a:t>
            </a:r>
            <a:br>
              <a:rPr lang="en-US" sz="1200" dirty="0">
                <a:solidFill>
                  <a:srgbClr val="004150"/>
                </a:solidFill>
                <a:latin typeface="Century Gothic" panose="020F0302020204030204"/>
              </a:rPr>
            </a:br>
            <a:r>
              <a:rPr lang="en-US" sz="1200" dirty="0">
                <a:solidFill>
                  <a:srgbClr val="004150"/>
                </a:solidFill>
                <a:latin typeface="Century Gothic" panose="020F0302020204030204"/>
              </a:rPr>
              <a:t>	iii. Talent Development (1)</a:t>
            </a:r>
            <a:br>
              <a:rPr lang="en-US" sz="1200" dirty="0">
                <a:solidFill>
                  <a:srgbClr val="004150"/>
                </a:solidFill>
                <a:latin typeface="Century Gothic" panose="020F0302020204030204"/>
              </a:rPr>
            </a:br>
            <a:r>
              <a:rPr lang="en-US" sz="1200" dirty="0">
                <a:solidFill>
                  <a:srgbClr val="004150"/>
                </a:solidFill>
                <a:latin typeface="Century Gothic" panose="020F0302020204030204"/>
              </a:rPr>
              <a:t>	iv. Entrepreneurship </a:t>
            </a:r>
            <a:r>
              <a:rPr lang="en-US" sz="1200">
                <a:solidFill>
                  <a:srgbClr val="004150"/>
                </a:solidFill>
                <a:latin typeface="Century Gothic" panose="020F0302020204030204"/>
              </a:rPr>
              <a:t>and Innovation (1)</a:t>
            </a:r>
            <a:endParaRPr lang="en-US" sz="1200" dirty="0">
              <a:solidFill>
                <a:srgbClr val="004150"/>
              </a:solidFill>
              <a:latin typeface="Century Gothic" panose="020F03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59622710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0">
          <a:extLst>
            <a:ext uri="{FF2B5EF4-FFF2-40B4-BE49-F238E27FC236}">
              <a16:creationId xmlns:a16="http://schemas.microsoft.com/office/drawing/2014/main" id="{7B76C3CA-4621-7AB7-D68A-A655AD2F1C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F712586-463D-4E09-349A-F2760D689478}"/>
              </a:ext>
            </a:extLst>
          </p:cNvPr>
          <p:cNvSpPr/>
          <p:nvPr/>
        </p:nvSpPr>
        <p:spPr>
          <a:xfrm>
            <a:off x="6322979" y="597035"/>
            <a:ext cx="2211422" cy="1231765"/>
          </a:xfrm>
          <a:prstGeom prst="roundRect">
            <a:avLst>
              <a:gd name="adj" fmla="val 5065"/>
            </a:avLst>
          </a:prstGeom>
          <a:gradFill>
            <a:gsLst>
              <a:gs pos="0">
                <a:schemeClr val="accent1"/>
              </a:gs>
              <a:gs pos="100000">
                <a:srgbClr val="2F8B8F"/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  <a:sym typeface="Arial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04D825B-D1BC-FC9E-B1F6-D4DEB4F26699}"/>
              </a:ext>
            </a:extLst>
          </p:cNvPr>
          <p:cNvSpPr/>
          <p:nvPr/>
        </p:nvSpPr>
        <p:spPr>
          <a:xfrm>
            <a:off x="4002894" y="590550"/>
            <a:ext cx="2211422" cy="2373144"/>
          </a:xfrm>
          <a:prstGeom prst="roundRect">
            <a:avLst>
              <a:gd name="adj" fmla="val 5065"/>
            </a:avLst>
          </a:prstGeom>
          <a:gradFill>
            <a:gsLst>
              <a:gs pos="0">
                <a:schemeClr val="tx2"/>
              </a:gs>
              <a:gs pos="100000">
                <a:srgbClr val="006684"/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  <a:sym typeface="Arial"/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BE317C7-7779-601C-BB11-A803E8248358}"/>
              </a:ext>
            </a:extLst>
          </p:cNvPr>
          <p:cNvSpPr/>
          <p:nvPr/>
        </p:nvSpPr>
        <p:spPr>
          <a:xfrm>
            <a:off x="6322979" y="1939451"/>
            <a:ext cx="2211422" cy="2607013"/>
          </a:xfrm>
          <a:prstGeom prst="roundRect">
            <a:avLst>
              <a:gd name="adj" fmla="val 5065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  <a:sym typeface="Arial"/>
            </a:endParaRP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B1375FCA-EB83-E31E-C627-EBC4E2402BEC}"/>
              </a:ext>
            </a:extLst>
          </p:cNvPr>
          <p:cNvSpPr/>
          <p:nvPr/>
        </p:nvSpPr>
        <p:spPr>
          <a:xfrm>
            <a:off x="4002894" y="3080832"/>
            <a:ext cx="2211422" cy="1465632"/>
          </a:xfrm>
          <a:prstGeom prst="roundRect">
            <a:avLst>
              <a:gd name="adj" fmla="val 5065"/>
            </a:avLst>
          </a:prstGeom>
          <a:gradFill>
            <a:gsLst>
              <a:gs pos="0">
                <a:srgbClr val="8E66A8"/>
              </a:gs>
              <a:gs pos="100000">
                <a:srgbClr val="7A5792"/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  <a:sym typeface="Arial"/>
            </a:endParaRPr>
          </a:p>
        </p:txBody>
      </p:sp>
      <p:sp>
        <p:nvSpPr>
          <p:cNvPr id="9" name="Google Shape;163;p17">
            <a:extLst>
              <a:ext uri="{FF2B5EF4-FFF2-40B4-BE49-F238E27FC236}">
                <a16:creationId xmlns:a16="http://schemas.microsoft.com/office/drawing/2014/main" id="{9642BD03-4889-8A07-CE8D-00BE24E703B3}"/>
              </a:ext>
            </a:extLst>
          </p:cNvPr>
          <p:cNvSpPr txBox="1"/>
          <p:nvPr/>
        </p:nvSpPr>
        <p:spPr>
          <a:xfrm>
            <a:off x="4208835" y="798073"/>
            <a:ext cx="1394298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20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GOVA Request:</a:t>
            </a:r>
            <a:endParaRPr kumimoji="0" sz="20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0" name="Google Shape;163;p17">
            <a:extLst>
              <a:ext uri="{FF2B5EF4-FFF2-40B4-BE49-F238E27FC236}">
                <a16:creationId xmlns:a16="http://schemas.microsoft.com/office/drawing/2014/main" id="{6987FB4E-14F5-F5EC-AAD9-1094F9BFF9DF}"/>
              </a:ext>
            </a:extLst>
          </p:cNvPr>
          <p:cNvSpPr txBox="1"/>
          <p:nvPr/>
        </p:nvSpPr>
        <p:spPr>
          <a:xfrm>
            <a:off x="4218564" y="3208285"/>
            <a:ext cx="1394298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8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Additional Leverage: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1" name="Google Shape;163;p17">
            <a:extLst>
              <a:ext uri="{FF2B5EF4-FFF2-40B4-BE49-F238E27FC236}">
                <a16:creationId xmlns:a16="http://schemas.microsoft.com/office/drawing/2014/main" id="{E42F3B11-7B78-C6EB-C55F-62CA1B2A68D8}"/>
              </a:ext>
            </a:extLst>
          </p:cNvPr>
          <p:cNvSpPr txBox="1"/>
          <p:nvPr/>
        </p:nvSpPr>
        <p:spPr>
          <a:xfrm>
            <a:off x="4208835" y="1721443"/>
            <a:ext cx="1802859" cy="2180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8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Total Match: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2" name="Google Shape;163;p17">
            <a:extLst>
              <a:ext uri="{FF2B5EF4-FFF2-40B4-BE49-F238E27FC236}">
                <a16:creationId xmlns:a16="http://schemas.microsoft.com/office/drawing/2014/main" id="{ED804690-D4C6-6B8D-E4CB-05645FD475F5}"/>
              </a:ext>
            </a:extLst>
          </p:cNvPr>
          <p:cNvSpPr txBox="1"/>
          <p:nvPr/>
        </p:nvSpPr>
        <p:spPr>
          <a:xfrm>
            <a:off x="4240192" y="3959553"/>
            <a:ext cx="1802859" cy="2180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8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Total Budget: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B83E2CE-ED66-A65C-EE9D-A0F65221C9D2}"/>
              </a:ext>
            </a:extLst>
          </p:cNvPr>
          <p:cNvSpPr txBox="1"/>
          <p:nvPr/>
        </p:nvSpPr>
        <p:spPr>
          <a:xfrm>
            <a:off x="4155588" y="1251214"/>
            <a:ext cx="175746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2400" b="1" dirty="0">
                <a:solidFill>
                  <a:srgbClr val="FEFFFF"/>
                </a:solidFill>
                <a:latin typeface="Century Gothic" panose="020F0302020204030204"/>
              </a:rPr>
              <a:t>$262,192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A4B9194-F505-15B5-3F29-6235EE5DDA1B}"/>
              </a:ext>
            </a:extLst>
          </p:cNvPr>
          <p:cNvSpPr txBox="1"/>
          <p:nvPr/>
        </p:nvSpPr>
        <p:spPr>
          <a:xfrm>
            <a:off x="4218564" y="1970742"/>
            <a:ext cx="17574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600" dirty="0">
                <a:solidFill>
                  <a:srgbClr val="FEFFFF"/>
                </a:solidFill>
                <a:latin typeface="Century Gothic" panose="020F0302020204030204"/>
              </a:rPr>
              <a:t>$131,308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2" name="Google Shape;163;p17">
            <a:extLst>
              <a:ext uri="{FF2B5EF4-FFF2-40B4-BE49-F238E27FC236}">
                <a16:creationId xmlns:a16="http://schemas.microsoft.com/office/drawing/2014/main" id="{BC077829-3503-53AB-97E7-618AF075CBB9}"/>
              </a:ext>
            </a:extLst>
          </p:cNvPr>
          <p:cNvSpPr txBox="1"/>
          <p:nvPr/>
        </p:nvSpPr>
        <p:spPr>
          <a:xfrm>
            <a:off x="304008" y="272287"/>
            <a:ext cx="3698886" cy="641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48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ea typeface="Roboto"/>
                <a:cs typeface="Arial"/>
                <a:sym typeface="Roboto"/>
              </a:rPr>
              <a:t>Region </a:t>
            </a:r>
            <a:r>
              <a:rPr lang="en-US" sz="1600" b="1" dirty="0">
                <a:solidFill>
                  <a:srgbClr val="004150"/>
                </a:solidFill>
                <a:latin typeface="Century Gothic" panose="020F0302020204030204"/>
                <a:ea typeface="Roboto"/>
                <a:sym typeface="Roboto"/>
              </a:rPr>
              <a:t>9: Venture Central Food and Beverage Business Accelerator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004150"/>
              </a:solidFill>
              <a:effectLst/>
              <a:uLnTx/>
              <a:uFillTx/>
              <a:latin typeface="Century Gothic" panose="020F0302020204030204"/>
              <a:ea typeface="Roboto"/>
              <a:cs typeface="Arial"/>
              <a:sym typeface="Roboto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58F6190-1CA3-F4DF-EF60-F9C5030DC903}"/>
              </a:ext>
            </a:extLst>
          </p:cNvPr>
          <p:cNvSpPr txBox="1"/>
          <p:nvPr/>
        </p:nvSpPr>
        <p:spPr>
          <a:xfrm>
            <a:off x="322948" y="876656"/>
            <a:ext cx="3441657" cy="23310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000" b="1" dirty="0">
                <a:solidFill>
                  <a:srgbClr val="004150"/>
                </a:solidFill>
                <a:latin typeface="Century Gothic" panose="020F0302020204030204"/>
              </a:rPr>
              <a:t>Target Cluster(s): </a:t>
            </a:r>
            <a:r>
              <a:rPr lang="en-US" sz="1000" dirty="0">
                <a:solidFill>
                  <a:srgbClr val="004150"/>
                </a:solidFill>
                <a:latin typeface="Century Gothic" panose="020F0302020204030204"/>
              </a:rPr>
              <a:t>Food and Beverage Manufacturing</a:t>
            </a:r>
            <a:endParaRPr lang="en-US" sz="1000" b="1" dirty="0">
              <a:solidFill>
                <a:srgbClr val="004150"/>
              </a:solidFill>
              <a:latin typeface="Century Gothic" panose="020F0302020204030204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Applicant: </a:t>
            </a:r>
            <a:r>
              <a:rPr lang="en-US" sz="1000" dirty="0">
                <a:solidFill>
                  <a:srgbClr val="004150"/>
                </a:solidFill>
                <a:latin typeface="Century Gothic" panose="020F0302020204030204"/>
              </a:rPr>
              <a:t>Venture Central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004150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000" b="1" dirty="0">
                <a:solidFill>
                  <a:srgbClr val="004150"/>
                </a:solidFill>
                <a:latin typeface="Century Gothic" panose="020F0302020204030204"/>
              </a:rPr>
              <a:t>Investment Strategy: </a:t>
            </a:r>
            <a:r>
              <a:rPr lang="en-US" sz="1000" dirty="0">
                <a:solidFill>
                  <a:srgbClr val="004150"/>
                </a:solidFill>
                <a:latin typeface="Century Gothic" panose="020F0302020204030204"/>
              </a:rPr>
              <a:t>Cluster Scale Up</a:t>
            </a:r>
            <a:endParaRPr lang="en-US" sz="1000" b="1" dirty="0">
              <a:solidFill>
                <a:srgbClr val="004150"/>
              </a:solidFill>
              <a:latin typeface="Century Gothic" panose="020F0302020204030204"/>
            </a:endParaRPr>
          </a:p>
          <a:p>
            <a:pPr lvl="0">
              <a:lnSpc>
                <a:spcPct val="150000"/>
              </a:lnSpc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Goal: </a:t>
            </a:r>
            <a:r>
              <a:rPr lang="en-US" sz="1000" dirty="0">
                <a:solidFill>
                  <a:schemeClr val="bg2"/>
                </a:solidFill>
                <a:latin typeface="+mn-lt"/>
              </a:rPr>
              <a:t>To expand the food and beverage manufacturing sector in Region 9 through </a:t>
            </a:r>
          </a:p>
          <a:p>
            <a:pPr lvl="0">
              <a:lnSpc>
                <a:spcPct val="150000"/>
              </a:lnSpc>
            </a:pPr>
            <a:r>
              <a:rPr lang="en-US" sz="1000" dirty="0">
                <a:solidFill>
                  <a:schemeClr val="bg2"/>
                </a:solidFill>
                <a:latin typeface="+mn-lt"/>
              </a:rPr>
              <a:t>assisting small manufacturers.</a:t>
            </a: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Outcomes: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800" dirty="0">
                <a:solidFill>
                  <a:srgbClr val="004150"/>
                </a:solidFill>
                <a:latin typeface="Century Gothic" panose="020F0302020204030204"/>
              </a:rPr>
              <a:t>10 Jobs Created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800" dirty="0">
                <a:solidFill>
                  <a:srgbClr val="004150"/>
                </a:solidFill>
                <a:latin typeface="Century Gothic" panose="020F0302020204030204"/>
              </a:rPr>
              <a:t>16</a:t>
            </a:r>
            <a:r>
              <a:rPr kumimoji="0" lang="en-US" sz="800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 Businesses Expanded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36 Businesses Served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800" dirty="0">
                <a:solidFill>
                  <a:srgbClr val="004150"/>
                </a:solidFill>
                <a:latin typeface="Century Gothic" panose="020F0302020204030204"/>
              </a:rPr>
              <a:t>$150,000 Raised by Businesses Served</a:t>
            </a:r>
            <a:endParaRPr kumimoji="0" lang="en-US" sz="800" i="0" u="none" strike="noStrike" kern="0" cap="none" spc="0" normalizeH="0" baseline="0" noProof="0" dirty="0">
              <a:ln>
                <a:noFill/>
              </a:ln>
              <a:solidFill>
                <a:srgbClr val="004150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5" name="Google Shape;163;p17">
            <a:extLst>
              <a:ext uri="{FF2B5EF4-FFF2-40B4-BE49-F238E27FC236}">
                <a16:creationId xmlns:a16="http://schemas.microsoft.com/office/drawing/2014/main" id="{04DBF2F3-0BA3-B2E4-4E3E-F77D48A14F73}"/>
              </a:ext>
            </a:extLst>
          </p:cNvPr>
          <p:cNvSpPr txBox="1"/>
          <p:nvPr/>
        </p:nvSpPr>
        <p:spPr>
          <a:xfrm>
            <a:off x="6456144" y="690888"/>
            <a:ext cx="1945091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6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Workgroup Reccomendation: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3" name="Google Shape;163;p17">
            <a:extLst>
              <a:ext uri="{FF2B5EF4-FFF2-40B4-BE49-F238E27FC236}">
                <a16:creationId xmlns:a16="http://schemas.microsoft.com/office/drawing/2014/main" id="{09D8252C-F01E-9EFC-B904-105B8205A915}"/>
              </a:ext>
            </a:extLst>
          </p:cNvPr>
          <p:cNvSpPr txBox="1"/>
          <p:nvPr/>
        </p:nvSpPr>
        <p:spPr>
          <a:xfrm>
            <a:off x="4208835" y="2288685"/>
            <a:ext cx="1802859" cy="2180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8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Local Match: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F088B0F-5FB8-AD95-49C1-801C28385664}"/>
              </a:ext>
            </a:extLst>
          </p:cNvPr>
          <p:cNvSpPr txBox="1"/>
          <p:nvPr/>
        </p:nvSpPr>
        <p:spPr>
          <a:xfrm>
            <a:off x="4218564" y="2535458"/>
            <a:ext cx="17574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600" dirty="0">
                <a:solidFill>
                  <a:srgbClr val="FEFFFF"/>
                </a:solidFill>
                <a:latin typeface="Century Gothic" panose="020F0302020204030204"/>
              </a:rPr>
              <a:t>$120,000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CB96904-13DE-F92D-8334-D0FA10EF8B3A}"/>
              </a:ext>
            </a:extLst>
          </p:cNvPr>
          <p:cNvSpPr txBox="1"/>
          <p:nvPr/>
        </p:nvSpPr>
        <p:spPr>
          <a:xfrm>
            <a:off x="4155589" y="3661426"/>
            <a:ext cx="17574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$23,000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40ED341-1030-85D8-64B3-5005AEE7FBF7}"/>
              </a:ext>
            </a:extLst>
          </p:cNvPr>
          <p:cNvSpPr txBox="1"/>
          <p:nvPr/>
        </p:nvSpPr>
        <p:spPr>
          <a:xfrm>
            <a:off x="4208835" y="4185695"/>
            <a:ext cx="17574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600" dirty="0">
                <a:solidFill>
                  <a:srgbClr val="FEFFFF"/>
                </a:solidFill>
                <a:latin typeface="Century Gothic" panose="020F0302020204030204"/>
              </a:rPr>
              <a:t>$416,500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789CB87-6D59-6082-9E30-CA7008E2BBF0}"/>
              </a:ext>
            </a:extLst>
          </p:cNvPr>
          <p:cNvSpPr txBox="1"/>
          <p:nvPr/>
        </p:nvSpPr>
        <p:spPr>
          <a:xfrm>
            <a:off x="6494242" y="1316269"/>
            <a:ext cx="17574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/>
            <a:r>
              <a:rPr lang="en-US" sz="1600" dirty="0">
                <a:solidFill>
                  <a:schemeClr val="bg1"/>
                </a:solidFill>
                <a:latin typeface="+mj-lt"/>
              </a:rPr>
              <a:t>Approve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cs typeface="Arial"/>
              <a:sym typeface="Arial"/>
            </a:endParaRPr>
          </a:p>
        </p:txBody>
      </p:sp>
      <p:sp>
        <p:nvSpPr>
          <p:cNvPr id="24" name="Google Shape;163;p17">
            <a:extLst>
              <a:ext uri="{FF2B5EF4-FFF2-40B4-BE49-F238E27FC236}">
                <a16:creationId xmlns:a16="http://schemas.microsoft.com/office/drawing/2014/main" id="{9352B1D6-6BBA-C9C1-7E1D-0AE096EB2E65}"/>
              </a:ext>
            </a:extLst>
          </p:cNvPr>
          <p:cNvSpPr txBox="1"/>
          <p:nvPr/>
        </p:nvSpPr>
        <p:spPr>
          <a:xfrm>
            <a:off x="6471545" y="2065564"/>
            <a:ext cx="1802859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6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Participating Localities: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EB86BA1-03FA-EB95-0829-BDCFEEFBBF4E}"/>
              </a:ext>
            </a:extLst>
          </p:cNvPr>
          <p:cNvSpPr txBox="1"/>
          <p:nvPr/>
        </p:nvSpPr>
        <p:spPr>
          <a:xfrm>
            <a:off x="6429986" y="2535458"/>
            <a:ext cx="1971249" cy="11310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bg1"/>
                </a:solidFill>
                <a:latin typeface="+mj-lt"/>
              </a:rPr>
              <a:t>Albemarle</a:t>
            </a: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Arial"/>
                <a:sym typeface="Arial"/>
              </a:rPr>
              <a:t> County (Cash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bg1"/>
                </a:solidFill>
                <a:latin typeface="+mj-lt"/>
              </a:rPr>
              <a:t>Fauquier County (Cash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Arial"/>
                <a:sym typeface="Arial"/>
              </a:rPr>
              <a:t>Madison County (Cash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bg1"/>
                </a:solidFill>
                <a:latin typeface="+mj-lt"/>
              </a:rPr>
              <a:t>Nelson County (Cash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Arial"/>
                <a:sym typeface="Arial"/>
              </a:rPr>
              <a:t>Orange County (Cash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bg1"/>
                </a:solidFill>
                <a:latin typeface="+mj-lt"/>
              </a:rPr>
              <a:t>City of Charlottesville (Cash)</a:t>
            </a:r>
          </a:p>
        </p:txBody>
      </p:sp>
    </p:spTree>
    <p:extLst>
      <p:ext uri="{BB962C8B-B14F-4D97-AF65-F5344CB8AC3E}">
        <p14:creationId xmlns:p14="http://schemas.microsoft.com/office/powerpoint/2010/main" val="3678859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0">
          <a:extLst>
            <a:ext uri="{FF2B5EF4-FFF2-40B4-BE49-F238E27FC236}">
              <a16:creationId xmlns:a16="http://schemas.microsoft.com/office/drawing/2014/main" id="{858AA3FC-0D4B-46B1-A8D9-5C8E5D2312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C4F1726C-3CE5-58D0-A212-A7F352FD98BB}"/>
              </a:ext>
            </a:extLst>
          </p:cNvPr>
          <p:cNvSpPr/>
          <p:nvPr/>
        </p:nvSpPr>
        <p:spPr>
          <a:xfrm>
            <a:off x="6322979" y="597035"/>
            <a:ext cx="2211422" cy="1231765"/>
          </a:xfrm>
          <a:prstGeom prst="roundRect">
            <a:avLst>
              <a:gd name="adj" fmla="val 5065"/>
            </a:avLst>
          </a:prstGeom>
          <a:gradFill>
            <a:gsLst>
              <a:gs pos="0">
                <a:schemeClr val="accent1"/>
              </a:gs>
              <a:gs pos="100000">
                <a:srgbClr val="2F8B8F"/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  <a:sym typeface="Arial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503FD3A-5C15-9DD7-3E30-69E82FA6A8AF}"/>
              </a:ext>
            </a:extLst>
          </p:cNvPr>
          <p:cNvSpPr/>
          <p:nvPr/>
        </p:nvSpPr>
        <p:spPr>
          <a:xfrm>
            <a:off x="4002894" y="590550"/>
            <a:ext cx="2211422" cy="2373144"/>
          </a:xfrm>
          <a:prstGeom prst="roundRect">
            <a:avLst>
              <a:gd name="adj" fmla="val 5065"/>
            </a:avLst>
          </a:prstGeom>
          <a:gradFill>
            <a:gsLst>
              <a:gs pos="0">
                <a:schemeClr val="tx2"/>
              </a:gs>
              <a:gs pos="100000">
                <a:srgbClr val="006684"/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  <a:sym typeface="Arial"/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175243A0-595B-C2D0-F09C-2C8C19565770}"/>
              </a:ext>
            </a:extLst>
          </p:cNvPr>
          <p:cNvSpPr/>
          <p:nvPr/>
        </p:nvSpPr>
        <p:spPr>
          <a:xfrm>
            <a:off x="6322979" y="1939451"/>
            <a:ext cx="2211422" cy="2607013"/>
          </a:xfrm>
          <a:prstGeom prst="roundRect">
            <a:avLst>
              <a:gd name="adj" fmla="val 5065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  <a:sym typeface="Arial"/>
            </a:endParaRP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CF19BC21-D3D1-49A5-B0C7-0A4D74D5E703}"/>
              </a:ext>
            </a:extLst>
          </p:cNvPr>
          <p:cNvSpPr/>
          <p:nvPr/>
        </p:nvSpPr>
        <p:spPr>
          <a:xfrm>
            <a:off x="4002894" y="3080832"/>
            <a:ext cx="2211422" cy="1465632"/>
          </a:xfrm>
          <a:prstGeom prst="roundRect">
            <a:avLst>
              <a:gd name="adj" fmla="val 5065"/>
            </a:avLst>
          </a:prstGeom>
          <a:gradFill>
            <a:gsLst>
              <a:gs pos="0">
                <a:srgbClr val="8E66A8"/>
              </a:gs>
              <a:gs pos="100000">
                <a:srgbClr val="7A5792"/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  <a:sym typeface="Arial"/>
            </a:endParaRPr>
          </a:p>
        </p:txBody>
      </p:sp>
      <p:sp>
        <p:nvSpPr>
          <p:cNvPr id="9" name="Google Shape;163;p17">
            <a:extLst>
              <a:ext uri="{FF2B5EF4-FFF2-40B4-BE49-F238E27FC236}">
                <a16:creationId xmlns:a16="http://schemas.microsoft.com/office/drawing/2014/main" id="{8AA27D28-7C65-2DD7-A219-C964F71D0AB8}"/>
              </a:ext>
            </a:extLst>
          </p:cNvPr>
          <p:cNvSpPr txBox="1"/>
          <p:nvPr/>
        </p:nvSpPr>
        <p:spPr>
          <a:xfrm>
            <a:off x="4208835" y="798073"/>
            <a:ext cx="1394298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20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GOVA Request:</a:t>
            </a:r>
            <a:endParaRPr kumimoji="0" sz="20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0" name="Google Shape;163;p17">
            <a:extLst>
              <a:ext uri="{FF2B5EF4-FFF2-40B4-BE49-F238E27FC236}">
                <a16:creationId xmlns:a16="http://schemas.microsoft.com/office/drawing/2014/main" id="{82B29907-75E2-B6F6-CECB-16DF89117DAA}"/>
              </a:ext>
            </a:extLst>
          </p:cNvPr>
          <p:cNvSpPr txBox="1"/>
          <p:nvPr/>
        </p:nvSpPr>
        <p:spPr>
          <a:xfrm>
            <a:off x="4218564" y="3208285"/>
            <a:ext cx="1394298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8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Additional Leverage: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1" name="Google Shape;163;p17">
            <a:extLst>
              <a:ext uri="{FF2B5EF4-FFF2-40B4-BE49-F238E27FC236}">
                <a16:creationId xmlns:a16="http://schemas.microsoft.com/office/drawing/2014/main" id="{62D5B5C4-2D7E-EB62-EC6B-B5121C2EBCEF}"/>
              </a:ext>
            </a:extLst>
          </p:cNvPr>
          <p:cNvSpPr txBox="1"/>
          <p:nvPr/>
        </p:nvSpPr>
        <p:spPr>
          <a:xfrm>
            <a:off x="4208835" y="1721443"/>
            <a:ext cx="1802859" cy="2180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8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Total Match: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2" name="Google Shape;163;p17">
            <a:extLst>
              <a:ext uri="{FF2B5EF4-FFF2-40B4-BE49-F238E27FC236}">
                <a16:creationId xmlns:a16="http://schemas.microsoft.com/office/drawing/2014/main" id="{F4EE9BCA-EC20-B659-B719-FD76722112FC}"/>
              </a:ext>
            </a:extLst>
          </p:cNvPr>
          <p:cNvSpPr txBox="1"/>
          <p:nvPr/>
        </p:nvSpPr>
        <p:spPr>
          <a:xfrm>
            <a:off x="4240192" y="3959553"/>
            <a:ext cx="1802859" cy="2180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8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Total Budget: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BB38E8A-9B2C-F323-A6E4-D2718341774A}"/>
              </a:ext>
            </a:extLst>
          </p:cNvPr>
          <p:cNvSpPr txBox="1"/>
          <p:nvPr/>
        </p:nvSpPr>
        <p:spPr>
          <a:xfrm>
            <a:off x="4155588" y="1251214"/>
            <a:ext cx="175746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2400" b="1" dirty="0">
                <a:solidFill>
                  <a:srgbClr val="FEFFFF"/>
                </a:solidFill>
                <a:latin typeface="Century Gothic" panose="020F0302020204030204"/>
              </a:rPr>
              <a:t>$535,000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DB68532-B527-5124-4379-303144115DC3}"/>
              </a:ext>
            </a:extLst>
          </p:cNvPr>
          <p:cNvSpPr txBox="1"/>
          <p:nvPr/>
        </p:nvSpPr>
        <p:spPr>
          <a:xfrm>
            <a:off x="4218564" y="1970742"/>
            <a:ext cx="17574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600" dirty="0">
                <a:solidFill>
                  <a:srgbClr val="FEFFFF"/>
                </a:solidFill>
                <a:latin typeface="Century Gothic" panose="020F0302020204030204"/>
              </a:rPr>
              <a:t>$268,069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2" name="Google Shape;163;p17">
            <a:extLst>
              <a:ext uri="{FF2B5EF4-FFF2-40B4-BE49-F238E27FC236}">
                <a16:creationId xmlns:a16="http://schemas.microsoft.com/office/drawing/2014/main" id="{D6A7E360-2C70-946C-E447-E30FD7BF2F6C}"/>
              </a:ext>
            </a:extLst>
          </p:cNvPr>
          <p:cNvSpPr txBox="1"/>
          <p:nvPr/>
        </p:nvSpPr>
        <p:spPr>
          <a:xfrm>
            <a:off x="304008" y="272287"/>
            <a:ext cx="3393294" cy="641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48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ea typeface="Roboto"/>
                <a:cs typeface="Arial"/>
                <a:sym typeface="Roboto"/>
              </a:rPr>
              <a:t>Regions 7, 4, &amp; 5:</a:t>
            </a:r>
            <a:r>
              <a:rPr lang="en-US" sz="2000" b="1" dirty="0">
                <a:solidFill>
                  <a:srgbClr val="004150"/>
                </a:solidFill>
                <a:latin typeface="Century Gothic" panose="020F0302020204030204"/>
                <a:ea typeface="Roboto"/>
                <a:sym typeface="Roboto"/>
              </a:rPr>
              <a:t> AED Commercial Real Estate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4150"/>
              </a:solidFill>
              <a:effectLst/>
              <a:uLnTx/>
              <a:uFillTx/>
              <a:latin typeface="Century Gothic" panose="020F0302020204030204"/>
              <a:ea typeface="Roboto"/>
              <a:cs typeface="Arial"/>
              <a:sym typeface="Roboto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A07FF67-78A3-FC8A-926B-1600888C759B}"/>
              </a:ext>
            </a:extLst>
          </p:cNvPr>
          <p:cNvSpPr txBox="1"/>
          <p:nvPr/>
        </p:nvSpPr>
        <p:spPr>
          <a:xfrm>
            <a:off x="322948" y="876656"/>
            <a:ext cx="3441657" cy="39930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000" b="1" dirty="0">
                <a:solidFill>
                  <a:srgbClr val="004150"/>
                </a:solidFill>
                <a:latin typeface="Century Gothic" panose="020F0302020204030204"/>
              </a:rPr>
              <a:t>Target Cluster(s): </a:t>
            </a:r>
            <a:r>
              <a:rPr lang="en-US" sz="1000" dirty="0">
                <a:solidFill>
                  <a:srgbClr val="004150"/>
                </a:solidFill>
                <a:latin typeface="Century Gothic" panose="020F0302020204030204"/>
              </a:rPr>
              <a:t>Pharmaceutical Manufacturing, Information Technology, Cybersecurity, Data Analytics, and Modeling and Simulation, Ship Repair and Shipbuilding, Unmanned Systems, Computer Services, and Life Sciences.</a:t>
            </a:r>
            <a:endParaRPr lang="en-US" sz="1000" b="1" dirty="0">
              <a:solidFill>
                <a:srgbClr val="004150"/>
              </a:solidFill>
              <a:latin typeface="Century Gothic" panose="020F0302020204030204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Applicant: </a:t>
            </a:r>
            <a:r>
              <a:rPr kumimoji="0" lang="en-US" sz="1000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Arlington Economic Development (</a:t>
            </a:r>
            <a:r>
              <a:rPr lang="en-US" sz="1000" dirty="0">
                <a:solidFill>
                  <a:srgbClr val="004150"/>
                </a:solidFill>
                <a:latin typeface="Century Gothic" panose="020F0302020204030204"/>
              </a:rPr>
              <a:t>AED</a:t>
            </a:r>
            <a:r>
              <a:rPr kumimoji="0" lang="en-US" sz="1000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)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004150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000" b="1" dirty="0">
                <a:solidFill>
                  <a:srgbClr val="004150"/>
                </a:solidFill>
                <a:latin typeface="Century Gothic" panose="020F0302020204030204"/>
              </a:rPr>
              <a:t>Investment Strategy: </a:t>
            </a:r>
            <a:r>
              <a:rPr lang="en-US" sz="1000" dirty="0">
                <a:solidFill>
                  <a:srgbClr val="004150"/>
                </a:solidFill>
                <a:latin typeface="Century Gothic" panose="020F0302020204030204"/>
              </a:rPr>
              <a:t>Site Development and Infrastructure</a:t>
            </a:r>
            <a:endParaRPr lang="en-US" sz="1000" b="1" dirty="0">
              <a:solidFill>
                <a:srgbClr val="004150"/>
              </a:solidFill>
              <a:latin typeface="Century Gothic" panose="020F0302020204030204"/>
            </a:endParaRPr>
          </a:p>
          <a:p>
            <a:pPr lvl="0">
              <a:lnSpc>
                <a:spcPct val="150000"/>
              </a:lnSpc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Goal: </a:t>
            </a:r>
            <a:r>
              <a:rPr lang="en-US" sz="1000" dirty="0">
                <a:solidFill>
                  <a:schemeClr val="bg2"/>
                </a:solidFill>
                <a:latin typeface="+mn-lt"/>
              </a:rPr>
              <a:t>To increase the number of business-ready sites within urban markets and support local and state decision-making by providing clear, actionable insights into office real estate conditions affecting key priority industries identified by the participating GO Virginia </a:t>
            </a:r>
          </a:p>
          <a:p>
            <a:pPr lvl="0">
              <a:lnSpc>
                <a:spcPct val="150000"/>
              </a:lnSpc>
            </a:pPr>
            <a:r>
              <a:rPr lang="en-US" sz="1000" dirty="0">
                <a:solidFill>
                  <a:schemeClr val="bg2"/>
                </a:solidFill>
                <a:latin typeface="+mn-lt"/>
              </a:rPr>
              <a:t>regions.</a:t>
            </a:r>
          </a:p>
          <a:p>
            <a:pPr lvl="0">
              <a:lnSpc>
                <a:spcPct val="150000"/>
              </a:lnSpc>
            </a:pPr>
            <a:r>
              <a:rPr lang="en-US" sz="1000" b="1" dirty="0">
                <a:solidFill>
                  <a:srgbClr val="004150"/>
                </a:solidFill>
                <a:latin typeface="Century Gothic" panose="020F0302020204030204"/>
              </a:rPr>
              <a:t>Products: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800" dirty="0">
                <a:solidFill>
                  <a:srgbClr val="004150"/>
                </a:solidFill>
                <a:latin typeface="Century Gothic" panose="020F0302020204030204"/>
              </a:rPr>
              <a:t>Economic office market demand analysis and forecasting report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800" dirty="0">
                <a:solidFill>
                  <a:srgbClr val="004150"/>
                </a:solidFill>
                <a:latin typeface="Century Gothic" panose="020F0302020204030204"/>
              </a:rPr>
              <a:t>Gap analysis and public sector opportunity assessm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800" dirty="0">
                <a:solidFill>
                  <a:srgbClr val="004150"/>
                </a:solidFill>
                <a:latin typeface="Century Gothic" panose="020F0302020204030204"/>
              </a:rPr>
              <a:t>Conceptual redevelopment program design(s)</a:t>
            </a:r>
          </a:p>
        </p:txBody>
      </p:sp>
      <p:sp>
        <p:nvSpPr>
          <p:cNvPr id="5" name="Google Shape;163;p17">
            <a:extLst>
              <a:ext uri="{FF2B5EF4-FFF2-40B4-BE49-F238E27FC236}">
                <a16:creationId xmlns:a16="http://schemas.microsoft.com/office/drawing/2014/main" id="{FA1EDFC5-ED47-7972-92FA-B04DA73071C4}"/>
              </a:ext>
            </a:extLst>
          </p:cNvPr>
          <p:cNvSpPr txBox="1"/>
          <p:nvPr/>
        </p:nvSpPr>
        <p:spPr>
          <a:xfrm>
            <a:off x="6456144" y="690888"/>
            <a:ext cx="1945091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6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Workgroup Reccomendation: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3" name="Google Shape;163;p17">
            <a:extLst>
              <a:ext uri="{FF2B5EF4-FFF2-40B4-BE49-F238E27FC236}">
                <a16:creationId xmlns:a16="http://schemas.microsoft.com/office/drawing/2014/main" id="{49ECA5D1-8179-0B1A-B89A-EAB4B15E09BA}"/>
              </a:ext>
            </a:extLst>
          </p:cNvPr>
          <p:cNvSpPr txBox="1"/>
          <p:nvPr/>
        </p:nvSpPr>
        <p:spPr>
          <a:xfrm>
            <a:off x="4208835" y="2288685"/>
            <a:ext cx="1802859" cy="2180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8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Local Match: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D1D8380-7230-18A7-0F61-C22AF9325AB4}"/>
              </a:ext>
            </a:extLst>
          </p:cNvPr>
          <p:cNvSpPr txBox="1"/>
          <p:nvPr/>
        </p:nvSpPr>
        <p:spPr>
          <a:xfrm>
            <a:off x="4218564" y="2535458"/>
            <a:ext cx="17574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600" dirty="0">
                <a:solidFill>
                  <a:srgbClr val="FEFFFF"/>
                </a:solidFill>
                <a:latin typeface="Century Gothic" panose="020F0302020204030204"/>
              </a:rPr>
              <a:t>$202,996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DFFEEFF-6BAF-D121-3FED-02801FB1F51A}"/>
              </a:ext>
            </a:extLst>
          </p:cNvPr>
          <p:cNvSpPr txBox="1"/>
          <p:nvPr/>
        </p:nvSpPr>
        <p:spPr>
          <a:xfrm>
            <a:off x="4155589" y="3661426"/>
            <a:ext cx="17574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600" dirty="0">
                <a:solidFill>
                  <a:srgbClr val="FEFFFF"/>
                </a:solidFill>
                <a:latin typeface="Century Gothic" panose="020F0302020204030204"/>
              </a:rPr>
              <a:t>$ -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3007D33-DBE0-9D2D-B6DC-C76314476645}"/>
              </a:ext>
            </a:extLst>
          </p:cNvPr>
          <p:cNvSpPr txBox="1"/>
          <p:nvPr/>
        </p:nvSpPr>
        <p:spPr>
          <a:xfrm>
            <a:off x="4208835" y="4185695"/>
            <a:ext cx="17574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600" dirty="0">
                <a:solidFill>
                  <a:srgbClr val="FEFFFF"/>
                </a:solidFill>
                <a:latin typeface="Century Gothic" panose="020F0302020204030204"/>
              </a:rPr>
              <a:t>$803,069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4818748-FD2E-FC24-6C42-B006AB4EBAED}"/>
              </a:ext>
            </a:extLst>
          </p:cNvPr>
          <p:cNvSpPr txBox="1"/>
          <p:nvPr/>
        </p:nvSpPr>
        <p:spPr>
          <a:xfrm>
            <a:off x="6420257" y="1200853"/>
            <a:ext cx="2075826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/>
            <a:r>
              <a:rPr lang="en-US" sz="900" dirty="0">
                <a:solidFill>
                  <a:schemeClr val="bg1"/>
                </a:solidFill>
                <a:latin typeface="+mj-lt"/>
              </a:rPr>
              <a:t>Approval at the $250,000 planning grant limit defined in the FY26 </a:t>
            </a:r>
          </a:p>
          <a:p>
            <a:pPr lvl="0" algn="ctr"/>
            <a:r>
              <a:rPr lang="en-US" sz="900" dirty="0">
                <a:solidFill>
                  <a:schemeClr val="bg1"/>
                </a:solidFill>
                <a:latin typeface="+mj-lt"/>
              </a:rPr>
              <a:t>Competitive Fund guidelines.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cs typeface="Arial"/>
              <a:sym typeface="Arial"/>
            </a:endParaRPr>
          </a:p>
        </p:txBody>
      </p:sp>
      <p:sp>
        <p:nvSpPr>
          <p:cNvPr id="24" name="Google Shape;163;p17">
            <a:extLst>
              <a:ext uri="{FF2B5EF4-FFF2-40B4-BE49-F238E27FC236}">
                <a16:creationId xmlns:a16="http://schemas.microsoft.com/office/drawing/2014/main" id="{F1B36DB0-5D82-F833-31C8-15A3151B6C6C}"/>
              </a:ext>
            </a:extLst>
          </p:cNvPr>
          <p:cNvSpPr txBox="1"/>
          <p:nvPr/>
        </p:nvSpPr>
        <p:spPr>
          <a:xfrm>
            <a:off x="6471545" y="2065564"/>
            <a:ext cx="1802859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6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Participating Localities: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2588D44-7588-AEF8-E62E-E3F39415E9F5}"/>
              </a:ext>
            </a:extLst>
          </p:cNvPr>
          <p:cNvSpPr txBox="1"/>
          <p:nvPr/>
        </p:nvSpPr>
        <p:spPr>
          <a:xfrm>
            <a:off x="6429986" y="2535458"/>
            <a:ext cx="1971249" cy="19389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bg1"/>
                </a:solidFill>
                <a:latin typeface="+mj-lt"/>
              </a:rPr>
              <a:t>Arlington</a:t>
            </a: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Arial"/>
                <a:sym typeface="Arial"/>
              </a:rPr>
              <a:t> County (Cash and In-Kind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bg1"/>
                </a:solidFill>
                <a:latin typeface="+mj-lt"/>
              </a:rPr>
              <a:t>Fairfax County (Cash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Arial"/>
                <a:sym typeface="Arial"/>
              </a:rPr>
              <a:t>Henrico County (Cash and In-Kind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bg1"/>
                </a:solidFill>
                <a:latin typeface="+mj-lt"/>
              </a:rPr>
              <a:t>City of Alexandria (Cash and In-Kind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bg1"/>
                </a:solidFill>
                <a:latin typeface="+mj-lt"/>
              </a:rPr>
              <a:t>City of Norfolk (Cash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bg1"/>
                </a:solidFill>
                <a:latin typeface="+mj-lt"/>
              </a:rPr>
              <a:t>City of Richmond (Cash and In-Kind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bg1"/>
                </a:solidFill>
                <a:latin typeface="+mj-lt"/>
              </a:rPr>
              <a:t>City of Virginia Beach (Cash and In-Kind)</a:t>
            </a:r>
          </a:p>
        </p:txBody>
      </p:sp>
    </p:spTree>
    <p:extLst>
      <p:ext uri="{BB962C8B-B14F-4D97-AF65-F5344CB8AC3E}">
        <p14:creationId xmlns:p14="http://schemas.microsoft.com/office/powerpoint/2010/main" val="28776105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0">
          <a:extLst>
            <a:ext uri="{FF2B5EF4-FFF2-40B4-BE49-F238E27FC236}">
              <a16:creationId xmlns:a16="http://schemas.microsoft.com/office/drawing/2014/main" id="{41CBF019-A333-7A82-C427-FF47F5FF1B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82037EA4-6A2C-7E7F-79B1-9305ECDC74C1}"/>
              </a:ext>
            </a:extLst>
          </p:cNvPr>
          <p:cNvSpPr/>
          <p:nvPr/>
        </p:nvSpPr>
        <p:spPr>
          <a:xfrm>
            <a:off x="6322979" y="597035"/>
            <a:ext cx="2211422" cy="1231765"/>
          </a:xfrm>
          <a:prstGeom prst="roundRect">
            <a:avLst>
              <a:gd name="adj" fmla="val 5065"/>
            </a:avLst>
          </a:prstGeom>
          <a:gradFill>
            <a:gsLst>
              <a:gs pos="0">
                <a:schemeClr val="accent1"/>
              </a:gs>
              <a:gs pos="100000">
                <a:srgbClr val="2F8B8F"/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  <a:sym typeface="Arial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E6482A14-86ED-E662-42C6-CA4277BD68E0}"/>
              </a:ext>
            </a:extLst>
          </p:cNvPr>
          <p:cNvSpPr/>
          <p:nvPr/>
        </p:nvSpPr>
        <p:spPr>
          <a:xfrm>
            <a:off x="4002894" y="590550"/>
            <a:ext cx="2211422" cy="2373144"/>
          </a:xfrm>
          <a:prstGeom prst="roundRect">
            <a:avLst>
              <a:gd name="adj" fmla="val 5065"/>
            </a:avLst>
          </a:prstGeom>
          <a:gradFill>
            <a:gsLst>
              <a:gs pos="0">
                <a:schemeClr val="tx2"/>
              </a:gs>
              <a:gs pos="100000">
                <a:srgbClr val="006684"/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  <a:sym typeface="Arial"/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14ACE6C1-B3EB-E150-0A82-EBFAB9A7C84D}"/>
              </a:ext>
            </a:extLst>
          </p:cNvPr>
          <p:cNvSpPr/>
          <p:nvPr/>
        </p:nvSpPr>
        <p:spPr>
          <a:xfrm>
            <a:off x="6322979" y="1939451"/>
            <a:ext cx="2211422" cy="2607013"/>
          </a:xfrm>
          <a:prstGeom prst="roundRect">
            <a:avLst>
              <a:gd name="adj" fmla="val 5065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  <a:sym typeface="Arial"/>
            </a:endParaRP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2F817553-CFB4-40EA-9099-D3C2FEBA9378}"/>
              </a:ext>
            </a:extLst>
          </p:cNvPr>
          <p:cNvSpPr/>
          <p:nvPr/>
        </p:nvSpPr>
        <p:spPr>
          <a:xfrm>
            <a:off x="4002894" y="3080832"/>
            <a:ext cx="2211422" cy="1465632"/>
          </a:xfrm>
          <a:prstGeom prst="roundRect">
            <a:avLst>
              <a:gd name="adj" fmla="val 5065"/>
            </a:avLst>
          </a:prstGeom>
          <a:gradFill>
            <a:gsLst>
              <a:gs pos="0">
                <a:srgbClr val="8E66A8"/>
              </a:gs>
              <a:gs pos="100000">
                <a:srgbClr val="7A5792"/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  <a:sym typeface="Arial"/>
            </a:endParaRPr>
          </a:p>
        </p:txBody>
      </p:sp>
      <p:sp>
        <p:nvSpPr>
          <p:cNvPr id="9" name="Google Shape;163;p17">
            <a:extLst>
              <a:ext uri="{FF2B5EF4-FFF2-40B4-BE49-F238E27FC236}">
                <a16:creationId xmlns:a16="http://schemas.microsoft.com/office/drawing/2014/main" id="{F1F5065A-9D8F-33CE-FD32-7D65C46C03A8}"/>
              </a:ext>
            </a:extLst>
          </p:cNvPr>
          <p:cNvSpPr txBox="1"/>
          <p:nvPr/>
        </p:nvSpPr>
        <p:spPr>
          <a:xfrm>
            <a:off x="4208835" y="798073"/>
            <a:ext cx="1394298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20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GOVA Request:</a:t>
            </a:r>
            <a:endParaRPr kumimoji="0" sz="20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0" name="Google Shape;163;p17">
            <a:extLst>
              <a:ext uri="{FF2B5EF4-FFF2-40B4-BE49-F238E27FC236}">
                <a16:creationId xmlns:a16="http://schemas.microsoft.com/office/drawing/2014/main" id="{5EB4BB5A-2391-126A-ECD2-933DC03F77D5}"/>
              </a:ext>
            </a:extLst>
          </p:cNvPr>
          <p:cNvSpPr txBox="1"/>
          <p:nvPr/>
        </p:nvSpPr>
        <p:spPr>
          <a:xfrm>
            <a:off x="4218564" y="3208285"/>
            <a:ext cx="1394298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8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Additional Leverage: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1" name="Google Shape;163;p17">
            <a:extLst>
              <a:ext uri="{FF2B5EF4-FFF2-40B4-BE49-F238E27FC236}">
                <a16:creationId xmlns:a16="http://schemas.microsoft.com/office/drawing/2014/main" id="{27D66B8A-FC5E-5938-72E9-55B6CD475D4A}"/>
              </a:ext>
            </a:extLst>
          </p:cNvPr>
          <p:cNvSpPr txBox="1"/>
          <p:nvPr/>
        </p:nvSpPr>
        <p:spPr>
          <a:xfrm>
            <a:off x="4208835" y="1721443"/>
            <a:ext cx="1802859" cy="2180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8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Total Match: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2" name="Google Shape;163;p17">
            <a:extLst>
              <a:ext uri="{FF2B5EF4-FFF2-40B4-BE49-F238E27FC236}">
                <a16:creationId xmlns:a16="http://schemas.microsoft.com/office/drawing/2014/main" id="{CDD08772-5C48-5CDB-743F-667F7ABA9F1C}"/>
              </a:ext>
            </a:extLst>
          </p:cNvPr>
          <p:cNvSpPr txBox="1"/>
          <p:nvPr/>
        </p:nvSpPr>
        <p:spPr>
          <a:xfrm>
            <a:off x="4240192" y="3959553"/>
            <a:ext cx="1802859" cy="2180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8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Total Budget: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6A27AA2-F264-BDDF-D120-91E6197F8A6C}"/>
              </a:ext>
            </a:extLst>
          </p:cNvPr>
          <p:cNvSpPr txBox="1"/>
          <p:nvPr/>
        </p:nvSpPr>
        <p:spPr>
          <a:xfrm>
            <a:off x="4155588" y="1251214"/>
            <a:ext cx="175746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2400" b="1" dirty="0">
                <a:solidFill>
                  <a:srgbClr val="FEFFFF"/>
                </a:solidFill>
                <a:latin typeface="Century Gothic" panose="020F0302020204030204"/>
              </a:rPr>
              <a:t>$2,295,384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F6D80D1-0A4E-F0F8-5BC8-F386FF585C1B}"/>
              </a:ext>
            </a:extLst>
          </p:cNvPr>
          <p:cNvSpPr txBox="1"/>
          <p:nvPr/>
        </p:nvSpPr>
        <p:spPr>
          <a:xfrm>
            <a:off x="4218564" y="1970742"/>
            <a:ext cx="17574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600" dirty="0">
                <a:solidFill>
                  <a:srgbClr val="FEFFFF"/>
                </a:solidFill>
                <a:latin typeface="Century Gothic" panose="020F0302020204030204"/>
              </a:rPr>
              <a:t>$1,377,022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2" name="Google Shape;163;p17">
            <a:extLst>
              <a:ext uri="{FF2B5EF4-FFF2-40B4-BE49-F238E27FC236}">
                <a16:creationId xmlns:a16="http://schemas.microsoft.com/office/drawing/2014/main" id="{56F74DC7-BFBC-FE6D-1C79-26B6C40D4ABF}"/>
              </a:ext>
            </a:extLst>
          </p:cNvPr>
          <p:cNvSpPr txBox="1"/>
          <p:nvPr/>
        </p:nvSpPr>
        <p:spPr>
          <a:xfrm>
            <a:off x="304008" y="272287"/>
            <a:ext cx="3441656" cy="9618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48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ea typeface="Roboto"/>
                <a:cs typeface="Arial"/>
                <a:sym typeface="Roboto"/>
              </a:rPr>
              <a:t>Region 2:</a:t>
            </a:r>
            <a:r>
              <a:rPr lang="en-US" sz="1600" b="1" dirty="0">
                <a:solidFill>
                  <a:srgbClr val="004150"/>
                </a:solidFill>
                <a:latin typeface="Century Gothic" panose="020F0302020204030204"/>
                <a:ea typeface="Roboto"/>
                <a:sym typeface="Roboto"/>
              </a:rPr>
              <a:t> GO TEC Career Connections Expansion in Regions 2 &amp; 3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004150"/>
              </a:solidFill>
              <a:effectLst/>
              <a:uLnTx/>
              <a:uFillTx/>
              <a:latin typeface="Century Gothic" panose="020F0302020204030204"/>
              <a:ea typeface="Roboto"/>
              <a:cs typeface="Arial"/>
              <a:sym typeface="Roboto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6503B9C-0149-37EA-2738-BD7790C7D74C}"/>
              </a:ext>
            </a:extLst>
          </p:cNvPr>
          <p:cNvSpPr txBox="1"/>
          <p:nvPr/>
        </p:nvSpPr>
        <p:spPr>
          <a:xfrm>
            <a:off x="278541" y="1126905"/>
            <a:ext cx="3441657" cy="33005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lnSpc>
                <a:spcPct val="150000"/>
              </a:lnSpc>
              <a:defRPr/>
            </a:pPr>
            <a:r>
              <a:rPr lang="en-US" sz="1000" b="1" dirty="0">
                <a:solidFill>
                  <a:srgbClr val="004150"/>
                </a:solidFill>
                <a:latin typeface="Century Gothic" panose="020F0302020204030204"/>
              </a:rPr>
              <a:t>Target Cluster(s): </a:t>
            </a:r>
            <a:r>
              <a:rPr lang="en-US" sz="1000" dirty="0">
                <a:solidFill>
                  <a:srgbClr val="004150"/>
                </a:solidFill>
                <a:latin typeface="Century Gothic" panose="020F0302020204030204"/>
              </a:rPr>
              <a:t> Advanced Materials Manufacturing; Manufacturing for Transportation, Energy &amp; Autonomy; Life Sciences &amp; Biotechnology; and IT, Engineering Services &amp; Emerging Technology</a:t>
            </a:r>
          </a:p>
          <a:p>
            <a:pPr lvl="0">
              <a:lnSpc>
                <a:spcPct val="150000"/>
              </a:lnSpc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Applicant: </a:t>
            </a:r>
            <a:r>
              <a:rPr lang="en-US" sz="1000" dirty="0">
                <a:solidFill>
                  <a:srgbClr val="004150"/>
                </a:solidFill>
                <a:latin typeface="Century Gothic" panose="020F0302020204030204"/>
              </a:rPr>
              <a:t>New River Valley Regional Commission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004150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  <a:p>
            <a:pPr lvl="0">
              <a:lnSpc>
                <a:spcPct val="150000"/>
              </a:lnSpc>
              <a:defRPr/>
            </a:pPr>
            <a:r>
              <a:rPr lang="en-US" sz="1000" b="1" dirty="0">
                <a:solidFill>
                  <a:srgbClr val="004150"/>
                </a:solidFill>
                <a:latin typeface="Century Gothic" panose="020F0302020204030204"/>
              </a:rPr>
              <a:t>Investment Strategy: </a:t>
            </a:r>
            <a:r>
              <a:rPr lang="en-US" sz="1000" dirty="0">
                <a:solidFill>
                  <a:srgbClr val="004150"/>
                </a:solidFill>
                <a:latin typeface="Century Gothic" panose="020F0302020204030204"/>
              </a:rPr>
              <a:t>Talent Development</a:t>
            </a:r>
          </a:p>
          <a:p>
            <a:pPr lvl="0">
              <a:lnSpc>
                <a:spcPct val="150000"/>
              </a:lnSpc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Goal: </a:t>
            </a:r>
            <a:r>
              <a:rPr lang="en-US" sz="1000" dirty="0">
                <a:solidFill>
                  <a:schemeClr val="bg2"/>
                </a:solidFill>
                <a:latin typeface="+mn-lt"/>
              </a:rPr>
              <a:t> To expand the Great Opportunities in Technology and Engineering Careers (GO TEC) program in five school divisions within Region 2 and one additional school division in Region 3.</a:t>
            </a:r>
          </a:p>
          <a:p>
            <a:pPr lvl="0">
              <a:lnSpc>
                <a:spcPct val="150000"/>
              </a:lnSpc>
            </a:pPr>
            <a:r>
              <a:rPr lang="en-US" sz="1000" b="1" dirty="0">
                <a:solidFill>
                  <a:srgbClr val="004150"/>
                </a:solidFill>
                <a:latin typeface="Century Gothic" panose="020F0302020204030204"/>
              </a:rPr>
              <a:t>Products: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800" dirty="0">
                <a:solidFill>
                  <a:srgbClr val="004150"/>
                </a:solidFill>
                <a:latin typeface="Century Gothic" panose="020F0302020204030204"/>
              </a:rPr>
              <a:t>Creation of 11 middle school Career Connection labs.</a:t>
            </a: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Outcomes: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800" dirty="0">
                <a:solidFill>
                  <a:srgbClr val="004150"/>
                </a:solidFill>
                <a:latin typeface="Century Gothic" panose="020F0302020204030204"/>
              </a:rPr>
              <a:t>4,300 People Trained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800" dirty="0">
                <a:solidFill>
                  <a:srgbClr val="004150"/>
                </a:solidFill>
                <a:latin typeface="Century Gothic" panose="020F0302020204030204"/>
              </a:rPr>
              <a:t>1 New Program Implemented</a:t>
            </a:r>
            <a:endParaRPr kumimoji="0" lang="en-US" sz="800" i="0" u="none" strike="noStrike" kern="0" cap="none" spc="0" normalizeH="0" baseline="0" noProof="0" dirty="0">
              <a:ln>
                <a:noFill/>
              </a:ln>
              <a:solidFill>
                <a:srgbClr val="004150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5" name="Google Shape;163;p17">
            <a:extLst>
              <a:ext uri="{FF2B5EF4-FFF2-40B4-BE49-F238E27FC236}">
                <a16:creationId xmlns:a16="http://schemas.microsoft.com/office/drawing/2014/main" id="{DD14ABB5-FC84-25F9-EF2A-914A2FF0DE10}"/>
              </a:ext>
            </a:extLst>
          </p:cNvPr>
          <p:cNvSpPr txBox="1"/>
          <p:nvPr/>
        </p:nvSpPr>
        <p:spPr>
          <a:xfrm>
            <a:off x="6456144" y="690888"/>
            <a:ext cx="1945091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6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Workgroup Reccomendation: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3" name="Google Shape;163;p17">
            <a:extLst>
              <a:ext uri="{FF2B5EF4-FFF2-40B4-BE49-F238E27FC236}">
                <a16:creationId xmlns:a16="http://schemas.microsoft.com/office/drawing/2014/main" id="{4EE82AED-8A8B-D4E0-109A-A5C18E6D86A6}"/>
              </a:ext>
            </a:extLst>
          </p:cNvPr>
          <p:cNvSpPr txBox="1"/>
          <p:nvPr/>
        </p:nvSpPr>
        <p:spPr>
          <a:xfrm>
            <a:off x="4208835" y="2288685"/>
            <a:ext cx="1802859" cy="2180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8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Local Match: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B71E489-6A85-BD20-C74C-BE64AF6B8AF7}"/>
              </a:ext>
            </a:extLst>
          </p:cNvPr>
          <p:cNvSpPr txBox="1"/>
          <p:nvPr/>
        </p:nvSpPr>
        <p:spPr>
          <a:xfrm>
            <a:off x="4218564" y="2535458"/>
            <a:ext cx="17574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600" dirty="0">
                <a:solidFill>
                  <a:srgbClr val="FEFFFF"/>
                </a:solidFill>
                <a:latin typeface="Century Gothic" panose="020F0302020204030204"/>
              </a:rPr>
              <a:t>$1,313,022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A1F0340-7C69-1941-264C-6A506BA6919E}"/>
              </a:ext>
            </a:extLst>
          </p:cNvPr>
          <p:cNvSpPr txBox="1"/>
          <p:nvPr/>
        </p:nvSpPr>
        <p:spPr>
          <a:xfrm>
            <a:off x="4155589" y="3661426"/>
            <a:ext cx="17574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600" dirty="0">
                <a:solidFill>
                  <a:srgbClr val="FEFFFF"/>
                </a:solidFill>
                <a:latin typeface="Century Gothic" panose="020F0302020204030204"/>
              </a:rPr>
              <a:t>$ -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ED56974-03E5-0D4D-E682-4381F1341469}"/>
              </a:ext>
            </a:extLst>
          </p:cNvPr>
          <p:cNvSpPr txBox="1"/>
          <p:nvPr/>
        </p:nvSpPr>
        <p:spPr>
          <a:xfrm>
            <a:off x="4208835" y="4185695"/>
            <a:ext cx="17574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600" dirty="0">
                <a:solidFill>
                  <a:srgbClr val="FEFFFF"/>
                </a:solidFill>
                <a:latin typeface="Century Gothic" panose="020F0302020204030204"/>
              </a:rPr>
              <a:t>$3,672,406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0E3BE72-AF26-1B5A-182C-C7E2CE9DA628}"/>
              </a:ext>
            </a:extLst>
          </p:cNvPr>
          <p:cNvSpPr txBox="1"/>
          <p:nvPr/>
        </p:nvSpPr>
        <p:spPr>
          <a:xfrm>
            <a:off x="6494242" y="1316269"/>
            <a:ext cx="17574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/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Arial"/>
                <a:sym typeface="Arial"/>
              </a:rPr>
              <a:t>Defer</a:t>
            </a:r>
          </a:p>
        </p:txBody>
      </p:sp>
      <p:sp>
        <p:nvSpPr>
          <p:cNvPr id="24" name="Google Shape;163;p17">
            <a:extLst>
              <a:ext uri="{FF2B5EF4-FFF2-40B4-BE49-F238E27FC236}">
                <a16:creationId xmlns:a16="http://schemas.microsoft.com/office/drawing/2014/main" id="{45B0E453-DFCD-C0E6-36E2-ACBB62118E00}"/>
              </a:ext>
            </a:extLst>
          </p:cNvPr>
          <p:cNvSpPr txBox="1"/>
          <p:nvPr/>
        </p:nvSpPr>
        <p:spPr>
          <a:xfrm>
            <a:off x="6471545" y="2065564"/>
            <a:ext cx="1802859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6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Participating Localities: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DE90497-C990-6F92-3970-39294266DEF5}"/>
              </a:ext>
            </a:extLst>
          </p:cNvPr>
          <p:cNvSpPr txBox="1"/>
          <p:nvPr/>
        </p:nvSpPr>
        <p:spPr>
          <a:xfrm>
            <a:off x="6429986" y="2535458"/>
            <a:ext cx="1971249" cy="11310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bg1"/>
                </a:solidFill>
                <a:latin typeface="+mj-lt"/>
              </a:rPr>
              <a:t>Amelia County (In-Kind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bg1"/>
                </a:solidFill>
                <a:latin typeface="+mj-lt"/>
              </a:rPr>
              <a:t>Amherst</a:t>
            </a: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Arial"/>
                <a:sym typeface="Arial"/>
              </a:rPr>
              <a:t> County (In-Kind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bg1"/>
                </a:solidFill>
                <a:latin typeface="+mj-lt"/>
              </a:rPr>
              <a:t>Floyd County (In-Kind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Arial"/>
                <a:sym typeface="Arial"/>
              </a:rPr>
              <a:t>Giles County (In-Kind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bg1"/>
                </a:solidFill>
                <a:latin typeface="+mj-lt"/>
              </a:rPr>
              <a:t>Montgomery County (In-Kind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Arial"/>
                <a:sym typeface="Arial"/>
              </a:rPr>
              <a:t>Roanoke County (In-Kind)</a:t>
            </a:r>
          </a:p>
        </p:txBody>
      </p:sp>
    </p:spTree>
    <p:extLst>
      <p:ext uri="{BB962C8B-B14F-4D97-AF65-F5344CB8AC3E}">
        <p14:creationId xmlns:p14="http://schemas.microsoft.com/office/powerpoint/2010/main" val="34749452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0">
          <a:extLst>
            <a:ext uri="{FF2B5EF4-FFF2-40B4-BE49-F238E27FC236}">
              <a16:creationId xmlns:a16="http://schemas.microsoft.com/office/drawing/2014/main" id="{F7FE6A13-9D7E-CFD5-33BC-9B4A018823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2BEF3EB-16CD-DCE9-7561-2EFBB93FA77C}"/>
              </a:ext>
            </a:extLst>
          </p:cNvPr>
          <p:cNvSpPr/>
          <p:nvPr/>
        </p:nvSpPr>
        <p:spPr>
          <a:xfrm>
            <a:off x="6322979" y="597035"/>
            <a:ext cx="2211422" cy="1231765"/>
          </a:xfrm>
          <a:prstGeom prst="roundRect">
            <a:avLst>
              <a:gd name="adj" fmla="val 5065"/>
            </a:avLst>
          </a:prstGeom>
          <a:gradFill>
            <a:gsLst>
              <a:gs pos="0">
                <a:schemeClr val="accent1"/>
              </a:gs>
              <a:gs pos="100000">
                <a:srgbClr val="2F8B8F"/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  <a:sym typeface="Arial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E225E8B7-8A99-6E34-97E8-D5C71E1E1C1D}"/>
              </a:ext>
            </a:extLst>
          </p:cNvPr>
          <p:cNvSpPr/>
          <p:nvPr/>
        </p:nvSpPr>
        <p:spPr>
          <a:xfrm>
            <a:off x="4002894" y="590550"/>
            <a:ext cx="2211422" cy="2373144"/>
          </a:xfrm>
          <a:prstGeom prst="roundRect">
            <a:avLst>
              <a:gd name="adj" fmla="val 5065"/>
            </a:avLst>
          </a:prstGeom>
          <a:gradFill>
            <a:gsLst>
              <a:gs pos="0">
                <a:schemeClr val="tx2"/>
              </a:gs>
              <a:gs pos="100000">
                <a:srgbClr val="006684"/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  <a:sym typeface="Arial"/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49B15B0C-AAC0-CDFF-46FD-FA4CA6C0BACC}"/>
              </a:ext>
            </a:extLst>
          </p:cNvPr>
          <p:cNvSpPr/>
          <p:nvPr/>
        </p:nvSpPr>
        <p:spPr>
          <a:xfrm>
            <a:off x="6322979" y="1939451"/>
            <a:ext cx="2211422" cy="2607013"/>
          </a:xfrm>
          <a:prstGeom prst="roundRect">
            <a:avLst>
              <a:gd name="adj" fmla="val 5065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  <a:sym typeface="Arial"/>
            </a:endParaRP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3C7E86DD-14F7-367B-2F94-1CB35C36821E}"/>
              </a:ext>
            </a:extLst>
          </p:cNvPr>
          <p:cNvSpPr/>
          <p:nvPr/>
        </p:nvSpPr>
        <p:spPr>
          <a:xfrm>
            <a:off x="4002894" y="3080832"/>
            <a:ext cx="2211422" cy="1465632"/>
          </a:xfrm>
          <a:prstGeom prst="roundRect">
            <a:avLst>
              <a:gd name="adj" fmla="val 5065"/>
            </a:avLst>
          </a:prstGeom>
          <a:gradFill>
            <a:gsLst>
              <a:gs pos="0">
                <a:srgbClr val="8E66A8"/>
              </a:gs>
              <a:gs pos="100000">
                <a:srgbClr val="7A5792"/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  <a:sym typeface="Arial"/>
            </a:endParaRPr>
          </a:p>
        </p:txBody>
      </p:sp>
      <p:sp>
        <p:nvSpPr>
          <p:cNvPr id="9" name="Google Shape;163;p17">
            <a:extLst>
              <a:ext uri="{FF2B5EF4-FFF2-40B4-BE49-F238E27FC236}">
                <a16:creationId xmlns:a16="http://schemas.microsoft.com/office/drawing/2014/main" id="{E323C7FD-7AEB-5455-B83B-BB83C46805C6}"/>
              </a:ext>
            </a:extLst>
          </p:cNvPr>
          <p:cNvSpPr txBox="1"/>
          <p:nvPr/>
        </p:nvSpPr>
        <p:spPr>
          <a:xfrm>
            <a:off x="4208835" y="798073"/>
            <a:ext cx="1394298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20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GOVA Request:</a:t>
            </a:r>
            <a:endParaRPr kumimoji="0" sz="20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0" name="Google Shape;163;p17">
            <a:extLst>
              <a:ext uri="{FF2B5EF4-FFF2-40B4-BE49-F238E27FC236}">
                <a16:creationId xmlns:a16="http://schemas.microsoft.com/office/drawing/2014/main" id="{23BF18E6-5456-D8EB-CC69-AE578B84A17B}"/>
              </a:ext>
            </a:extLst>
          </p:cNvPr>
          <p:cNvSpPr txBox="1"/>
          <p:nvPr/>
        </p:nvSpPr>
        <p:spPr>
          <a:xfrm>
            <a:off x="4218564" y="3208285"/>
            <a:ext cx="1394298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8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Additional Leverage: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1" name="Google Shape;163;p17">
            <a:extLst>
              <a:ext uri="{FF2B5EF4-FFF2-40B4-BE49-F238E27FC236}">
                <a16:creationId xmlns:a16="http://schemas.microsoft.com/office/drawing/2014/main" id="{4374117B-8DEC-6AE0-3747-AF3169BE2C61}"/>
              </a:ext>
            </a:extLst>
          </p:cNvPr>
          <p:cNvSpPr txBox="1"/>
          <p:nvPr/>
        </p:nvSpPr>
        <p:spPr>
          <a:xfrm>
            <a:off x="4208835" y="1721443"/>
            <a:ext cx="1802859" cy="2180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8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Total Match: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2" name="Google Shape;163;p17">
            <a:extLst>
              <a:ext uri="{FF2B5EF4-FFF2-40B4-BE49-F238E27FC236}">
                <a16:creationId xmlns:a16="http://schemas.microsoft.com/office/drawing/2014/main" id="{373B2717-3AB1-7743-F192-4B2024F90997}"/>
              </a:ext>
            </a:extLst>
          </p:cNvPr>
          <p:cNvSpPr txBox="1"/>
          <p:nvPr/>
        </p:nvSpPr>
        <p:spPr>
          <a:xfrm>
            <a:off x="4240192" y="3959553"/>
            <a:ext cx="1802859" cy="2180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8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Total Budget: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0D9552C-23C8-DD1E-071B-806765297F73}"/>
              </a:ext>
            </a:extLst>
          </p:cNvPr>
          <p:cNvSpPr txBox="1"/>
          <p:nvPr/>
        </p:nvSpPr>
        <p:spPr>
          <a:xfrm>
            <a:off x="4155588" y="1251214"/>
            <a:ext cx="175746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2400" b="1" dirty="0">
                <a:solidFill>
                  <a:srgbClr val="FEFFFF"/>
                </a:solidFill>
                <a:latin typeface="Century Gothic" panose="020F0302020204030204"/>
              </a:rPr>
              <a:t>$879,633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10F9384-FFEB-9992-C3F4-107FC1210719}"/>
              </a:ext>
            </a:extLst>
          </p:cNvPr>
          <p:cNvSpPr txBox="1"/>
          <p:nvPr/>
        </p:nvSpPr>
        <p:spPr>
          <a:xfrm>
            <a:off x="4218564" y="1970742"/>
            <a:ext cx="17574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600" dirty="0">
                <a:solidFill>
                  <a:srgbClr val="FEFFFF"/>
                </a:solidFill>
                <a:latin typeface="Century Gothic" panose="020F0302020204030204"/>
              </a:rPr>
              <a:t>$439,964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2" name="Google Shape;163;p17">
            <a:extLst>
              <a:ext uri="{FF2B5EF4-FFF2-40B4-BE49-F238E27FC236}">
                <a16:creationId xmlns:a16="http://schemas.microsoft.com/office/drawing/2014/main" id="{5A5E3390-9570-7DF6-30E5-C8D014D85E97}"/>
              </a:ext>
            </a:extLst>
          </p:cNvPr>
          <p:cNvSpPr txBox="1"/>
          <p:nvPr/>
        </p:nvSpPr>
        <p:spPr>
          <a:xfrm>
            <a:off x="304008" y="272287"/>
            <a:ext cx="3393294" cy="9618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48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ea typeface="Roboto"/>
                <a:cs typeface="Arial"/>
                <a:sym typeface="Roboto"/>
              </a:rPr>
              <a:t>Region 8: Shenandoah Valley Innovation Commercialization Impact Network (SVICIN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30B6B79-EC70-5DE1-3A0A-35ACD8A901D0}"/>
              </a:ext>
            </a:extLst>
          </p:cNvPr>
          <p:cNvSpPr txBox="1"/>
          <p:nvPr/>
        </p:nvSpPr>
        <p:spPr>
          <a:xfrm>
            <a:off x="313219" y="1126905"/>
            <a:ext cx="3441657" cy="36699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000" b="1" dirty="0">
                <a:solidFill>
                  <a:srgbClr val="004150"/>
                </a:solidFill>
                <a:latin typeface="Century Gothic" panose="020F0302020204030204"/>
              </a:rPr>
              <a:t>Target Cluster(s): </a:t>
            </a:r>
            <a:r>
              <a:rPr lang="en-US" sz="1000" dirty="0">
                <a:solidFill>
                  <a:srgbClr val="004150"/>
                </a:solidFill>
                <a:latin typeface="Century Gothic" panose="020F0302020204030204"/>
              </a:rPr>
              <a:t>Agriculture, Advanced Manufacturing, Life Sciences</a:t>
            </a:r>
            <a:endParaRPr lang="en-US" sz="1000" b="1" dirty="0">
              <a:solidFill>
                <a:srgbClr val="004150"/>
              </a:solidFill>
              <a:latin typeface="Century Gothic" panose="020F0302020204030204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Applicant: </a:t>
            </a:r>
            <a:r>
              <a:rPr lang="en-US" sz="1000" dirty="0">
                <a:solidFill>
                  <a:srgbClr val="004150"/>
                </a:solidFill>
                <a:latin typeface="Century Gothic" panose="020F0302020204030204"/>
              </a:rPr>
              <a:t>James Madison University</a:t>
            </a:r>
            <a:endParaRPr kumimoji="0" lang="en-US" sz="1000" i="0" u="none" strike="noStrike" kern="0" cap="none" spc="0" normalizeH="0" baseline="0" noProof="0" dirty="0">
              <a:ln>
                <a:noFill/>
              </a:ln>
              <a:solidFill>
                <a:srgbClr val="004150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000" b="1" dirty="0">
                <a:solidFill>
                  <a:srgbClr val="004150"/>
                </a:solidFill>
                <a:latin typeface="Century Gothic" panose="020F0302020204030204"/>
              </a:rPr>
              <a:t>Investment Strategy: </a:t>
            </a:r>
            <a:r>
              <a:rPr lang="en-US" sz="1000" dirty="0">
                <a:solidFill>
                  <a:srgbClr val="004150"/>
                </a:solidFill>
                <a:latin typeface="Century Gothic" panose="020F0302020204030204"/>
              </a:rPr>
              <a:t>Entrepreneurship and Innovation</a:t>
            </a:r>
            <a:endParaRPr lang="en-US" sz="1000" b="1" dirty="0">
              <a:solidFill>
                <a:srgbClr val="004150"/>
              </a:solidFill>
              <a:latin typeface="Century Gothic" panose="020F0302020204030204"/>
            </a:endParaRPr>
          </a:p>
          <a:p>
            <a:pPr lvl="0">
              <a:lnSpc>
                <a:spcPct val="150000"/>
              </a:lnSpc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Goal: </a:t>
            </a:r>
            <a:r>
              <a:rPr lang="en-US" sz="1000" dirty="0">
                <a:solidFill>
                  <a:schemeClr val="bg2"/>
                </a:solidFill>
                <a:latin typeface="+mn-lt"/>
              </a:rPr>
              <a:t>To increase the number of successful small business start-ups in GO Virginia Region 8. </a:t>
            </a:r>
          </a:p>
          <a:p>
            <a:pPr lvl="0">
              <a:lnSpc>
                <a:spcPct val="150000"/>
              </a:lnSpc>
            </a:pPr>
            <a:r>
              <a:rPr lang="en-US" sz="1000" b="1" dirty="0">
                <a:solidFill>
                  <a:srgbClr val="004150"/>
                </a:solidFill>
                <a:latin typeface="Century Gothic" panose="020F0302020204030204"/>
              </a:rPr>
              <a:t>Products: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800" dirty="0">
                <a:solidFill>
                  <a:srgbClr val="004150"/>
                </a:solidFill>
                <a:latin typeface="Century Gothic" panose="020F0302020204030204"/>
              </a:rPr>
              <a:t>Region-wide tech transfer office established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800" dirty="0">
                <a:solidFill>
                  <a:srgbClr val="004150"/>
                </a:solidFill>
                <a:latin typeface="Century Gothic" panose="020F0302020204030204"/>
              </a:rPr>
              <a:t>Tailored business accelerator program</a:t>
            </a: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Outcomes: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800" dirty="0">
                <a:solidFill>
                  <a:srgbClr val="004150"/>
                </a:solidFill>
                <a:latin typeface="Century Gothic" panose="020F0302020204030204"/>
              </a:rPr>
              <a:t>12 Jobs Created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2 Businesses Expanded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800" dirty="0">
                <a:solidFill>
                  <a:srgbClr val="004150"/>
                </a:solidFill>
                <a:latin typeface="Century Gothic" panose="020F0302020204030204"/>
              </a:rPr>
              <a:t>4 Businesses Created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6 Businesses Served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800" dirty="0">
                <a:solidFill>
                  <a:srgbClr val="004150"/>
                </a:solidFill>
                <a:latin typeface="Century Gothic" panose="020F0302020204030204"/>
              </a:rPr>
              <a:t>$500,0000 Raised by Businesses Served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2 </a:t>
            </a:r>
            <a:r>
              <a:rPr lang="en-US" sz="800" dirty="0">
                <a:solidFill>
                  <a:srgbClr val="004150"/>
                </a:solidFill>
                <a:latin typeface="Century Gothic" panose="020F0302020204030204"/>
              </a:rPr>
              <a:t>New Products Released to Produc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3 Patents Filed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800" dirty="0">
                <a:solidFill>
                  <a:srgbClr val="004150"/>
                </a:solidFill>
                <a:latin typeface="Century Gothic" panose="020F0302020204030204"/>
              </a:rPr>
              <a:t>1 Patent Awarded</a:t>
            </a:r>
            <a:endParaRPr kumimoji="0" lang="en-US" sz="800" i="0" u="none" strike="noStrike" kern="0" cap="none" spc="0" normalizeH="0" baseline="0" noProof="0" dirty="0">
              <a:ln>
                <a:noFill/>
              </a:ln>
              <a:solidFill>
                <a:srgbClr val="004150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5" name="Google Shape;163;p17">
            <a:extLst>
              <a:ext uri="{FF2B5EF4-FFF2-40B4-BE49-F238E27FC236}">
                <a16:creationId xmlns:a16="http://schemas.microsoft.com/office/drawing/2014/main" id="{5F712315-3868-3BFF-B9CE-E52CBF7F00E1}"/>
              </a:ext>
            </a:extLst>
          </p:cNvPr>
          <p:cNvSpPr txBox="1"/>
          <p:nvPr/>
        </p:nvSpPr>
        <p:spPr>
          <a:xfrm>
            <a:off x="6456144" y="690888"/>
            <a:ext cx="1945091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6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Workgroup Reccomendation: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3" name="Google Shape;163;p17">
            <a:extLst>
              <a:ext uri="{FF2B5EF4-FFF2-40B4-BE49-F238E27FC236}">
                <a16:creationId xmlns:a16="http://schemas.microsoft.com/office/drawing/2014/main" id="{38CEE9BE-00BA-57CE-8D53-BC1936F20136}"/>
              </a:ext>
            </a:extLst>
          </p:cNvPr>
          <p:cNvSpPr txBox="1"/>
          <p:nvPr/>
        </p:nvSpPr>
        <p:spPr>
          <a:xfrm>
            <a:off x="4208835" y="2288685"/>
            <a:ext cx="1802859" cy="2180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8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Local Match: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6D38111-9C70-8048-A92B-B51F38A9D4E1}"/>
              </a:ext>
            </a:extLst>
          </p:cNvPr>
          <p:cNvSpPr txBox="1"/>
          <p:nvPr/>
        </p:nvSpPr>
        <p:spPr>
          <a:xfrm>
            <a:off x="4218564" y="2535458"/>
            <a:ext cx="17574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600" dirty="0">
                <a:solidFill>
                  <a:srgbClr val="FEFFFF"/>
                </a:solidFill>
                <a:latin typeface="Century Gothic" panose="020F0302020204030204"/>
              </a:rPr>
              <a:t>$19,740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61B9223-0052-7424-9501-D19BD4A91E7D}"/>
              </a:ext>
            </a:extLst>
          </p:cNvPr>
          <p:cNvSpPr txBox="1"/>
          <p:nvPr/>
        </p:nvSpPr>
        <p:spPr>
          <a:xfrm>
            <a:off x="4155589" y="3661426"/>
            <a:ext cx="17574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600" dirty="0">
                <a:solidFill>
                  <a:srgbClr val="FEFFFF"/>
                </a:solidFill>
                <a:latin typeface="Century Gothic" panose="020F0302020204030204"/>
              </a:rPr>
              <a:t>$248,180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AA9EC5B-5695-805D-FBA3-7AB9F3D630EF}"/>
              </a:ext>
            </a:extLst>
          </p:cNvPr>
          <p:cNvSpPr txBox="1"/>
          <p:nvPr/>
        </p:nvSpPr>
        <p:spPr>
          <a:xfrm>
            <a:off x="4208835" y="4185695"/>
            <a:ext cx="17574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600" dirty="0">
                <a:solidFill>
                  <a:srgbClr val="FEFFFF"/>
                </a:solidFill>
                <a:latin typeface="Century Gothic" panose="020F0302020204030204"/>
              </a:rPr>
              <a:t>$1,567,777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D39C6F1-E45D-8E4F-B669-85E502026BE0}"/>
              </a:ext>
            </a:extLst>
          </p:cNvPr>
          <p:cNvSpPr txBox="1"/>
          <p:nvPr/>
        </p:nvSpPr>
        <p:spPr>
          <a:xfrm>
            <a:off x="6494242" y="1316269"/>
            <a:ext cx="17574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/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Arial"/>
                <a:sym typeface="Arial"/>
              </a:rPr>
              <a:t>Defer</a:t>
            </a:r>
          </a:p>
        </p:txBody>
      </p:sp>
      <p:sp>
        <p:nvSpPr>
          <p:cNvPr id="24" name="Google Shape;163;p17">
            <a:extLst>
              <a:ext uri="{FF2B5EF4-FFF2-40B4-BE49-F238E27FC236}">
                <a16:creationId xmlns:a16="http://schemas.microsoft.com/office/drawing/2014/main" id="{A9366A91-F8CA-D2F2-674E-B73EF3F422DB}"/>
              </a:ext>
            </a:extLst>
          </p:cNvPr>
          <p:cNvSpPr txBox="1"/>
          <p:nvPr/>
        </p:nvSpPr>
        <p:spPr>
          <a:xfrm>
            <a:off x="6471545" y="2065564"/>
            <a:ext cx="1802859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6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Participating Localities: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4D8EF14-1257-0EE2-B8DE-2321DD12D94F}"/>
              </a:ext>
            </a:extLst>
          </p:cNvPr>
          <p:cNvSpPr txBox="1"/>
          <p:nvPr/>
        </p:nvSpPr>
        <p:spPr>
          <a:xfrm>
            <a:off x="6429986" y="2535458"/>
            <a:ext cx="1971249" cy="4847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bg1"/>
                </a:solidFill>
                <a:latin typeface="+mj-lt"/>
              </a:rPr>
              <a:t>City of Harrisonburg (Cash)</a:t>
            </a:r>
            <a:br>
              <a:rPr lang="en-US" sz="1050" dirty="0">
                <a:solidFill>
                  <a:schemeClr val="bg1"/>
                </a:solidFill>
                <a:latin typeface="+mj-lt"/>
              </a:rPr>
            </a:br>
            <a:r>
              <a:rPr lang="en-US" sz="1050" dirty="0">
                <a:solidFill>
                  <a:schemeClr val="bg1"/>
                </a:solidFill>
                <a:latin typeface="+mj-lt"/>
              </a:rPr>
              <a:t>City of Staunton (Cash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bg1"/>
                </a:solidFill>
                <a:latin typeface="+mj-lt"/>
              </a:rPr>
              <a:t>City of Waynesboro (Cash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64C96FC-9C17-E2C9-6FED-9BD25790AA0B}"/>
              </a:ext>
            </a:extLst>
          </p:cNvPr>
          <p:cNvSpPr txBox="1"/>
          <p:nvPr/>
        </p:nvSpPr>
        <p:spPr>
          <a:xfrm>
            <a:off x="2277045" y="3318571"/>
            <a:ext cx="148553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bg2"/>
                </a:solidFill>
                <a:latin typeface="+mn-lt"/>
              </a:rPr>
              <a:t>80 people trained</a:t>
            </a:r>
          </a:p>
        </p:txBody>
      </p:sp>
    </p:spTree>
    <p:extLst>
      <p:ext uri="{BB962C8B-B14F-4D97-AF65-F5344CB8AC3E}">
        <p14:creationId xmlns:p14="http://schemas.microsoft.com/office/powerpoint/2010/main" val="336582162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0">
          <a:extLst>
            <a:ext uri="{FF2B5EF4-FFF2-40B4-BE49-F238E27FC236}">
              <a16:creationId xmlns:a16="http://schemas.microsoft.com/office/drawing/2014/main" id="{60024FF0-F166-F2AF-E673-724B793D1C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Google Shape;163;p17">
            <a:extLst>
              <a:ext uri="{FF2B5EF4-FFF2-40B4-BE49-F238E27FC236}">
                <a16:creationId xmlns:a16="http://schemas.microsoft.com/office/drawing/2014/main" id="{2B3FF419-F083-EAE5-91B5-87B6204453B6}"/>
              </a:ext>
            </a:extLst>
          </p:cNvPr>
          <p:cNvSpPr txBox="1"/>
          <p:nvPr/>
        </p:nvSpPr>
        <p:spPr>
          <a:xfrm>
            <a:off x="609600" y="590550"/>
            <a:ext cx="7636329" cy="3206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48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2400" b="1" dirty="0">
                <a:solidFill>
                  <a:srgbClr val="004150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IV. Executive Committee Report</a:t>
            </a:r>
            <a:endParaRPr kumimoji="0" sz="2400" b="1" i="0" u="none" strike="noStrike" kern="0" cap="none" spc="0" normalizeH="0" baseline="0" noProof="0" dirty="0">
              <a:ln>
                <a:noFill/>
              </a:ln>
              <a:solidFill>
                <a:srgbClr val="004150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363500972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0">
          <a:extLst>
            <a:ext uri="{FF2B5EF4-FFF2-40B4-BE49-F238E27FC236}">
              <a16:creationId xmlns:a16="http://schemas.microsoft.com/office/drawing/2014/main" id="{56D7764C-1BC9-3852-C2A5-A2700817A2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Google Shape;163;p17">
            <a:extLst>
              <a:ext uri="{FF2B5EF4-FFF2-40B4-BE49-F238E27FC236}">
                <a16:creationId xmlns:a16="http://schemas.microsoft.com/office/drawing/2014/main" id="{F7429A51-1383-5F9E-563E-D0D173BDBE92}"/>
              </a:ext>
            </a:extLst>
          </p:cNvPr>
          <p:cNvSpPr txBox="1"/>
          <p:nvPr/>
        </p:nvSpPr>
        <p:spPr>
          <a:xfrm>
            <a:off x="609600" y="590550"/>
            <a:ext cx="7636329" cy="3206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48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2400" b="1" dirty="0">
                <a:solidFill>
                  <a:srgbClr val="004150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V. Governance and Policy Committee Report</a:t>
            </a:r>
            <a:endParaRPr kumimoji="0" sz="2400" b="1" i="0" u="none" strike="noStrike" kern="0" cap="none" spc="0" normalizeH="0" baseline="0" noProof="0" dirty="0">
              <a:ln>
                <a:noFill/>
              </a:ln>
              <a:solidFill>
                <a:srgbClr val="004150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404788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0">
          <a:extLst>
            <a:ext uri="{FF2B5EF4-FFF2-40B4-BE49-F238E27FC236}">
              <a16:creationId xmlns:a16="http://schemas.microsoft.com/office/drawing/2014/main" id="{758D039F-5882-DA21-5615-1CF39FB74E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Google Shape;163;p17">
            <a:extLst>
              <a:ext uri="{FF2B5EF4-FFF2-40B4-BE49-F238E27FC236}">
                <a16:creationId xmlns:a16="http://schemas.microsoft.com/office/drawing/2014/main" id="{F33635B7-EFFC-4C9E-13F3-ABEBB473C355}"/>
              </a:ext>
            </a:extLst>
          </p:cNvPr>
          <p:cNvSpPr txBox="1"/>
          <p:nvPr/>
        </p:nvSpPr>
        <p:spPr>
          <a:xfrm>
            <a:off x="609600" y="590550"/>
            <a:ext cx="7636329" cy="3206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48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2400" b="1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ea typeface="Roboto"/>
                <a:cs typeface="Roboto"/>
                <a:sym typeface="Roboto"/>
              </a:rPr>
              <a:t>Agenda</a:t>
            </a:r>
            <a:endParaRPr kumimoji="0" sz="2400" b="1" i="0" u="none" strike="noStrike" kern="0" cap="none" spc="0" normalizeH="0" baseline="0" noProof="0" dirty="0">
              <a:ln>
                <a:noFill/>
              </a:ln>
              <a:solidFill>
                <a:srgbClr val="004150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66F3A6A-36EC-3A02-FC63-43987821B6D5}"/>
              </a:ext>
            </a:extLst>
          </p:cNvPr>
          <p:cNvSpPr txBox="1"/>
          <p:nvPr/>
        </p:nvSpPr>
        <p:spPr>
          <a:xfrm>
            <a:off x="609599" y="911151"/>
            <a:ext cx="6296892" cy="21809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+mj-lt"/>
              <a:buAutoNum type="romanUcPeriod"/>
              <a:tabLst/>
              <a:defRPr/>
            </a:pPr>
            <a:r>
              <a:rPr lang="en-US" sz="1200" dirty="0">
                <a:solidFill>
                  <a:srgbClr val="004150"/>
                </a:solidFill>
                <a:latin typeface="Century Gothic" panose="020F0302020204030204"/>
              </a:rPr>
              <a:t>OPEN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CONSENT AGENDA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+mj-lt"/>
              <a:buAutoNum type="romanUcPeriod"/>
              <a:tabLst/>
              <a:defRPr/>
            </a:pPr>
            <a:r>
              <a:rPr lang="en-US" sz="1200" dirty="0">
                <a:solidFill>
                  <a:srgbClr val="004150"/>
                </a:solidFill>
                <a:latin typeface="Century Gothic" panose="020F0302020204030204"/>
              </a:rPr>
              <a:t>DEPUTY DIRECTOR’S REPORT</a:t>
            </a:r>
          </a:p>
          <a:p>
            <a:pPr marL="285750" indent="-285750">
              <a:lnSpc>
                <a:spcPct val="150000"/>
              </a:lnSpc>
              <a:buFont typeface="+mj-lt"/>
              <a:buAutoNum type="romanUcPeriod"/>
              <a:defRPr/>
            </a:pPr>
            <a:r>
              <a:rPr lang="en-US" sz="1200">
                <a:solidFill>
                  <a:srgbClr val="004150"/>
                </a:solidFill>
                <a:latin typeface="Century Gothic" panose="020F0302020204030204"/>
              </a:rPr>
              <a:t>EXECUTIVE COMMITTEE</a:t>
            </a:r>
            <a:endParaRPr lang="en-US" sz="1200" dirty="0">
              <a:solidFill>
                <a:srgbClr val="004150"/>
              </a:solidFill>
              <a:latin typeface="Century Gothic" panose="020F0302020204030204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GOVERNANCE AND POLICY COMMITTEE REPORT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+mj-lt"/>
              <a:buAutoNum type="romanUcPeriod"/>
              <a:tabLst/>
              <a:defRPr/>
            </a:pPr>
            <a:r>
              <a:rPr lang="en-US" sz="1200" dirty="0">
                <a:solidFill>
                  <a:srgbClr val="004150"/>
                </a:solidFill>
                <a:latin typeface="Century Gothic" panose="020F0302020204030204"/>
              </a:rPr>
              <a:t>PROGRAM PERFORMANCE AND EVALUATION COMMITTEE REPORT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4150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ADJOURNMENT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</a:b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3633816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0">
          <a:extLst>
            <a:ext uri="{FF2B5EF4-FFF2-40B4-BE49-F238E27FC236}">
              <a16:creationId xmlns:a16="http://schemas.microsoft.com/office/drawing/2014/main" id="{C0AB6AEC-64DC-796D-125E-BC09AFBF6C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Google Shape;163;p17">
            <a:extLst>
              <a:ext uri="{FF2B5EF4-FFF2-40B4-BE49-F238E27FC236}">
                <a16:creationId xmlns:a16="http://schemas.microsoft.com/office/drawing/2014/main" id="{1CB4C323-E8C7-9AB8-805A-5BD262036304}"/>
              </a:ext>
            </a:extLst>
          </p:cNvPr>
          <p:cNvSpPr txBox="1"/>
          <p:nvPr/>
        </p:nvSpPr>
        <p:spPr>
          <a:xfrm>
            <a:off x="397081" y="223404"/>
            <a:ext cx="7636329" cy="641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48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2400" b="1" dirty="0">
                <a:solidFill>
                  <a:srgbClr val="004150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VI. Program Performance and Evaluation Committee Report – </a:t>
            </a:r>
            <a:r>
              <a:rPr lang="en" sz="2400" b="1" i="1" dirty="0">
                <a:solidFill>
                  <a:srgbClr val="004150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Action Item</a:t>
            </a:r>
            <a:endParaRPr kumimoji="0" sz="2400" b="1" i="1" u="none" strike="noStrike" kern="0" cap="none" spc="0" normalizeH="0" baseline="0" noProof="0" dirty="0">
              <a:ln>
                <a:noFill/>
              </a:ln>
              <a:solidFill>
                <a:srgbClr val="004150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DD0AE6F-608F-F14E-310E-854633C75DC5}"/>
              </a:ext>
            </a:extLst>
          </p:cNvPr>
          <p:cNvSpPr txBox="1"/>
          <p:nvPr/>
        </p:nvSpPr>
        <p:spPr>
          <a:xfrm>
            <a:off x="628650" y="1231751"/>
            <a:ext cx="3174423" cy="5189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a. </a:t>
            </a:r>
            <a:r>
              <a:rPr lang="en-US" sz="1200" dirty="0">
                <a:solidFill>
                  <a:srgbClr val="004150"/>
                </a:solidFill>
                <a:latin typeface="Century Gothic" panose="020F0302020204030204"/>
              </a:rPr>
              <a:t>JLARC Recommendation #12 – Return on Investment (ROI)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BB2D880-C0DE-2FAA-24AE-917B7506CA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00847" y="864604"/>
            <a:ext cx="3894143" cy="3960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708859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0">
          <a:extLst>
            <a:ext uri="{FF2B5EF4-FFF2-40B4-BE49-F238E27FC236}">
              <a16:creationId xmlns:a16="http://schemas.microsoft.com/office/drawing/2014/main" id="{228892C8-1547-2384-15FF-646DC4B0D4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Google Shape;163;p17">
            <a:extLst>
              <a:ext uri="{FF2B5EF4-FFF2-40B4-BE49-F238E27FC236}">
                <a16:creationId xmlns:a16="http://schemas.microsoft.com/office/drawing/2014/main" id="{A24F65A0-E189-3025-2A45-40D882574912}"/>
              </a:ext>
            </a:extLst>
          </p:cNvPr>
          <p:cNvSpPr txBox="1"/>
          <p:nvPr/>
        </p:nvSpPr>
        <p:spPr>
          <a:xfrm>
            <a:off x="609600" y="590550"/>
            <a:ext cx="7636329" cy="3206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48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2400" b="1" dirty="0">
                <a:solidFill>
                  <a:srgbClr val="004150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VII. Adjournment</a:t>
            </a:r>
            <a:endParaRPr kumimoji="0" sz="2400" b="1" i="0" u="none" strike="noStrike" kern="0" cap="none" spc="0" normalizeH="0" baseline="0" noProof="0" dirty="0">
              <a:ln>
                <a:noFill/>
              </a:ln>
              <a:solidFill>
                <a:srgbClr val="004150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42634322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0">
          <a:extLst>
            <a:ext uri="{FF2B5EF4-FFF2-40B4-BE49-F238E27FC236}">
              <a16:creationId xmlns:a16="http://schemas.microsoft.com/office/drawing/2014/main" id="{A68493E7-77B9-7FB3-AE20-126E9AF407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Google Shape;163;p17">
            <a:extLst>
              <a:ext uri="{FF2B5EF4-FFF2-40B4-BE49-F238E27FC236}">
                <a16:creationId xmlns:a16="http://schemas.microsoft.com/office/drawing/2014/main" id="{08E53AF5-8BE1-E6D5-78EC-E24F5DA92335}"/>
              </a:ext>
            </a:extLst>
          </p:cNvPr>
          <p:cNvSpPr txBox="1"/>
          <p:nvPr/>
        </p:nvSpPr>
        <p:spPr>
          <a:xfrm>
            <a:off x="609600" y="590550"/>
            <a:ext cx="7636329" cy="3206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48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2400" b="1" dirty="0">
                <a:solidFill>
                  <a:srgbClr val="004150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I. Opening</a:t>
            </a:r>
            <a:endParaRPr kumimoji="0" sz="2400" b="1" i="0" u="none" strike="noStrike" kern="0" cap="none" spc="0" normalizeH="0" baseline="0" noProof="0" dirty="0">
              <a:ln>
                <a:noFill/>
              </a:ln>
              <a:solidFill>
                <a:srgbClr val="004150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0D7F1D6-CC2D-EA6A-B514-F39D4BFF212C}"/>
              </a:ext>
            </a:extLst>
          </p:cNvPr>
          <p:cNvSpPr txBox="1"/>
          <p:nvPr/>
        </p:nvSpPr>
        <p:spPr>
          <a:xfrm>
            <a:off x="609600" y="911151"/>
            <a:ext cx="3799114" cy="13499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a. Call to Order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</a:br>
            <a:r>
              <a:rPr lang="en-US" sz="1200" dirty="0">
                <a:solidFill>
                  <a:srgbClr val="004150"/>
                </a:solidFill>
                <a:latin typeface="Century Gothic" panose="020F0302020204030204"/>
              </a:rPr>
              <a:t>b. Introduction of New Members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4150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200" dirty="0">
                <a:solidFill>
                  <a:srgbClr val="004150"/>
                </a:solidFill>
                <a:latin typeface="Century Gothic" panose="020F0302020204030204"/>
              </a:rPr>
              <a:t>c. Roll Call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200" dirty="0">
                <a:solidFill>
                  <a:srgbClr val="004150"/>
                </a:solidFill>
                <a:latin typeface="Century Gothic" panose="020F0302020204030204"/>
              </a:rPr>
              <a:t>d. Public Comment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4150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322135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0">
          <a:extLst>
            <a:ext uri="{FF2B5EF4-FFF2-40B4-BE49-F238E27FC236}">
              <a16:creationId xmlns:a16="http://schemas.microsoft.com/office/drawing/2014/main" id="{F4532291-0557-2FE9-8631-58658E5069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Google Shape;163;p17">
            <a:extLst>
              <a:ext uri="{FF2B5EF4-FFF2-40B4-BE49-F238E27FC236}">
                <a16:creationId xmlns:a16="http://schemas.microsoft.com/office/drawing/2014/main" id="{A911A3DD-D704-C480-B333-D4DAF00A3832}"/>
              </a:ext>
            </a:extLst>
          </p:cNvPr>
          <p:cNvSpPr txBox="1"/>
          <p:nvPr/>
        </p:nvSpPr>
        <p:spPr>
          <a:xfrm>
            <a:off x="609600" y="590550"/>
            <a:ext cx="7636329" cy="3206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48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2400" b="1" dirty="0">
                <a:solidFill>
                  <a:srgbClr val="004150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II. Consent Agenda – </a:t>
            </a:r>
            <a:r>
              <a:rPr lang="en" sz="2400" b="1" i="1" dirty="0">
                <a:solidFill>
                  <a:srgbClr val="004150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Action Item</a:t>
            </a:r>
            <a:endParaRPr kumimoji="0" sz="2400" b="1" i="0" u="none" strike="noStrike" kern="0" cap="none" spc="0" normalizeH="0" baseline="0" noProof="0" dirty="0">
              <a:ln>
                <a:noFill/>
              </a:ln>
              <a:solidFill>
                <a:srgbClr val="004150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E4FB878-E9E2-87BD-AC2E-D41E340C0579}"/>
              </a:ext>
            </a:extLst>
          </p:cNvPr>
          <p:cNvSpPr txBox="1"/>
          <p:nvPr/>
        </p:nvSpPr>
        <p:spPr>
          <a:xfrm>
            <a:off x="609600" y="911151"/>
            <a:ext cx="7031182" cy="16269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a. </a:t>
            </a:r>
            <a:r>
              <a:rPr lang="en-US" sz="1200" dirty="0">
                <a:solidFill>
                  <a:srgbClr val="004150"/>
                </a:solidFill>
                <a:latin typeface="Century Gothic" panose="020F0302020204030204"/>
              </a:rPr>
              <a:t>March 24, 2026 Meeting Minutes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</a:br>
            <a:r>
              <a:rPr lang="en-US" sz="1200" dirty="0">
                <a:solidFill>
                  <a:srgbClr val="004150"/>
                </a:solidFill>
                <a:latin typeface="Century Gothic" panose="020F0302020204030204"/>
              </a:rPr>
              <a:t>b. FY27 Regional Per Capital and Competitive Allocations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4150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200" dirty="0">
                <a:solidFill>
                  <a:srgbClr val="004150"/>
                </a:solidFill>
                <a:latin typeface="Century Gothic" panose="020F0302020204030204"/>
              </a:rPr>
              <a:t>c. FY27 Regional Capacity Building Allocation and Continuation of Match Waiver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200" dirty="0">
                <a:solidFill>
                  <a:srgbClr val="004150"/>
                </a:solidFill>
                <a:latin typeface="Century Gothic" panose="020F0302020204030204"/>
              </a:rPr>
              <a:t>d. FY27 Regional Capacity Building Budget Approvals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e. Amend</a:t>
            </a:r>
            <a:r>
              <a:rPr lang="en-US" sz="1200" dirty="0" err="1">
                <a:solidFill>
                  <a:srgbClr val="004150"/>
                </a:solidFill>
                <a:latin typeface="Century Gothic" panose="020F0302020204030204"/>
              </a:rPr>
              <a:t>ment</a:t>
            </a:r>
            <a:r>
              <a:rPr lang="en-US" sz="1200" dirty="0">
                <a:solidFill>
                  <a:srgbClr val="004150"/>
                </a:solidFill>
                <a:latin typeface="Century Gothic" panose="020F0302020204030204"/>
              </a:rPr>
              <a:t> Board Policy #7 – FY19 Capacity Building Match Requirement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4150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712476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0">
          <a:extLst>
            <a:ext uri="{FF2B5EF4-FFF2-40B4-BE49-F238E27FC236}">
              <a16:creationId xmlns:a16="http://schemas.microsoft.com/office/drawing/2014/main" id="{3D245494-FD6F-17F7-C6AB-438136A69F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Google Shape;163;p17">
            <a:extLst>
              <a:ext uri="{FF2B5EF4-FFF2-40B4-BE49-F238E27FC236}">
                <a16:creationId xmlns:a16="http://schemas.microsoft.com/office/drawing/2014/main" id="{CFE35A5E-7031-0E9B-7FAD-5B02832EFFB5}"/>
              </a:ext>
            </a:extLst>
          </p:cNvPr>
          <p:cNvSpPr txBox="1"/>
          <p:nvPr/>
        </p:nvSpPr>
        <p:spPr>
          <a:xfrm>
            <a:off x="609600" y="590550"/>
            <a:ext cx="7636329" cy="3206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48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2400" b="1" dirty="0">
                <a:solidFill>
                  <a:srgbClr val="004150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II.b. FY27 Regional Per Capita Allocations</a:t>
            </a:r>
            <a:endParaRPr kumimoji="0" sz="2400" b="1" i="0" u="none" strike="noStrike" kern="0" cap="none" spc="0" normalizeH="0" baseline="0" noProof="0" dirty="0">
              <a:ln>
                <a:noFill/>
              </a:ln>
              <a:solidFill>
                <a:srgbClr val="004150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B7EC3A18-2050-8844-2506-D5FB8FCC88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2442944"/>
              </p:ext>
            </p:extLst>
          </p:nvPr>
        </p:nvGraphicFramePr>
        <p:xfrm>
          <a:off x="880156" y="1482971"/>
          <a:ext cx="6450116" cy="306997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743660">
                  <a:extLst>
                    <a:ext uri="{9D8B030D-6E8A-4147-A177-3AD203B41FA5}">
                      <a16:colId xmlns:a16="http://schemas.microsoft.com/office/drawing/2014/main" val="4152617315"/>
                    </a:ext>
                  </a:extLst>
                </a:gridCol>
                <a:gridCol w="1957800">
                  <a:extLst>
                    <a:ext uri="{9D8B030D-6E8A-4147-A177-3AD203B41FA5}">
                      <a16:colId xmlns:a16="http://schemas.microsoft.com/office/drawing/2014/main" val="121168860"/>
                    </a:ext>
                  </a:extLst>
                </a:gridCol>
                <a:gridCol w="1790856">
                  <a:extLst>
                    <a:ext uri="{9D8B030D-6E8A-4147-A177-3AD203B41FA5}">
                      <a16:colId xmlns:a16="http://schemas.microsoft.com/office/drawing/2014/main" val="1953436178"/>
                    </a:ext>
                  </a:extLst>
                </a:gridCol>
                <a:gridCol w="1957800">
                  <a:extLst>
                    <a:ext uri="{9D8B030D-6E8A-4147-A177-3AD203B41FA5}">
                      <a16:colId xmlns:a16="http://schemas.microsoft.com/office/drawing/2014/main" val="2217657690"/>
                    </a:ext>
                  </a:extLst>
                </a:gridCol>
              </a:tblGrid>
              <a:tr h="687309"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100" dirty="0">
                          <a:effectLst/>
                        </a:rPr>
                        <a:t>Region</a:t>
                      </a:r>
                    </a:p>
                    <a:p>
                      <a:pPr marL="0" marR="0" algn="ctr">
                        <a:buNone/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100" dirty="0">
                          <a:effectLst/>
                        </a:rPr>
                        <a:t>FY26 Per Capita Allocation with $1M Floor</a:t>
                      </a:r>
                    </a:p>
                    <a:p>
                      <a:pPr marL="0" marR="0" algn="ctr">
                        <a:buNone/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100" dirty="0">
                          <a:effectLst/>
                        </a:rPr>
                        <a:t>FY27 Per Capita Formula Allocation</a:t>
                      </a:r>
                    </a:p>
                    <a:p>
                      <a:pPr marL="0" marR="0" algn="ctr">
                        <a:buNone/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100" dirty="0">
                          <a:effectLst/>
                        </a:rPr>
                        <a:t>Recommended FY27 Per Capita Allocation with $1M Floor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203520952"/>
                  </a:ext>
                </a:extLst>
              </a:tr>
              <a:tr h="238267"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100">
                          <a:effectLst/>
                        </a:rPr>
                        <a:t>1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100" dirty="0">
                          <a:solidFill>
                            <a:schemeClr val="bg2"/>
                          </a:solidFill>
                          <a:effectLst/>
                        </a:rPr>
                        <a:t>$1,000,000</a:t>
                      </a:r>
                      <a:endParaRPr lang="en-US" sz="1100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100">
                          <a:solidFill>
                            <a:schemeClr val="bg2"/>
                          </a:solidFill>
                          <a:effectLst/>
                        </a:rPr>
                        <a:t>$689,875</a:t>
                      </a:r>
                      <a:endParaRPr lang="en-US" sz="110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100">
                          <a:solidFill>
                            <a:schemeClr val="bg2"/>
                          </a:solidFill>
                          <a:effectLst/>
                        </a:rPr>
                        <a:t>$1,000,000</a:t>
                      </a:r>
                      <a:endParaRPr lang="en-US" sz="110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071024955"/>
                  </a:ext>
                </a:extLst>
              </a:tr>
              <a:tr h="238267"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100">
                          <a:effectLst/>
                        </a:rPr>
                        <a:t>2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100">
                          <a:solidFill>
                            <a:schemeClr val="bg2"/>
                          </a:solidFill>
                          <a:effectLst/>
                        </a:rPr>
                        <a:t>$1,506,951</a:t>
                      </a:r>
                      <a:endParaRPr lang="en-US" sz="110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100">
                          <a:solidFill>
                            <a:schemeClr val="bg2"/>
                          </a:solidFill>
                          <a:effectLst/>
                        </a:rPr>
                        <a:t>$1,500,923</a:t>
                      </a:r>
                      <a:endParaRPr lang="en-US" sz="110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100">
                          <a:solidFill>
                            <a:schemeClr val="bg2"/>
                          </a:solidFill>
                          <a:effectLst/>
                        </a:rPr>
                        <a:t>$1,500,923</a:t>
                      </a:r>
                      <a:endParaRPr lang="en-US" sz="110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113074938"/>
                  </a:ext>
                </a:extLst>
              </a:tr>
              <a:tr h="238267"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100">
                          <a:effectLst/>
                        </a:rPr>
                        <a:t>3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100">
                          <a:solidFill>
                            <a:schemeClr val="bg2"/>
                          </a:solidFill>
                          <a:effectLst/>
                        </a:rPr>
                        <a:t>$1,000,000</a:t>
                      </a:r>
                      <a:endParaRPr lang="en-US" sz="110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100" dirty="0">
                          <a:solidFill>
                            <a:schemeClr val="bg2"/>
                          </a:solidFill>
                          <a:effectLst/>
                        </a:rPr>
                        <a:t>$689,357</a:t>
                      </a:r>
                      <a:endParaRPr lang="en-US" sz="1100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100">
                          <a:solidFill>
                            <a:schemeClr val="bg2"/>
                          </a:solidFill>
                          <a:effectLst/>
                        </a:rPr>
                        <a:t>$1,000,000</a:t>
                      </a:r>
                      <a:endParaRPr lang="en-US" sz="110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113336683"/>
                  </a:ext>
                </a:extLst>
              </a:tr>
              <a:tr h="238267"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100">
                          <a:effectLst/>
                        </a:rPr>
                        <a:t>4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100">
                          <a:solidFill>
                            <a:schemeClr val="bg2"/>
                          </a:solidFill>
                          <a:effectLst/>
                        </a:rPr>
                        <a:t>$2,608,599</a:t>
                      </a:r>
                      <a:endParaRPr lang="en-US" sz="110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100">
                          <a:solidFill>
                            <a:schemeClr val="bg2"/>
                          </a:solidFill>
                          <a:effectLst/>
                        </a:rPr>
                        <a:t>$2,638,688</a:t>
                      </a:r>
                      <a:endParaRPr lang="en-US" sz="110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100">
                          <a:solidFill>
                            <a:schemeClr val="bg2"/>
                          </a:solidFill>
                          <a:effectLst/>
                        </a:rPr>
                        <a:t>$2,638,688</a:t>
                      </a:r>
                      <a:endParaRPr lang="en-US" sz="110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670269118"/>
                  </a:ext>
                </a:extLst>
              </a:tr>
              <a:tr h="238267"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100">
                          <a:effectLst/>
                        </a:rPr>
                        <a:t>5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100">
                          <a:solidFill>
                            <a:schemeClr val="bg2"/>
                          </a:solidFill>
                          <a:effectLst/>
                        </a:rPr>
                        <a:t>$3,384,637</a:t>
                      </a:r>
                      <a:endParaRPr lang="en-US" sz="110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100">
                          <a:solidFill>
                            <a:schemeClr val="bg2"/>
                          </a:solidFill>
                          <a:effectLst/>
                        </a:rPr>
                        <a:t>$3,363,752</a:t>
                      </a:r>
                      <a:endParaRPr lang="en-US" sz="110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100">
                          <a:solidFill>
                            <a:schemeClr val="bg2"/>
                          </a:solidFill>
                          <a:effectLst/>
                        </a:rPr>
                        <a:t>$3,363,752</a:t>
                      </a:r>
                      <a:endParaRPr lang="en-US" sz="110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250440332"/>
                  </a:ext>
                </a:extLst>
              </a:tr>
              <a:tr h="238267"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100">
                          <a:solidFill>
                            <a:schemeClr val="bg2"/>
                          </a:solidFill>
                          <a:effectLst/>
                        </a:rPr>
                        <a:t>$1,061,688</a:t>
                      </a:r>
                      <a:endParaRPr lang="en-US" sz="110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100">
                          <a:solidFill>
                            <a:schemeClr val="bg2"/>
                          </a:solidFill>
                          <a:effectLst/>
                        </a:rPr>
                        <a:t>$1,064,737</a:t>
                      </a:r>
                      <a:endParaRPr lang="en-US" sz="110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100">
                          <a:solidFill>
                            <a:schemeClr val="bg2"/>
                          </a:solidFill>
                          <a:effectLst/>
                        </a:rPr>
                        <a:t>$1,064,737</a:t>
                      </a:r>
                      <a:endParaRPr lang="en-US" sz="110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78659480"/>
                  </a:ext>
                </a:extLst>
              </a:tr>
              <a:tr h="238267"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100">
                          <a:effectLst/>
                        </a:rPr>
                        <a:t>7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100">
                          <a:solidFill>
                            <a:schemeClr val="bg2"/>
                          </a:solidFill>
                          <a:effectLst/>
                        </a:rPr>
                        <a:t>$4,970,139</a:t>
                      </a:r>
                      <a:endParaRPr lang="en-US" sz="110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100">
                          <a:solidFill>
                            <a:schemeClr val="bg2"/>
                          </a:solidFill>
                          <a:effectLst/>
                        </a:rPr>
                        <a:t>$4,970,252</a:t>
                      </a:r>
                      <a:endParaRPr lang="en-US" sz="110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100" dirty="0">
                          <a:solidFill>
                            <a:schemeClr val="bg2"/>
                          </a:solidFill>
                          <a:effectLst/>
                        </a:rPr>
                        <a:t>$4,970,252</a:t>
                      </a:r>
                      <a:endParaRPr lang="en-US" sz="1100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947189179"/>
                  </a:ext>
                </a:extLst>
              </a:tr>
              <a:tr h="238267"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100">
                          <a:effectLst/>
                        </a:rPr>
                        <a:t>8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100">
                          <a:solidFill>
                            <a:schemeClr val="bg2"/>
                          </a:solidFill>
                          <a:effectLst/>
                        </a:rPr>
                        <a:t>$1,089,137</a:t>
                      </a:r>
                      <a:endParaRPr lang="en-US" sz="110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100">
                          <a:solidFill>
                            <a:schemeClr val="bg2"/>
                          </a:solidFill>
                          <a:effectLst/>
                        </a:rPr>
                        <a:t>$1,092,242</a:t>
                      </a:r>
                      <a:endParaRPr lang="en-US" sz="110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100" dirty="0">
                          <a:solidFill>
                            <a:schemeClr val="bg2"/>
                          </a:solidFill>
                          <a:effectLst/>
                        </a:rPr>
                        <a:t>$1,092,242</a:t>
                      </a:r>
                      <a:endParaRPr lang="en-US" sz="1100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031592554"/>
                  </a:ext>
                </a:extLst>
              </a:tr>
              <a:tr h="238267"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100">
                          <a:effectLst/>
                        </a:rPr>
                        <a:t>9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100">
                          <a:solidFill>
                            <a:schemeClr val="bg2"/>
                          </a:solidFill>
                          <a:effectLst/>
                        </a:rPr>
                        <a:t>$1,000,000</a:t>
                      </a:r>
                      <a:endParaRPr lang="en-US" sz="110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100">
                          <a:solidFill>
                            <a:schemeClr val="bg2"/>
                          </a:solidFill>
                          <a:effectLst/>
                        </a:rPr>
                        <a:t>$890,174</a:t>
                      </a:r>
                      <a:endParaRPr lang="en-US" sz="110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100" dirty="0">
                          <a:solidFill>
                            <a:schemeClr val="bg2"/>
                          </a:solidFill>
                          <a:effectLst/>
                        </a:rPr>
                        <a:t>$1,000,000</a:t>
                      </a:r>
                      <a:endParaRPr lang="en-US" sz="1100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738330291"/>
                  </a:ext>
                </a:extLst>
              </a:tr>
              <a:tr h="238267"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100">
                          <a:effectLst/>
                        </a:rPr>
                        <a:t>Total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100">
                          <a:solidFill>
                            <a:schemeClr val="bg2"/>
                          </a:solidFill>
                          <a:effectLst/>
                        </a:rPr>
                        <a:t>$17,621,151</a:t>
                      </a:r>
                      <a:endParaRPr lang="en-US" sz="110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100">
                          <a:solidFill>
                            <a:schemeClr val="bg2"/>
                          </a:solidFill>
                          <a:effectLst/>
                        </a:rPr>
                        <a:t>$16,900,000</a:t>
                      </a:r>
                      <a:endParaRPr lang="en-US" sz="110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100" dirty="0">
                          <a:solidFill>
                            <a:schemeClr val="bg2"/>
                          </a:solidFill>
                          <a:effectLst/>
                        </a:rPr>
                        <a:t>$17,630,594</a:t>
                      </a:r>
                      <a:endParaRPr lang="en-US" sz="1100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674691466"/>
                  </a:ext>
                </a:extLst>
              </a:tr>
            </a:tbl>
          </a:graphicData>
        </a:graphic>
      </p:graphicFrame>
      <p:sp>
        <p:nvSpPr>
          <p:cNvPr id="4" name="Rectangle 1">
            <a:extLst>
              <a:ext uri="{FF2B5EF4-FFF2-40B4-BE49-F238E27FC236}">
                <a16:creationId xmlns:a16="http://schemas.microsoft.com/office/drawing/2014/main" id="{42422A20-1E75-EE8B-B3F8-015453196F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7231" y="1112955"/>
            <a:ext cx="4935967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+mj-lt"/>
                <a:ea typeface="Calibri" panose="020F0502020204030204" pitchFamily="34" charset="0"/>
              </a:rPr>
              <a:t>FY27 PER CAPITA ALLOCATION SCENARIO: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bg2"/>
              </a:solidFill>
              <a:effectLst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4385931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0">
          <a:extLst>
            <a:ext uri="{FF2B5EF4-FFF2-40B4-BE49-F238E27FC236}">
              <a16:creationId xmlns:a16="http://schemas.microsoft.com/office/drawing/2014/main" id="{A79F6212-9BBC-94FC-497B-E7B3B859A3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Google Shape;163;p17">
            <a:extLst>
              <a:ext uri="{FF2B5EF4-FFF2-40B4-BE49-F238E27FC236}">
                <a16:creationId xmlns:a16="http://schemas.microsoft.com/office/drawing/2014/main" id="{39035183-8FE3-A4C7-40EB-23913614D8AC}"/>
              </a:ext>
            </a:extLst>
          </p:cNvPr>
          <p:cNvSpPr txBox="1"/>
          <p:nvPr/>
        </p:nvSpPr>
        <p:spPr>
          <a:xfrm>
            <a:off x="609600" y="590550"/>
            <a:ext cx="7636329" cy="3206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48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2400" b="1" dirty="0">
                <a:solidFill>
                  <a:srgbClr val="004150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III. Deputy Director’s Report</a:t>
            </a:r>
            <a:endParaRPr kumimoji="0" sz="2400" b="1" i="0" u="none" strike="noStrike" kern="0" cap="none" spc="0" normalizeH="0" baseline="0" noProof="0" dirty="0">
              <a:ln>
                <a:noFill/>
              </a:ln>
              <a:solidFill>
                <a:srgbClr val="004150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9981543-1DAE-6FF6-8336-6B99BEDE6A31}"/>
              </a:ext>
            </a:extLst>
          </p:cNvPr>
          <p:cNvSpPr txBox="1"/>
          <p:nvPr/>
        </p:nvSpPr>
        <p:spPr>
          <a:xfrm>
            <a:off x="609600" y="911151"/>
            <a:ext cx="5694218" cy="1072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AutoNum type="alphaLcPeriod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Per Capita Implementation Applications (6) – </a:t>
            </a:r>
            <a:r>
              <a:rPr kumimoji="0" lang="en-US" sz="1200" b="1" i="1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Action Item</a:t>
            </a:r>
            <a:br>
              <a:rPr lang="en-US" sz="1200" dirty="0">
                <a:solidFill>
                  <a:srgbClr val="004150"/>
                </a:solidFill>
                <a:latin typeface="Century Gothic" panose="020F0302020204030204"/>
              </a:rPr>
            </a:br>
            <a:r>
              <a:rPr lang="en-US" sz="1200" dirty="0">
                <a:solidFill>
                  <a:srgbClr val="004150"/>
                </a:solidFill>
                <a:latin typeface="Century Gothic" panose="020F0302020204030204"/>
              </a:rPr>
              <a:t>	</a:t>
            </a:r>
            <a:r>
              <a:rPr lang="en-US" sz="1200" dirty="0" err="1">
                <a:solidFill>
                  <a:srgbClr val="004150"/>
                </a:solidFill>
                <a:latin typeface="Century Gothic" panose="020F0302020204030204"/>
              </a:rPr>
              <a:t>i</a:t>
            </a:r>
            <a:r>
              <a:rPr lang="en-US" sz="1200" dirty="0">
                <a:solidFill>
                  <a:srgbClr val="004150"/>
                </a:solidFill>
                <a:latin typeface="Century Gothic" panose="020F0302020204030204"/>
              </a:rPr>
              <a:t>. Cluster Scale Up (2)</a:t>
            </a:r>
            <a:br>
              <a:rPr lang="en-US" sz="1200" dirty="0">
                <a:solidFill>
                  <a:srgbClr val="004150"/>
                </a:solidFill>
                <a:latin typeface="Century Gothic" panose="020F0302020204030204"/>
              </a:rPr>
            </a:br>
            <a:r>
              <a:rPr lang="en-US" sz="1200" dirty="0">
                <a:solidFill>
                  <a:srgbClr val="004150"/>
                </a:solidFill>
                <a:latin typeface="Century Gothic" panose="020F0302020204030204"/>
              </a:rPr>
              <a:t>	ii. Sites and Infrastructure (1)</a:t>
            </a:r>
            <a:br>
              <a:rPr lang="en-US" sz="1200" dirty="0">
                <a:solidFill>
                  <a:srgbClr val="004150"/>
                </a:solidFill>
                <a:latin typeface="Century Gothic" panose="020F0302020204030204"/>
              </a:rPr>
            </a:br>
            <a:r>
              <a:rPr lang="en-US" sz="1200" dirty="0">
                <a:solidFill>
                  <a:srgbClr val="004150"/>
                </a:solidFill>
                <a:latin typeface="Century Gothic" panose="020F0302020204030204"/>
              </a:rPr>
              <a:t>	iii. Talent Development (3)</a:t>
            </a:r>
          </a:p>
        </p:txBody>
      </p:sp>
    </p:spTree>
    <p:extLst>
      <p:ext uri="{BB962C8B-B14F-4D97-AF65-F5344CB8AC3E}">
        <p14:creationId xmlns:p14="http://schemas.microsoft.com/office/powerpoint/2010/main" val="9526371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85840B1F-FB8C-FBE3-861C-435217B8D0DB}"/>
              </a:ext>
            </a:extLst>
          </p:cNvPr>
          <p:cNvSpPr/>
          <p:nvPr/>
        </p:nvSpPr>
        <p:spPr>
          <a:xfrm>
            <a:off x="6322979" y="597035"/>
            <a:ext cx="2211422" cy="1231765"/>
          </a:xfrm>
          <a:prstGeom prst="roundRect">
            <a:avLst>
              <a:gd name="adj" fmla="val 5065"/>
            </a:avLst>
          </a:prstGeom>
          <a:gradFill>
            <a:gsLst>
              <a:gs pos="0">
                <a:schemeClr val="accent1"/>
              </a:gs>
              <a:gs pos="100000">
                <a:srgbClr val="2F8B8F"/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  <a:sym typeface="Arial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C26522FB-AE37-3F86-090B-7AD37291D594}"/>
              </a:ext>
            </a:extLst>
          </p:cNvPr>
          <p:cNvSpPr/>
          <p:nvPr/>
        </p:nvSpPr>
        <p:spPr>
          <a:xfrm>
            <a:off x="4002894" y="590550"/>
            <a:ext cx="2211422" cy="2373144"/>
          </a:xfrm>
          <a:prstGeom prst="roundRect">
            <a:avLst>
              <a:gd name="adj" fmla="val 5065"/>
            </a:avLst>
          </a:prstGeom>
          <a:gradFill>
            <a:gsLst>
              <a:gs pos="0">
                <a:schemeClr val="tx2"/>
              </a:gs>
              <a:gs pos="100000">
                <a:srgbClr val="006684"/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  <a:sym typeface="Arial"/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E165CDA0-C6C8-F3A6-8903-B9911D08259C}"/>
              </a:ext>
            </a:extLst>
          </p:cNvPr>
          <p:cNvSpPr/>
          <p:nvPr/>
        </p:nvSpPr>
        <p:spPr>
          <a:xfrm>
            <a:off x="6322979" y="1939451"/>
            <a:ext cx="2211422" cy="2607013"/>
          </a:xfrm>
          <a:prstGeom prst="roundRect">
            <a:avLst>
              <a:gd name="adj" fmla="val 5065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  <a:sym typeface="Arial"/>
            </a:endParaRP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FF7C6A94-C1D5-3C61-DAB2-510A1C072060}"/>
              </a:ext>
            </a:extLst>
          </p:cNvPr>
          <p:cNvSpPr/>
          <p:nvPr/>
        </p:nvSpPr>
        <p:spPr>
          <a:xfrm>
            <a:off x="4002894" y="3080832"/>
            <a:ext cx="2211422" cy="1465632"/>
          </a:xfrm>
          <a:prstGeom prst="roundRect">
            <a:avLst>
              <a:gd name="adj" fmla="val 5065"/>
            </a:avLst>
          </a:prstGeom>
          <a:gradFill>
            <a:gsLst>
              <a:gs pos="0">
                <a:srgbClr val="8E66A8"/>
              </a:gs>
              <a:gs pos="100000">
                <a:srgbClr val="7A5792"/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  <a:sym typeface="Arial"/>
            </a:endParaRPr>
          </a:p>
        </p:txBody>
      </p:sp>
      <p:sp>
        <p:nvSpPr>
          <p:cNvPr id="9" name="Google Shape;163;p17">
            <a:extLst>
              <a:ext uri="{FF2B5EF4-FFF2-40B4-BE49-F238E27FC236}">
                <a16:creationId xmlns:a16="http://schemas.microsoft.com/office/drawing/2014/main" id="{392AA52B-8FC3-3EA9-1E25-55838EED6E8E}"/>
              </a:ext>
            </a:extLst>
          </p:cNvPr>
          <p:cNvSpPr txBox="1"/>
          <p:nvPr/>
        </p:nvSpPr>
        <p:spPr>
          <a:xfrm>
            <a:off x="4208835" y="798073"/>
            <a:ext cx="1394298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20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GOVA Request:</a:t>
            </a:r>
            <a:endParaRPr kumimoji="0" sz="20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0" name="Google Shape;163;p17">
            <a:extLst>
              <a:ext uri="{FF2B5EF4-FFF2-40B4-BE49-F238E27FC236}">
                <a16:creationId xmlns:a16="http://schemas.microsoft.com/office/drawing/2014/main" id="{AE58A8BC-913B-7180-851C-FE8E94903508}"/>
              </a:ext>
            </a:extLst>
          </p:cNvPr>
          <p:cNvSpPr txBox="1"/>
          <p:nvPr/>
        </p:nvSpPr>
        <p:spPr>
          <a:xfrm>
            <a:off x="4218564" y="3208285"/>
            <a:ext cx="1394298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8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Additional Leverage: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1" name="Google Shape;163;p17">
            <a:extLst>
              <a:ext uri="{FF2B5EF4-FFF2-40B4-BE49-F238E27FC236}">
                <a16:creationId xmlns:a16="http://schemas.microsoft.com/office/drawing/2014/main" id="{5CA7F78D-E4B6-1AFA-0040-D18CC060D395}"/>
              </a:ext>
            </a:extLst>
          </p:cNvPr>
          <p:cNvSpPr txBox="1"/>
          <p:nvPr/>
        </p:nvSpPr>
        <p:spPr>
          <a:xfrm>
            <a:off x="4208835" y="1721443"/>
            <a:ext cx="1802859" cy="2180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8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Total Match: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2" name="Google Shape;163;p17">
            <a:extLst>
              <a:ext uri="{FF2B5EF4-FFF2-40B4-BE49-F238E27FC236}">
                <a16:creationId xmlns:a16="http://schemas.microsoft.com/office/drawing/2014/main" id="{AED53F5B-84AC-792E-1A0D-857A83C5101F}"/>
              </a:ext>
            </a:extLst>
          </p:cNvPr>
          <p:cNvSpPr txBox="1"/>
          <p:nvPr/>
        </p:nvSpPr>
        <p:spPr>
          <a:xfrm>
            <a:off x="4240192" y="3959553"/>
            <a:ext cx="1802859" cy="2180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8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Total Budget: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5B61757-0E49-63E8-A5A3-CFD593D33BC8}"/>
              </a:ext>
            </a:extLst>
          </p:cNvPr>
          <p:cNvSpPr txBox="1"/>
          <p:nvPr/>
        </p:nvSpPr>
        <p:spPr>
          <a:xfrm>
            <a:off x="4155588" y="1251214"/>
            <a:ext cx="175746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2400" b="1" dirty="0">
                <a:solidFill>
                  <a:srgbClr val="FEFFFF"/>
                </a:solidFill>
                <a:latin typeface="Century Gothic" panose="020F0302020204030204"/>
              </a:rPr>
              <a:t>$651,076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ED6A7C1-BBAF-5D2B-3C51-ACE2C1D5B7D5}"/>
              </a:ext>
            </a:extLst>
          </p:cNvPr>
          <p:cNvSpPr txBox="1"/>
          <p:nvPr/>
        </p:nvSpPr>
        <p:spPr>
          <a:xfrm>
            <a:off x="4218564" y="1970742"/>
            <a:ext cx="17574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600" dirty="0">
                <a:solidFill>
                  <a:srgbClr val="FEFFFF"/>
                </a:solidFill>
                <a:latin typeface="Century Gothic" panose="020F0302020204030204"/>
              </a:rPr>
              <a:t>$327,128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2" name="Google Shape;163;p17">
            <a:extLst>
              <a:ext uri="{FF2B5EF4-FFF2-40B4-BE49-F238E27FC236}">
                <a16:creationId xmlns:a16="http://schemas.microsoft.com/office/drawing/2014/main" id="{A49B4983-AF16-5F66-DA03-21E6EB91EFAB}"/>
              </a:ext>
            </a:extLst>
          </p:cNvPr>
          <p:cNvSpPr txBox="1"/>
          <p:nvPr/>
        </p:nvSpPr>
        <p:spPr>
          <a:xfrm>
            <a:off x="304008" y="272287"/>
            <a:ext cx="3393294" cy="9618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48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ea typeface="Roboto"/>
                <a:cs typeface="Arial"/>
                <a:sym typeface="Roboto"/>
              </a:rPr>
              <a:t>Regions 4 and 5: Strategic Cluster Advancement for Leading Energy (SCALE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C8DADCF-1C66-8767-1E38-58EC744E22C7}"/>
              </a:ext>
            </a:extLst>
          </p:cNvPr>
          <p:cNvSpPr txBox="1"/>
          <p:nvPr/>
        </p:nvSpPr>
        <p:spPr>
          <a:xfrm>
            <a:off x="304008" y="1234089"/>
            <a:ext cx="3441657" cy="31620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000" b="1" dirty="0">
                <a:solidFill>
                  <a:srgbClr val="004150"/>
                </a:solidFill>
                <a:latin typeface="Century Gothic" panose="020F0302020204030204"/>
              </a:rPr>
              <a:t>Target Cluster(s): </a:t>
            </a:r>
            <a:r>
              <a:rPr lang="en-US" sz="1000" dirty="0">
                <a:solidFill>
                  <a:srgbClr val="004150"/>
                </a:solidFill>
                <a:latin typeface="Century Gothic" panose="020F0302020204030204"/>
              </a:rPr>
              <a:t>Energy</a:t>
            </a:r>
            <a:endParaRPr lang="en-US" sz="1000" b="1" dirty="0">
              <a:solidFill>
                <a:srgbClr val="004150"/>
              </a:solidFill>
              <a:latin typeface="Century Gothic" panose="020F0302020204030204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Applicant: </a:t>
            </a:r>
            <a:r>
              <a:rPr kumimoji="0" lang="en-US" sz="1000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Dominion Energy Innovation Center (DEIC)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004150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000" b="1" dirty="0">
                <a:solidFill>
                  <a:srgbClr val="004150"/>
                </a:solidFill>
                <a:latin typeface="Century Gothic" panose="020F0302020204030204"/>
              </a:rPr>
              <a:t>Investment Strategy: </a:t>
            </a:r>
            <a:r>
              <a:rPr lang="en-US" sz="1000" dirty="0">
                <a:solidFill>
                  <a:srgbClr val="004150"/>
                </a:solidFill>
                <a:latin typeface="Century Gothic" panose="020F0302020204030204"/>
              </a:rPr>
              <a:t>Cluster Scale-Up</a:t>
            </a:r>
            <a:endParaRPr lang="en-US" sz="1000" b="1" dirty="0">
              <a:solidFill>
                <a:srgbClr val="004150"/>
              </a:solidFill>
              <a:latin typeface="Century Gothic" panose="020F0302020204030204"/>
            </a:endParaRPr>
          </a:p>
          <a:p>
            <a:pPr lvl="0">
              <a:lnSpc>
                <a:spcPct val="150000"/>
              </a:lnSpc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Goal: </a:t>
            </a:r>
            <a:r>
              <a:rPr lang="en-US" sz="1000" dirty="0">
                <a:solidFill>
                  <a:schemeClr val="bg2"/>
                </a:solidFill>
                <a:latin typeface="+mj-lt"/>
              </a:rPr>
              <a:t>To expand the energy cluster in Regions 4 and 5 by focusing on the grid technologies and advanced power systems sectors. </a:t>
            </a:r>
            <a:endParaRPr kumimoji="0" lang="en-US" sz="1000" b="1" i="0" u="none" strike="noStrike" kern="0" cap="none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j-lt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000" b="1" dirty="0">
                <a:solidFill>
                  <a:srgbClr val="004150"/>
                </a:solidFill>
                <a:latin typeface="Century Gothic" panose="020F0302020204030204"/>
              </a:rPr>
              <a:t>Products: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800" dirty="0">
                <a:solidFill>
                  <a:srgbClr val="004150"/>
                </a:solidFill>
                <a:latin typeface="Century Gothic" panose="020F0302020204030204"/>
              </a:rPr>
              <a:t>Creation of 2 Soft Landing Sit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800" dirty="0">
                <a:solidFill>
                  <a:srgbClr val="004150"/>
                </a:solidFill>
                <a:latin typeface="Century Gothic" panose="020F0302020204030204"/>
              </a:rPr>
              <a:t>Formation of Energy Growth Council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800" dirty="0">
                <a:solidFill>
                  <a:srgbClr val="004150"/>
                </a:solidFill>
                <a:latin typeface="Century Gothic" panose="020F0302020204030204"/>
              </a:rPr>
              <a:t>In-Depth Market Study and Strategic Plan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Outcomes: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800" dirty="0">
                <a:solidFill>
                  <a:srgbClr val="004150"/>
                </a:solidFill>
                <a:latin typeface="Century Gothic" panose="020F0302020204030204"/>
              </a:rPr>
              <a:t>45 Jobs Created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2 Businesses Expanded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800" dirty="0">
                <a:solidFill>
                  <a:srgbClr val="004150"/>
                </a:solidFill>
                <a:latin typeface="Century Gothic" panose="020F0302020204030204"/>
              </a:rPr>
              <a:t>2 Businesses Attracted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90 Businesses Served</a:t>
            </a:r>
          </a:p>
        </p:txBody>
      </p:sp>
      <p:sp>
        <p:nvSpPr>
          <p:cNvPr id="5" name="Google Shape;163;p17">
            <a:extLst>
              <a:ext uri="{FF2B5EF4-FFF2-40B4-BE49-F238E27FC236}">
                <a16:creationId xmlns:a16="http://schemas.microsoft.com/office/drawing/2014/main" id="{C9364437-D588-375B-0DA9-352018135474}"/>
              </a:ext>
            </a:extLst>
          </p:cNvPr>
          <p:cNvSpPr txBox="1"/>
          <p:nvPr/>
        </p:nvSpPr>
        <p:spPr>
          <a:xfrm>
            <a:off x="6456144" y="690888"/>
            <a:ext cx="1945091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6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Workgroup Reccomendation: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3" name="Google Shape;163;p17">
            <a:extLst>
              <a:ext uri="{FF2B5EF4-FFF2-40B4-BE49-F238E27FC236}">
                <a16:creationId xmlns:a16="http://schemas.microsoft.com/office/drawing/2014/main" id="{4C23B6C2-80D0-031F-A7D1-F57E885A639B}"/>
              </a:ext>
            </a:extLst>
          </p:cNvPr>
          <p:cNvSpPr txBox="1"/>
          <p:nvPr/>
        </p:nvSpPr>
        <p:spPr>
          <a:xfrm>
            <a:off x="4208835" y="2288685"/>
            <a:ext cx="1802859" cy="2180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8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Local Match: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6B5E64B-914A-717F-5ACD-191294C48AB7}"/>
              </a:ext>
            </a:extLst>
          </p:cNvPr>
          <p:cNvSpPr txBox="1"/>
          <p:nvPr/>
        </p:nvSpPr>
        <p:spPr>
          <a:xfrm>
            <a:off x="4218564" y="2535458"/>
            <a:ext cx="17574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600" dirty="0">
                <a:solidFill>
                  <a:srgbClr val="FEFFFF"/>
                </a:solidFill>
                <a:latin typeface="Century Gothic" panose="020F0302020204030204"/>
              </a:rPr>
              <a:t>$217,520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EFE06E7-B713-A4EB-170D-560AE1327630}"/>
              </a:ext>
            </a:extLst>
          </p:cNvPr>
          <p:cNvSpPr txBox="1"/>
          <p:nvPr/>
        </p:nvSpPr>
        <p:spPr>
          <a:xfrm>
            <a:off x="4155589" y="3661426"/>
            <a:ext cx="17574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600" dirty="0">
                <a:solidFill>
                  <a:srgbClr val="FEFFFF"/>
                </a:solidFill>
                <a:latin typeface="Century Gothic" panose="020F0302020204030204"/>
              </a:rPr>
              <a:t>$52,750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27F8F06-B3C9-FE21-427C-7B5CAD9FD64B}"/>
              </a:ext>
            </a:extLst>
          </p:cNvPr>
          <p:cNvSpPr txBox="1"/>
          <p:nvPr/>
        </p:nvSpPr>
        <p:spPr>
          <a:xfrm>
            <a:off x="4208835" y="4185695"/>
            <a:ext cx="17574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600" dirty="0">
                <a:solidFill>
                  <a:srgbClr val="FEFFFF"/>
                </a:solidFill>
                <a:latin typeface="Century Gothic" panose="020F0302020204030204"/>
              </a:rPr>
              <a:t>$1,030,754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06C78AD-5AF4-2E72-580A-2A8ACBBF84AC}"/>
              </a:ext>
            </a:extLst>
          </p:cNvPr>
          <p:cNvSpPr txBox="1"/>
          <p:nvPr/>
        </p:nvSpPr>
        <p:spPr>
          <a:xfrm>
            <a:off x="6471545" y="1157004"/>
            <a:ext cx="1757463" cy="4847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/>
            <a:r>
              <a:rPr lang="en-US" sz="1050" dirty="0">
                <a:solidFill>
                  <a:schemeClr val="bg1"/>
                </a:solidFill>
                <a:latin typeface="+mj-lt"/>
              </a:rPr>
              <a:t>Approval of the application at a reduced award amount of $154,391 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cs typeface="Arial"/>
              <a:sym typeface="Arial"/>
            </a:endParaRPr>
          </a:p>
        </p:txBody>
      </p:sp>
      <p:sp>
        <p:nvSpPr>
          <p:cNvPr id="24" name="Google Shape;163;p17">
            <a:extLst>
              <a:ext uri="{FF2B5EF4-FFF2-40B4-BE49-F238E27FC236}">
                <a16:creationId xmlns:a16="http://schemas.microsoft.com/office/drawing/2014/main" id="{5C139938-139D-7B90-B166-CCA68D6FD8AD}"/>
              </a:ext>
            </a:extLst>
          </p:cNvPr>
          <p:cNvSpPr txBox="1"/>
          <p:nvPr/>
        </p:nvSpPr>
        <p:spPr>
          <a:xfrm>
            <a:off x="6471545" y="2065564"/>
            <a:ext cx="1802859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6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Participating Localities: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276E2DF-3BE6-09DD-390C-B357A3A4CF9C}"/>
              </a:ext>
            </a:extLst>
          </p:cNvPr>
          <p:cNvSpPr txBox="1"/>
          <p:nvPr/>
        </p:nvSpPr>
        <p:spPr>
          <a:xfrm>
            <a:off x="6429986" y="2535458"/>
            <a:ext cx="1971249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Arial"/>
                <a:sym typeface="Arial"/>
              </a:rPr>
              <a:t>Hanover County (Cash and In-Kind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bg1"/>
                </a:solidFill>
                <a:latin typeface="+mj-lt"/>
              </a:rPr>
              <a:t>Town of Ashland (Cash and In-Kind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Arial"/>
                <a:sym typeface="Arial"/>
              </a:rPr>
              <a:t>Virginia’s Gateway Region, on behalf of its member localities (In-Kind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bg1"/>
                </a:solidFill>
                <a:latin typeface="+mj-lt"/>
              </a:rPr>
              <a:t>Hampton Roads Alliance, on behalf of its member localities (Cash and In-Kind)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0">
          <a:extLst>
            <a:ext uri="{FF2B5EF4-FFF2-40B4-BE49-F238E27FC236}">
              <a16:creationId xmlns:a16="http://schemas.microsoft.com/office/drawing/2014/main" id="{21837CE8-2722-E3AD-C958-74B05ECC62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EED6DE9-784F-EAC3-9424-738774E737CC}"/>
              </a:ext>
            </a:extLst>
          </p:cNvPr>
          <p:cNvSpPr/>
          <p:nvPr/>
        </p:nvSpPr>
        <p:spPr>
          <a:xfrm>
            <a:off x="6322979" y="597035"/>
            <a:ext cx="2211422" cy="1231765"/>
          </a:xfrm>
          <a:prstGeom prst="roundRect">
            <a:avLst>
              <a:gd name="adj" fmla="val 5065"/>
            </a:avLst>
          </a:prstGeom>
          <a:gradFill>
            <a:gsLst>
              <a:gs pos="0">
                <a:schemeClr val="accent1"/>
              </a:gs>
              <a:gs pos="100000">
                <a:srgbClr val="2F8B8F"/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  <a:sym typeface="Arial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D939BC27-3476-FE6D-2CCE-91DFA01C524D}"/>
              </a:ext>
            </a:extLst>
          </p:cNvPr>
          <p:cNvSpPr/>
          <p:nvPr/>
        </p:nvSpPr>
        <p:spPr>
          <a:xfrm>
            <a:off x="4002894" y="590550"/>
            <a:ext cx="2211422" cy="2373144"/>
          </a:xfrm>
          <a:prstGeom prst="roundRect">
            <a:avLst>
              <a:gd name="adj" fmla="val 5065"/>
            </a:avLst>
          </a:prstGeom>
          <a:gradFill>
            <a:gsLst>
              <a:gs pos="0">
                <a:schemeClr val="tx2"/>
              </a:gs>
              <a:gs pos="100000">
                <a:srgbClr val="006684"/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  <a:sym typeface="Arial"/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83B81144-BE42-E77D-B3D4-977B0AE26E33}"/>
              </a:ext>
            </a:extLst>
          </p:cNvPr>
          <p:cNvSpPr/>
          <p:nvPr/>
        </p:nvSpPr>
        <p:spPr>
          <a:xfrm>
            <a:off x="6322979" y="1939451"/>
            <a:ext cx="2211422" cy="2607013"/>
          </a:xfrm>
          <a:prstGeom prst="roundRect">
            <a:avLst>
              <a:gd name="adj" fmla="val 5065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  <a:sym typeface="Arial"/>
            </a:endParaRP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98799231-1ACF-4961-E0AE-4EAE8DBFB016}"/>
              </a:ext>
            </a:extLst>
          </p:cNvPr>
          <p:cNvSpPr/>
          <p:nvPr/>
        </p:nvSpPr>
        <p:spPr>
          <a:xfrm>
            <a:off x="4002894" y="3080832"/>
            <a:ext cx="2211422" cy="1465632"/>
          </a:xfrm>
          <a:prstGeom prst="roundRect">
            <a:avLst>
              <a:gd name="adj" fmla="val 5065"/>
            </a:avLst>
          </a:prstGeom>
          <a:gradFill>
            <a:gsLst>
              <a:gs pos="0">
                <a:srgbClr val="8E66A8"/>
              </a:gs>
              <a:gs pos="100000">
                <a:srgbClr val="7A5792"/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  <a:sym typeface="Arial"/>
            </a:endParaRPr>
          </a:p>
        </p:txBody>
      </p:sp>
      <p:sp>
        <p:nvSpPr>
          <p:cNvPr id="9" name="Google Shape;163;p17">
            <a:extLst>
              <a:ext uri="{FF2B5EF4-FFF2-40B4-BE49-F238E27FC236}">
                <a16:creationId xmlns:a16="http://schemas.microsoft.com/office/drawing/2014/main" id="{363A5CBB-E3AA-F830-7CF0-D0E540F3EE7D}"/>
              </a:ext>
            </a:extLst>
          </p:cNvPr>
          <p:cNvSpPr txBox="1"/>
          <p:nvPr/>
        </p:nvSpPr>
        <p:spPr>
          <a:xfrm>
            <a:off x="4208835" y="798073"/>
            <a:ext cx="1394298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20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GOVA Request:</a:t>
            </a:r>
            <a:endParaRPr kumimoji="0" sz="20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0" name="Google Shape;163;p17">
            <a:extLst>
              <a:ext uri="{FF2B5EF4-FFF2-40B4-BE49-F238E27FC236}">
                <a16:creationId xmlns:a16="http://schemas.microsoft.com/office/drawing/2014/main" id="{9D51331C-A411-8AD2-1DB8-3043086A5DC5}"/>
              </a:ext>
            </a:extLst>
          </p:cNvPr>
          <p:cNvSpPr txBox="1"/>
          <p:nvPr/>
        </p:nvSpPr>
        <p:spPr>
          <a:xfrm>
            <a:off x="4218564" y="3208285"/>
            <a:ext cx="1394298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8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Additional Leverage: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1" name="Google Shape;163;p17">
            <a:extLst>
              <a:ext uri="{FF2B5EF4-FFF2-40B4-BE49-F238E27FC236}">
                <a16:creationId xmlns:a16="http://schemas.microsoft.com/office/drawing/2014/main" id="{3853E3E3-7F45-7B80-9070-1B63CE58C4BE}"/>
              </a:ext>
            </a:extLst>
          </p:cNvPr>
          <p:cNvSpPr txBox="1"/>
          <p:nvPr/>
        </p:nvSpPr>
        <p:spPr>
          <a:xfrm>
            <a:off x="4208835" y="1721443"/>
            <a:ext cx="1802859" cy="2180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8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Total Match: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2" name="Google Shape;163;p17">
            <a:extLst>
              <a:ext uri="{FF2B5EF4-FFF2-40B4-BE49-F238E27FC236}">
                <a16:creationId xmlns:a16="http://schemas.microsoft.com/office/drawing/2014/main" id="{4D2F9F26-5207-366D-B846-720B24C7DB74}"/>
              </a:ext>
            </a:extLst>
          </p:cNvPr>
          <p:cNvSpPr txBox="1"/>
          <p:nvPr/>
        </p:nvSpPr>
        <p:spPr>
          <a:xfrm>
            <a:off x="4240192" y="3959553"/>
            <a:ext cx="1802859" cy="2180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8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Total Budget: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2CA38B6-0E90-61D1-3FD2-6A60E4C2323F}"/>
              </a:ext>
            </a:extLst>
          </p:cNvPr>
          <p:cNvSpPr txBox="1"/>
          <p:nvPr/>
        </p:nvSpPr>
        <p:spPr>
          <a:xfrm>
            <a:off x="4155588" y="1251214"/>
            <a:ext cx="175746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2400" b="1" dirty="0">
                <a:solidFill>
                  <a:srgbClr val="FEFFFF"/>
                </a:solidFill>
                <a:latin typeface="Century Gothic" panose="020F0302020204030204"/>
              </a:rPr>
              <a:t>$3,933,000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8241123-D9E5-1C04-EC43-1CC42EF4D287}"/>
              </a:ext>
            </a:extLst>
          </p:cNvPr>
          <p:cNvSpPr txBox="1"/>
          <p:nvPr/>
        </p:nvSpPr>
        <p:spPr>
          <a:xfrm>
            <a:off x="4218564" y="1970742"/>
            <a:ext cx="17574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600" dirty="0">
                <a:solidFill>
                  <a:srgbClr val="FEFFFF"/>
                </a:solidFill>
                <a:latin typeface="Century Gothic" panose="020F0302020204030204"/>
              </a:rPr>
              <a:t>$1,966,783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2" name="Google Shape;163;p17">
            <a:extLst>
              <a:ext uri="{FF2B5EF4-FFF2-40B4-BE49-F238E27FC236}">
                <a16:creationId xmlns:a16="http://schemas.microsoft.com/office/drawing/2014/main" id="{D70C6167-EDB0-77E5-C14A-68EF67CB6307}"/>
              </a:ext>
            </a:extLst>
          </p:cNvPr>
          <p:cNvSpPr txBox="1"/>
          <p:nvPr/>
        </p:nvSpPr>
        <p:spPr>
          <a:xfrm>
            <a:off x="304008" y="272287"/>
            <a:ext cx="3393294" cy="641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48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ea typeface="Roboto"/>
                <a:cs typeface="Arial"/>
                <a:sym typeface="Roboto"/>
              </a:rPr>
              <a:t>Region 7: National Innovation Quarter (NIQ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717F37E-9B9A-040F-24B9-41686431C1C9}"/>
              </a:ext>
            </a:extLst>
          </p:cNvPr>
          <p:cNvSpPr txBox="1"/>
          <p:nvPr/>
        </p:nvSpPr>
        <p:spPr>
          <a:xfrm>
            <a:off x="322948" y="876656"/>
            <a:ext cx="3441657" cy="39469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000" b="1" dirty="0">
                <a:solidFill>
                  <a:srgbClr val="004150"/>
                </a:solidFill>
                <a:latin typeface="Century Gothic" panose="020F0302020204030204"/>
              </a:rPr>
              <a:t>Target Cluster(s): </a:t>
            </a:r>
            <a:r>
              <a:rPr lang="en-US" sz="1000" dirty="0">
                <a:solidFill>
                  <a:srgbClr val="004150"/>
                </a:solidFill>
                <a:latin typeface="Century Gothic" panose="020F0302020204030204"/>
              </a:rPr>
              <a:t>Cybersecurity, Emerging Technologies</a:t>
            </a:r>
            <a:endParaRPr lang="en-US" sz="1000" b="1" dirty="0">
              <a:solidFill>
                <a:srgbClr val="004150"/>
              </a:solidFill>
              <a:latin typeface="Century Gothic" panose="020F0302020204030204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Applicant: </a:t>
            </a:r>
            <a:r>
              <a:rPr kumimoji="0" lang="en-US" sz="1000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Arlington Economic Development (</a:t>
            </a:r>
            <a:r>
              <a:rPr lang="en-US" sz="1000" dirty="0">
                <a:solidFill>
                  <a:srgbClr val="004150"/>
                </a:solidFill>
                <a:latin typeface="Century Gothic" panose="020F0302020204030204"/>
              </a:rPr>
              <a:t>AED</a:t>
            </a:r>
            <a:r>
              <a:rPr kumimoji="0" lang="en-US" sz="1000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)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004150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000" b="1" dirty="0">
                <a:solidFill>
                  <a:srgbClr val="004150"/>
                </a:solidFill>
                <a:latin typeface="Century Gothic" panose="020F0302020204030204"/>
              </a:rPr>
              <a:t>Investment Strategy: </a:t>
            </a:r>
            <a:r>
              <a:rPr lang="en-US" sz="1000" dirty="0">
                <a:solidFill>
                  <a:srgbClr val="004150"/>
                </a:solidFill>
                <a:latin typeface="Century Gothic" panose="020F0302020204030204"/>
              </a:rPr>
              <a:t>Cluster Scale-Up</a:t>
            </a:r>
            <a:endParaRPr lang="en-US" sz="1000" b="1" dirty="0">
              <a:solidFill>
                <a:srgbClr val="004150"/>
              </a:solidFill>
              <a:latin typeface="Century Gothic" panose="020F0302020204030204"/>
            </a:endParaRPr>
          </a:p>
          <a:p>
            <a:pPr lvl="0">
              <a:lnSpc>
                <a:spcPct val="150000"/>
              </a:lnSpc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Goal: </a:t>
            </a:r>
            <a:r>
              <a:rPr lang="en-US" sz="1000" dirty="0">
                <a:solidFill>
                  <a:schemeClr val="bg2"/>
                </a:solidFill>
                <a:latin typeface="+mn-lt"/>
              </a:rPr>
              <a:t>To establish and operationalize a regional innovation district that strengthens Northern Virginia’s dual-use technology ecosystem by accelerating startup formation, workforce retention, talent development and commercialization outcomes. </a:t>
            </a:r>
          </a:p>
          <a:p>
            <a:pPr lvl="0">
              <a:lnSpc>
                <a:spcPct val="150000"/>
              </a:lnSpc>
            </a:pPr>
            <a:r>
              <a:rPr lang="en-US" sz="1000" b="1" dirty="0">
                <a:solidFill>
                  <a:srgbClr val="004150"/>
                </a:solidFill>
                <a:latin typeface="Century Gothic" panose="020F0302020204030204"/>
              </a:rPr>
              <a:t>Products: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800" dirty="0">
                <a:solidFill>
                  <a:srgbClr val="004150"/>
                </a:solidFill>
                <a:latin typeface="Century Gothic" panose="020F0302020204030204"/>
              </a:rPr>
              <a:t>Implementation of National Security Capstone Initiative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800" dirty="0">
                <a:solidFill>
                  <a:srgbClr val="004150"/>
                </a:solidFill>
                <a:latin typeface="Century Gothic" panose="020F0302020204030204"/>
              </a:rPr>
              <a:t>Establishment and operationalization of the NIQ 501(c)(6) entity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800" dirty="0">
                <a:solidFill>
                  <a:srgbClr val="004150"/>
                </a:solidFill>
                <a:latin typeface="Century Gothic" panose="020F0302020204030204"/>
              </a:rPr>
              <a:t>Implementation of dual-use business accelerator programs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800" dirty="0">
                <a:solidFill>
                  <a:srgbClr val="004150"/>
                </a:solidFill>
                <a:latin typeface="Century Gothic" panose="020F0302020204030204"/>
              </a:rPr>
              <a:t>Creation of Innovation Lab</a:t>
            </a: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Outcomes: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800" dirty="0">
                <a:solidFill>
                  <a:srgbClr val="004150"/>
                </a:solidFill>
                <a:latin typeface="Century Gothic" panose="020F0302020204030204"/>
              </a:rPr>
              <a:t>350 Jobs Created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800" dirty="0">
                <a:solidFill>
                  <a:srgbClr val="004150"/>
                </a:solidFill>
                <a:latin typeface="Century Gothic" panose="020F0302020204030204"/>
              </a:rPr>
              <a:t>115</a:t>
            </a:r>
            <a:r>
              <a:rPr kumimoji="0" lang="en-US" sz="800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 Businesses Expanded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800" dirty="0">
                <a:solidFill>
                  <a:srgbClr val="004150"/>
                </a:solidFill>
                <a:latin typeface="Century Gothic" panose="020F0302020204030204"/>
              </a:rPr>
              <a:t>32 Businesses Attracted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800" dirty="0">
                <a:solidFill>
                  <a:srgbClr val="004150"/>
                </a:solidFill>
                <a:latin typeface="Century Gothic" panose="020F0302020204030204"/>
              </a:rPr>
              <a:t>257</a:t>
            </a:r>
            <a:r>
              <a:rPr kumimoji="0" lang="en-US" sz="800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 Businesses Served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800" dirty="0">
                <a:solidFill>
                  <a:srgbClr val="004150"/>
                </a:solidFill>
                <a:latin typeface="Century Gothic" panose="020F0302020204030204"/>
              </a:rPr>
              <a:t>$100M in follow-on funding raised</a:t>
            </a:r>
            <a:endParaRPr kumimoji="0" lang="en-US" sz="800" i="0" u="none" strike="noStrike" kern="0" cap="none" spc="0" normalizeH="0" baseline="0" noProof="0" dirty="0">
              <a:ln>
                <a:noFill/>
              </a:ln>
              <a:solidFill>
                <a:srgbClr val="004150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5" name="Google Shape;163;p17">
            <a:extLst>
              <a:ext uri="{FF2B5EF4-FFF2-40B4-BE49-F238E27FC236}">
                <a16:creationId xmlns:a16="http://schemas.microsoft.com/office/drawing/2014/main" id="{7C5C38AD-CAAC-35A2-7C48-C287D1180EE2}"/>
              </a:ext>
            </a:extLst>
          </p:cNvPr>
          <p:cNvSpPr txBox="1"/>
          <p:nvPr/>
        </p:nvSpPr>
        <p:spPr>
          <a:xfrm>
            <a:off x="6456144" y="690888"/>
            <a:ext cx="1945091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6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Workgroup Reccomendation: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3" name="Google Shape;163;p17">
            <a:extLst>
              <a:ext uri="{FF2B5EF4-FFF2-40B4-BE49-F238E27FC236}">
                <a16:creationId xmlns:a16="http://schemas.microsoft.com/office/drawing/2014/main" id="{9B714EF3-9487-5D05-EE14-22D7A7CE6C7E}"/>
              </a:ext>
            </a:extLst>
          </p:cNvPr>
          <p:cNvSpPr txBox="1"/>
          <p:nvPr/>
        </p:nvSpPr>
        <p:spPr>
          <a:xfrm>
            <a:off x="4208835" y="2288685"/>
            <a:ext cx="1802859" cy="2180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8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Local Match: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927C8EB-C770-2AD5-BC51-CC259E5D41D7}"/>
              </a:ext>
            </a:extLst>
          </p:cNvPr>
          <p:cNvSpPr txBox="1"/>
          <p:nvPr/>
        </p:nvSpPr>
        <p:spPr>
          <a:xfrm>
            <a:off x="4218564" y="2535458"/>
            <a:ext cx="17574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600" dirty="0">
                <a:solidFill>
                  <a:srgbClr val="FEFFFF"/>
                </a:solidFill>
                <a:latin typeface="Century Gothic" panose="020F0302020204030204"/>
              </a:rPr>
              <a:t>$964,783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D154B28-FE9B-F474-EC05-FE2DD0F8029C}"/>
              </a:ext>
            </a:extLst>
          </p:cNvPr>
          <p:cNvSpPr txBox="1"/>
          <p:nvPr/>
        </p:nvSpPr>
        <p:spPr>
          <a:xfrm>
            <a:off x="4155589" y="3661426"/>
            <a:ext cx="17574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600" dirty="0">
                <a:solidFill>
                  <a:srgbClr val="FEFFFF"/>
                </a:solidFill>
                <a:latin typeface="Century Gothic" panose="020F0302020204030204"/>
              </a:rPr>
              <a:t>$225,000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7BBE8BE-595F-CBDE-8A45-28711289B8D7}"/>
              </a:ext>
            </a:extLst>
          </p:cNvPr>
          <p:cNvSpPr txBox="1"/>
          <p:nvPr/>
        </p:nvSpPr>
        <p:spPr>
          <a:xfrm>
            <a:off x="4208835" y="4185695"/>
            <a:ext cx="17574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600" dirty="0">
                <a:solidFill>
                  <a:srgbClr val="FEFFFF"/>
                </a:solidFill>
                <a:latin typeface="Century Gothic" panose="020F0302020204030204"/>
              </a:rPr>
              <a:t>$6,124,783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7209A78-1701-D3F2-C76A-0494005CB8A7}"/>
              </a:ext>
            </a:extLst>
          </p:cNvPr>
          <p:cNvSpPr txBox="1"/>
          <p:nvPr/>
        </p:nvSpPr>
        <p:spPr>
          <a:xfrm>
            <a:off x="6494242" y="1316269"/>
            <a:ext cx="17574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/>
            <a:r>
              <a:rPr lang="en-US" sz="1600" dirty="0">
                <a:solidFill>
                  <a:schemeClr val="bg1"/>
                </a:solidFill>
                <a:latin typeface="+mj-lt"/>
              </a:rPr>
              <a:t>Approve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cs typeface="Arial"/>
              <a:sym typeface="Arial"/>
            </a:endParaRPr>
          </a:p>
        </p:txBody>
      </p:sp>
      <p:sp>
        <p:nvSpPr>
          <p:cNvPr id="24" name="Google Shape;163;p17">
            <a:extLst>
              <a:ext uri="{FF2B5EF4-FFF2-40B4-BE49-F238E27FC236}">
                <a16:creationId xmlns:a16="http://schemas.microsoft.com/office/drawing/2014/main" id="{67A15D6F-FC9D-D35A-2921-602CD232AFD5}"/>
              </a:ext>
            </a:extLst>
          </p:cNvPr>
          <p:cNvSpPr txBox="1"/>
          <p:nvPr/>
        </p:nvSpPr>
        <p:spPr>
          <a:xfrm>
            <a:off x="6471545" y="2065564"/>
            <a:ext cx="1802859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6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Participating Localities: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742C523-8EE6-773E-5D06-EA7E7CC73BF3}"/>
              </a:ext>
            </a:extLst>
          </p:cNvPr>
          <p:cNvSpPr txBox="1"/>
          <p:nvPr/>
        </p:nvSpPr>
        <p:spPr>
          <a:xfrm>
            <a:off x="6429986" y="2535458"/>
            <a:ext cx="1971249" cy="4847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bg1"/>
                </a:solidFill>
                <a:latin typeface="+mj-lt"/>
              </a:rPr>
              <a:t>Arlington</a:t>
            </a: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Arial"/>
                <a:sym typeface="Arial"/>
              </a:rPr>
              <a:t> County (Cash and In-Kind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bg1"/>
                </a:solidFill>
                <a:latin typeface="+mj-lt"/>
              </a:rPr>
              <a:t>City of Alexandria (Cash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A510DEE-242C-5C9F-5948-549C54A6ADB1}"/>
              </a:ext>
            </a:extLst>
          </p:cNvPr>
          <p:cNvSpPr txBox="1"/>
          <p:nvPr/>
        </p:nvSpPr>
        <p:spPr>
          <a:xfrm>
            <a:off x="2298013" y="3853113"/>
            <a:ext cx="148553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bg2"/>
                </a:solidFill>
                <a:latin typeface="+mn-lt"/>
              </a:rPr>
              <a:t>80 people trained</a:t>
            </a:r>
          </a:p>
        </p:txBody>
      </p:sp>
    </p:spTree>
    <p:extLst>
      <p:ext uri="{BB962C8B-B14F-4D97-AF65-F5344CB8AC3E}">
        <p14:creationId xmlns:p14="http://schemas.microsoft.com/office/powerpoint/2010/main" val="10976302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0">
          <a:extLst>
            <a:ext uri="{FF2B5EF4-FFF2-40B4-BE49-F238E27FC236}">
              <a16:creationId xmlns:a16="http://schemas.microsoft.com/office/drawing/2014/main" id="{8D7474E3-6424-43C3-FB2A-D6DF01E95E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DCD66D4D-AF70-0726-28DE-BA41B62691E5}"/>
              </a:ext>
            </a:extLst>
          </p:cNvPr>
          <p:cNvSpPr/>
          <p:nvPr/>
        </p:nvSpPr>
        <p:spPr>
          <a:xfrm>
            <a:off x="6322979" y="597035"/>
            <a:ext cx="2211422" cy="1231765"/>
          </a:xfrm>
          <a:prstGeom prst="roundRect">
            <a:avLst>
              <a:gd name="adj" fmla="val 5065"/>
            </a:avLst>
          </a:prstGeom>
          <a:gradFill>
            <a:gsLst>
              <a:gs pos="0">
                <a:schemeClr val="accent1"/>
              </a:gs>
              <a:gs pos="100000">
                <a:srgbClr val="2F8B8F"/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  <a:sym typeface="Arial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BA6172C-B057-287D-B463-87F65A0A3B3A}"/>
              </a:ext>
            </a:extLst>
          </p:cNvPr>
          <p:cNvSpPr/>
          <p:nvPr/>
        </p:nvSpPr>
        <p:spPr>
          <a:xfrm>
            <a:off x="4002894" y="590550"/>
            <a:ext cx="2211422" cy="2373144"/>
          </a:xfrm>
          <a:prstGeom prst="roundRect">
            <a:avLst>
              <a:gd name="adj" fmla="val 5065"/>
            </a:avLst>
          </a:prstGeom>
          <a:gradFill>
            <a:gsLst>
              <a:gs pos="0">
                <a:schemeClr val="tx2"/>
              </a:gs>
              <a:gs pos="100000">
                <a:srgbClr val="006684"/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  <a:sym typeface="Arial"/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7493469F-A62D-239E-DCB5-F6A6831E8CE5}"/>
              </a:ext>
            </a:extLst>
          </p:cNvPr>
          <p:cNvSpPr/>
          <p:nvPr/>
        </p:nvSpPr>
        <p:spPr>
          <a:xfrm>
            <a:off x="6322979" y="1939451"/>
            <a:ext cx="2211422" cy="2607013"/>
          </a:xfrm>
          <a:prstGeom prst="roundRect">
            <a:avLst>
              <a:gd name="adj" fmla="val 5065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  <a:sym typeface="Arial"/>
            </a:endParaRP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6F5F0894-7159-B302-1184-10E2F74A3C39}"/>
              </a:ext>
            </a:extLst>
          </p:cNvPr>
          <p:cNvSpPr/>
          <p:nvPr/>
        </p:nvSpPr>
        <p:spPr>
          <a:xfrm>
            <a:off x="4002894" y="3080832"/>
            <a:ext cx="2211422" cy="1465632"/>
          </a:xfrm>
          <a:prstGeom prst="roundRect">
            <a:avLst>
              <a:gd name="adj" fmla="val 5065"/>
            </a:avLst>
          </a:prstGeom>
          <a:gradFill>
            <a:gsLst>
              <a:gs pos="0">
                <a:srgbClr val="8E66A8"/>
              </a:gs>
              <a:gs pos="100000">
                <a:srgbClr val="7A5792"/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  <a:sym typeface="Arial"/>
            </a:endParaRPr>
          </a:p>
        </p:txBody>
      </p:sp>
      <p:sp>
        <p:nvSpPr>
          <p:cNvPr id="9" name="Google Shape;163;p17">
            <a:extLst>
              <a:ext uri="{FF2B5EF4-FFF2-40B4-BE49-F238E27FC236}">
                <a16:creationId xmlns:a16="http://schemas.microsoft.com/office/drawing/2014/main" id="{7207FF8F-9A69-07AE-8288-1C52816B3818}"/>
              </a:ext>
            </a:extLst>
          </p:cNvPr>
          <p:cNvSpPr txBox="1"/>
          <p:nvPr/>
        </p:nvSpPr>
        <p:spPr>
          <a:xfrm>
            <a:off x="4208835" y="798073"/>
            <a:ext cx="1394298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20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GOVA Request:</a:t>
            </a:r>
            <a:endParaRPr kumimoji="0" sz="20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0" name="Google Shape;163;p17">
            <a:extLst>
              <a:ext uri="{FF2B5EF4-FFF2-40B4-BE49-F238E27FC236}">
                <a16:creationId xmlns:a16="http://schemas.microsoft.com/office/drawing/2014/main" id="{664842FF-BDB8-D4F6-E4E4-88849596C3B0}"/>
              </a:ext>
            </a:extLst>
          </p:cNvPr>
          <p:cNvSpPr txBox="1"/>
          <p:nvPr/>
        </p:nvSpPr>
        <p:spPr>
          <a:xfrm>
            <a:off x="4218564" y="3208285"/>
            <a:ext cx="1394298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8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Additional Leverage: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1" name="Google Shape;163;p17">
            <a:extLst>
              <a:ext uri="{FF2B5EF4-FFF2-40B4-BE49-F238E27FC236}">
                <a16:creationId xmlns:a16="http://schemas.microsoft.com/office/drawing/2014/main" id="{B991ECFC-AA85-7AF6-B8A6-A3721C2ED4B6}"/>
              </a:ext>
            </a:extLst>
          </p:cNvPr>
          <p:cNvSpPr txBox="1"/>
          <p:nvPr/>
        </p:nvSpPr>
        <p:spPr>
          <a:xfrm>
            <a:off x="4208835" y="1721443"/>
            <a:ext cx="1802859" cy="2180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8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Total Match: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2" name="Google Shape;163;p17">
            <a:extLst>
              <a:ext uri="{FF2B5EF4-FFF2-40B4-BE49-F238E27FC236}">
                <a16:creationId xmlns:a16="http://schemas.microsoft.com/office/drawing/2014/main" id="{2A23E533-4308-035B-B90D-D203DF7DB862}"/>
              </a:ext>
            </a:extLst>
          </p:cNvPr>
          <p:cNvSpPr txBox="1"/>
          <p:nvPr/>
        </p:nvSpPr>
        <p:spPr>
          <a:xfrm>
            <a:off x="4240192" y="3959553"/>
            <a:ext cx="1802859" cy="2180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8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Total Budget: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C2B6747-91B5-A89E-802C-53E45729C6AF}"/>
              </a:ext>
            </a:extLst>
          </p:cNvPr>
          <p:cNvSpPr txBox="1"/>
          <p:nvPr/>
        </p:nvSpPr>
        <p:spPr>
          <a:xfrm>
            <a:off x="4155588" y="1251214"/>
            <a:ext cx="175746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2400" b="1" dirty="0">
                <a:solidFill>
                  <a:srgbClr val="FEFFFF"/>
                </a:solidFill>
                <a:latin typeface="Century Gothic" panose="020F0302020204030204"/>
              </a:rPr>
              <a:t>$61,409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775E101-2AAA-DA3F-D46A-970E2E132E89}"/>
              </a:ext>
            </a:extLst>
          </p:cNvPr>
          <p:cNvSpPr txBox="1"/>
          <p:nvPr/>
        </p:nvSpPr>
        <p:spPr>
          <a:xfrm>
            <a:off x="4218564" y="1970742"/>
            <a:ext cx="17574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600" dirty="0">
                <a:solidFill>
                  <a:srgbClr val="FEFFFF"/>
                </a:solidFill>
                <a:latin typeface="Century Gothic" panose="020F0302020204030204"/>
              </a:rPr>
              <a:t>$54,820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2" name="Google Shape;163;p17">
            <a:extLst>
              <a:ext uri="{FF2B5EF4-FFF2-40B4-BE49-F238E27FC236}">
                <a16:creationId xmlns:a16="http://schemas.microsoft.com/office/drawing/2014/main" id="{34B839A7-3FEA-9099-84C9-E9381E9F82AC}"/>
              </a:ext>
            </a:extLst>
          </p:cNvPr>
          <p:cNvSpPr txBox="1"/>
          <p:nvPr/>
        </p:nvSpPr>
        <p:spPr>
          <a:xfrm>
            <a:off x="304008" y="272287"/>
            <a:ext cx="3393294" cy="641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48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ea typeface="Roboto"/>
                <a:cs typeface="Arial"/>
                <a:sym typeface="Roboto"/>
              </a:rPr>
              <a:t>Region 1: Glade Highlands Regional Industrial Park Lots 6 &amp; 7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A497217-262B-CB18-8E34-B2128BF492C0}"/>
              </a:ext>
            </a:extLst>
          </p:cNvPr>
          <p:cNvSpPr txBox="1"/>
          <p:nvPr/>
        </p:nvSpPr>
        <p:spPr>
          <a:xfrm>
            <a:off x="322948" y="876656"/>
            <a:ext cx="3441657" cy="27927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000" b="1" dirty="0">
                <a:solidFill>
                  <a:srgbClr val="004150"/>
                </a:solidFill>
                <a:latin typeface="Century Gothic" panose="020F0302020204030204"/>
              </a:rPr>
              <a:t>Target Cluster(s): </a:t>
            </a:r>
            <a:r>
              <a:rPr lang="en-US" sz="1000" dirty="0">
                <a:solidFill>
                  <a:srgbClr val="004150"/>
                </a:solidFill>
                <a:latin typeface="Century Gothic" panose="020F0302020204030204"/>
              </a:rPr>
              <a:t>Advanced Manufacturing, Agriculture/Food and Beverage Manufacturing, Transportation and Logistics</a:t>
            </a:r>
            <a:endParaRPr lang="en-US" sz="1000" b="1" dirty="0">
              <a:solidFill>
                <a:srgbClr val="004150"/>
              </a:solidFill>
              <a:latin typeface="Century Gothic" panose="020F0302020204030204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Applicant: </a:t>
            </a:r>
            <a:r>
              <a:rPr lang="en-US" sz="1000" dirty="0">
                <a:solidFill>
                  <a:srgbClr val="004150"/>
                </a:solidFill>
                <a:latin typeface="Century Gothic" panose="020F0302020204030204"/>
              </a:rPr>
              <a:t>Washington County IDA</a:t>
            </a:r>
            <a:endParaRPr kumimoji="0" lang="en-US" sz="1000" i="0" u="none" strike="noStrike" kern="0" cap="none" spc="0" normalizeH="0" baseline="0" noProof="0" dirty="0">
              <a:ln>
                <a:noFill/>
              </a:ln>
              <a:solidFill>
                <a:srgbClr val="004150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000" b="1" dirty="0">
                <a:solidFill>
                  <a:srgbClr val="004150"/>
                </a:solidFill>
                <a:latin typeface="Century Gothic" panose="020F0302020204030204"/>
              </a:rPr>
              <a:t>Investment Strategy: </a:t>
            </a:r>
            <a:r>
              <a:rPr lang="en-US" sz="1000" dirty="0">
                <a:solidFill>
                  <a:srgbClr val="004150"/>
                </a:solidFill>
                <a:latin typeface="Century Gothic" panose="020F0302020204030204"/>
              </a:rPr>
              <a:t>Site Development and Infrastructure</a:t>
            </a:r>
            <a:endParaRPr lang="en-US" sz="1000" b="1" dirty="0">
              <a:solidFill>
                <a:srgbClr val="004150"/>
              </a:solidFill>
              <a:latin typeface="Century Gothic" panose="020F0302020204030204"/>
            </a:endParaRPr>
          </a:p>
          <a:p>
            <a:pPr lvl="0">
              <a:lnSpc>
                <a:spcPct val="150000"/>
              </a:lnSpc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Goal: </a:t>
            </a:r>
            <a:r>
              <a:rPr lang="en-US" sz="1000" dirty="0">
                <a:solidFill>
                  <a:schemeClr val="bg2"/>
                </a:solidFill>
                <a:latin typeface="+mn-lt"/>
              </a:rPr>
              <a:t>To expand the inventory of shovel-ready industrial sites in GO Virginia Region 1. </a:t>
            </a: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Outcomes: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800" dirty="0">
                <a:solidFill>
                  <a:srgbClr val="004150"/>
                </a:solidFill>
                <a:latin typeface="Century Gothic" panose="020F0302020204030204"/>
              </a:rPr>
              <a:t>10 acres advanced to a higher tier per Virginia Business Ready Sites Program (VBRSP)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260 </a:t>
            </a:r>
            <a:r>
              <a:rPr lang="en-US" sz="800" dirty="0">
                <a:solidFill>
                  <a:srgbClr val="004150"/>
                </a:solidFill>
                <a:latin typeface="Century Gothic" panose="020F0302020204030204"/>
              </a:rPr>
              <a:t>linear feet of sewer infrastructure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i="0" u="none" strike="noStrike" kern="0" cap="none" spc="0" normalizeH="0" baseline="0" noProof="0" dirty="0">
                <a:ln>
                  <a:noFill/>
                </a:ln>
                <a:solidFill>
                  <a:srgbClr val="004150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rPr>
              <a:t>1</a:t>
            </a:r>
            <a:r>
              <a:rPr lang="en-US" sz="800" dirty="0">
                <a:solidFill>
                  <a:srgbClr val="004150"/>
                </a:solidFill>
                <a:latin typeface="Century Gothic" panose="020F0302020204030204"/>
              </a:rPr>
              <a:t>40 feet of water infrastructure</a:t>
            </a:r>
            <a:endParaRPr kumimoji="0" lang="en-US" sz="800" i="0" u="none" strike="noStrike" kern="0" cap="none" spc="0" normalizeH="0" baseline="0" noProof="0" dirty="0">
              <a:ln>
                <a:noFill/>
              </a:ln>
              <a:solidFill>
                <a:srgbClr val="004150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5" name="Google Shape;163;p17">
            <a:extLst>
              <a:ext uri="{FF2B5EF4-FFF2-40B4-BE49-F238E27FC236}">
                <a16:creationId xmlns:a16="http://schemas.microsoft.com/office/drawing/2014/main" id="{CD7B9A61-096C-ADA5-886E-CFEB0B04BA20}"/>
              </a:ext>
            </a:extLst>
          </p:cNvPr>
          <p:cNvSpPr txBox="1"/>
          <p:nvPr/>
        </p:nvSpPr>
        <p:spPr>
          <a:xfrm>
            <a:off x="6456144" y="690888"/>
            <a:ext cx="1945091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6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Workgroup Reccomendation: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3" name="Google Shape;163;p17">
            <a:extLst>
              <a:ext uri="{FF2B5EF4-FFF2-40B4-BE49-F238E27FC236}">
                <a16:creationId xmlns:a16="http://schemas.microsoft.com/office/drawing/2014/main" id="{E5A21B2B-2DAC-6D97-7582-7CA752F6F8C6}"/>
              </a:ext>
            </a:extLst>
          </p:cNvPr>
          <p:cNvSpPr txBox="1"/>
          <p:nvPr/>
        </p:nvSpPr>
        <p:spPr>
          <a:xfrm>
            <a:off x="4208835" y="2288685"/>
            <a:ext cx="1802859" cy="2180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8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Local Match: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9A95CFE-BF12-9739-8290-7EFB90EA01F5}"/>
              </a:ext>
            </a:extLst>
          </p:cNvPr>
          <p:cNvSpPr txBox="1"/>
          <p:nvPr/>
        </p:nvSpPr>
        <p:spPr>
          <a:xfrm>
            <a:off x="4218564" y="2535458"/>
            <a:ext cx="17574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600" dirty="0">
                <a:solidFill>
                  <a:srgbClr val="FEFFFF"/>
                </a:solidFill>
                <a:latin typeface="Century Gothic" panose="020F0302020204030204"/>
              </a:rPr>
              <a:t>$54,820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CC5814A-0BBF-868A-3955-DB3228D7B722}"/>
              </a:ext>
            </a:extLst>
          </p:cNvPr>
          <p:cNvSpPr txBox="1"/>
          <p:nvPr/>
        </p:nvSpPr>
        <p:spPr>
          <a:xfrm>
            <a:off x="4155589" y="3661426"/>
            <a:ext cx="17574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600" dirty="0">
                <a:solidFill>
                  <a:srgbClr val="FEFFFF"/>
                </a:solidFill>
                <a:latin typeface="Century Gothic" panose="020F0302020204030204"/>
              </a:rPr>
              <a:t>$2,209,280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FAFDF34-C282-93EE-1BD7-D86693A62296}"/>
              </a:ext>
            </a:extLst>
          </p:cNvPr>
          <p:cNvSpPr txBox="1"/>
          <p:nvPr/>
        </p:nvSpPr>
        <p:spPr>
          <a:xfrm>
            <a:off x="4155587" y="4203086"/>
            <a:ext cx="17574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600" dirty="0">
                <a:solidFill>
                  <a:srgbClr val="FEFFFF"/>
                </a:solidFill>
                <a:latin typeface="Century Gothic" panose="020F0302020204030204"/>
              </a:rPr>
              <a:t>$2,325,509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cs typeface="Arial"/>
              <a:sym typeface="Arial"/>
            </a:endParaRPr>
          </a:p>
        </p:txBody>
      </p:sp>
      <p:sp>
        <p:nvSpPr>
          <p:cNvPr id="24" name="Google Shape;163;p17">
            <a:extLst>
              <a:ext uri="{FF2B5EF4-FFF2-40B4-BE49-F238E27FC236}">
                <a16:creationId xmlns:a16="http://schemas.microsoft.com/office/drawing/2014/main" id="{DC49517D-3201-697C-E088-3A1B9F7AEC0E}"/>
              </a:ext>
            </a:extLst>
          </p:cNvPr>
          <p:cNvSpPr txBox="1"/>
          <p:nvPr/>
        </p:nvSpPr>
        <p:spPr>
          <a:xfrm>
            <a:off x="6471545" y="2065564"/>
            <a:ext cx="1802859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6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" sz="1600" b="1" dirty="0">
                <a:solidFill>
                  <a:srgbClr val="FEFFFF"/>
                </a:solidFill>
                <a:latin typeface="Century Gothic" panose="020F0302020204030204"/>
                <a:ea typeface="Roboto"/>
                <a:cs typeface="Roboto"/>
                <a:sym typeface="Roboto"/>
              </a:rPr>
              <a:t>Participating Localities: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F0302020204030204"/>
              <a:ea typeface="Roboto"/>
              <a:cs typeface="Roboto"/>
              <a:sym typeface="Roboto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FC6BC83-0442-6EEC-C4EC-2FA994C26599}"/>
              </a:ext>
            </a:extLst>
          </p:cNvPr>
          <p:cNvSpPr txBox="1"/>
          <p:nvPr/>
        </p:nvSpPr>
        <p:spPr>
          <a:xfrm>
            <a:off x="6429986" y="2535458"/>
            <a:ext cx="1971249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Arial"/>
                <a:sym typeface="Arial"/>
              </a:rPr>
              <a:t>Washington County (Cash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bg1"/>
                </a:solidFill>
                <a:latin typeface="+mj-lt"/>
              </a:rPr>
              <a:t>Smyth County (Advisory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A4E93C7-4064-379D-69FE-B1C74EB76465}"/>
              </a:ext>
            </a:extLst>
          </p:cNvPr>
          <p:cNvSpPr txBox="1"/>
          <p:nvPr/>
        </p:nvSpPr>
        <p:spPr>
          <a:xfrm>
            <a:off x="6471545" y="1157004"/>
            <a:ext cx="1757463" cy="4847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/>
            <a:r>
              <a:rPr lang="en-US" sz="1050" dirty="0">
                <a:solidFill>
                  <a:schemeClr val="bg1"/>
                </a:solidFill>
                <a:latin typeface="+mj-lt"/>
              </a:rPr>
              <a:t>Approval contingent on successful awards by the U.S. EDA 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209153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EDP - Q2 2020">
  <a:themeElements>
    <a:clrScheme name="VEDP 2019 2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3865"/>
      </a:accent1>
      <a:accent2>
        <a:srgbClr val="007DBA"/>
      </a:accent2>
      <a:accent3>
        <a:srgbClr val="C3C3C3"/>
      </a:accent3>
      <a:accent4>
        <a:srgbClr val="707371"/>
      </a:accent4>
      <a:accent5>
        <a:srgbClr val="FFB900"/>
      </a:accent5>
      <a:accent6>
        <a:srgbClr val="F17916"/>
      </a:accent6>
      <a:hlink>
        <a:srgbClr val="003865"/>
      </a:hlink>
      <a:folHlink>
        <a:srgbClr val="003865"/>
      </a:folHlink>
    </a:clrScheme>
    <a:fontScheme name="Arial">
      <a:majorFont>
        <a:latin typeface="Arial Bold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none" lIns="0" tIns="0" rIns="0" bIns="0" rtlCol="0" anchor="t">
        <a:spAutoFit/>
      </a:bodyPr>
      <a:lstStyle>
        <a:defPPr algn="l">
          <a:defRPr sz="1400" dirty="0" err="1" smtClean="0">
            <a:latin typeface="Arial" charset="0"/>
            <a:ea typeface="Arial" charset="0"/>
            <a:cs typeface="Arial" charset="0"/>
          </a:defRPr>
        </a:defPPr>
      </a:lstStyle>
    </a:txDef>
  </a:objectDefaults>
  <a:extraClrSchemeLst/>
  <a:custClrLst>
    <a:custClr name="#428249">
      <a:srgbClr val="428249"/>
    </a:custClr>
    <a:custClr name="#6FA775">
      <a:srgbClr val="6FA775"/>
    </a:custClr>
    <a:custClr name="#9CCCA2">
      <a:srgbClr val="9CCCA2"/>
    </a:custClr>
    <a:custClr name="#EE9286">
      <a:srgbClr val="EE9286"/>
    </a:custClr>
    <a:custClr name="#D15F4F">
      <a:srgbClr val="D15F4F"/>
    </a:custClr>
    <a:custClr name="#B52C19">
      <a:srgbClr val="B52C19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#D9E9F7">
      <a:srgbClr val="D9E9F7"/>
    </a:custClr>
    <a:custClr name="#97CAED">
      <a:srgbClr val="97CAED"/>
    </a:custClr>
    <a:custClr name="#0C9ED9">
      <a:srgbClr val="0C9ED9"/>
    </a:custClr>
    <a:custClr name="#0070B4">
      <a:srgbClr val="0070B4"/>
    </a:custClr>
    <a:custClr name="#00508C">
      <a:srgbClr val="00508C"/>
    </a:custClr>
    <a:custClr name="#003865">
      <a:srgbClr val="003865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Presentation2" id="{996280CD-8533-4F3C-8C60-100EEE19CD91}" vid="{C56D0293-823D-4007-AC48-F2B15BDE5AC0}"/>
    </a:ext>
  </a:extLst>
</a:theme>
</file>

<file path=ppt/theme/theme2.xml><?xml version="1.0" encoding="utf-8"?>
<a:theme xmlns:a="http://schemas.openxmlformats.org/drawingml/2006/main" name="Title_White_BlueBox-Right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Blank_SpecialityLayout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PrimarySlides_Title_ONELIN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DHCD2026">
  <a:themeElements>
    <a:clrScheme name="DHCD 2026">
      <a:dk1>
        <a:srgbClr val="FEFFFF"/>
      </a:dk1>
      <a:lt1>
        <a:srgbClr val="FEFFFF"/>
      </a:lt1>
      <a:dk2>
        <a:srgbClr val="004150"/>
      </a:dk2>
      <a:lt2>
        <a:srgbClr val="007799"/>
      </a:lt2>
      <a:accent1>
        <a:srgbClr val="3AA3A6"/>
      </a:accent1>
      <a:accent2>
        <a:srgbClr val="00A98C"/>
      </a:accent2>
      <a:accent3>
        <a:srgbClr val="00617B"/>
      </a:accent3>
      <a:accent4>
        <a:srgbClr val="61BD8A"/>
      </a:accent4>
      <a:accent5>
        <a:srgbClr val="89C780"/>
      </a:accent5>
      <a:accent6>
        <a:srgbClr val="D8EFF0"/>
      </a:accent6>
      <a:hlink>
        <a:srgbClr val="008CB2"/>
      </a:hlink>
      <a:folHlink>
        <a:srgbClr val="00A3A3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HCD2026" id="{E40806C2-FB8D-CD4E-9D82-B946E2A321AD}" vid="{3690C612-E442-7A47-951F-6F769C431086}"/>
    </a:ext>
  </a:extLst>
</a:theme>
</file>

<file path=ppt/theme/theme6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232d076-e911-4e72-a2db-60bf43123b52" xsi:nil="true"/>
    <lcf76f155ced4ddcb4097134ff3c332f xmlns="5914029d-c2c2-44d6-b007-262d608e45ba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DEB4DBA745E4C459C5720AAE4F42A5E" ma:contentTypeVersion="15" ma:contentTypeDescription="Create a new document." ma:contentTypeScope="" ma:versionID="3646283aeb4bda5cd3292b87ac4de4c7">
  <xsd:schema xmlns:xsd="http://www.w3.org/2001/XMLSchema" xmlns:xs="http://www.w3.org/2001/XMLSchema" xmlns:p="http://schemas.microsoft.com/office/2006/metadata/properties" xmlns:ns2="5914029d-c2c2-44d6-b007-262d608e45ba" xmlns:ns3="6232d076-e911-4e72-a2db-60bf43123b52" targetNamespace="http://schemas.microsoft.com/office/2006/metadata/properties" ma:root="true" ma:fieldsID="eeea23fbd50a618309d8d33c86cd3e49" ns2:_="" ns3:_="">
    <xsd:import namespace="5914029d-c2c2-44d6-b007-262d608e45ba"/>
    <xsd:import namespace="6232d076-e911-4e72-a2db-60bf43123b5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  <xsd:element ref="ns2:MediaServiceDateTaken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914029d-c2c2-44d6-b007-262d608e45b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0920e099-540f-4e49-b54d-0e500676ccf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2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232d076-e911-4e72-a2db-60bf43123b52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ce6b130b-1a8a-40b5-8989-d4a5d059cff9}" ma:internalName="TaxCatchAll" ma:showField="CatchAllData" ma:web="6232d076-e911-4e72-a2db-60bf43123b5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33B344A-A0CE-4830-A944-9DF81A5EBEA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18624A5-C050-4943-B4B4-B60BC3601071}">
  <ds:schemaRefs>
    <ds:schemaRef ds:uri="5914029d-c2c2-44d6-b007-262d608e45ba"/>
    <ds:schemaRef ds:uri="6232d076-e911-4e72-a2db-60bf43123b52"/>
    <ds:schemaRef ds:uri="b0eacb82-dff8-40ef-82b7-dde195d48dcc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29585041-B7AE-42D4-A56E-5E906A40C37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914029d-c2c2-44d6-b007-262d608e45ba"/>
    <ds:schemaRef ds:uri="6232d076-e911-4e72-a2db-60bf43123b5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620ae5a9-4ec1-4fa0-8641-5d9f386c7309}" enabled="0" method="" siteId="{620ae5a9-4ec1-4fa0-8641-5d9f386c7309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4887</TotalTime>
  <Words>1927</Words>
  <Application>Microsoft Office PowerPoint</Application>
  <PresentationFormat>On-screen Show (16:9)</PresentationFormat>
  <Paragraphs>376</Paragraphs>
  <Slides>21</Slides>
  <Notes>21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8" baseType="lpstr">
      <vt:lpstr>System Font Regular</vt:lpstr>
      <vt:lpstr>ITC Franklin Gothic Std Bk Cd</vt:lpstr>
      <vt:lpstr>Arial</vt:lpstr>
      <vt:lpstr>ITC Franklin Gothic Std Med</vt:lpstr>
      <vt:lpstr>ITC Franklin Gothic Std MedCd</vt:lpstr>
      <vt:lpstr>Century Gothic</vt:lpstr>
      <vt:lpstr>Arial Nova Light</vt:lpstr>
      <vt:lpstr>ITC Franklin Gothic Std Book</vt:lpstr>
      <vt:lpstr>Wingdings</vt:lpstr>
      <vt:lpstr>Arial Bold</vt:lpstr>
      <vt:lpstr>Calibri</vt:lpstr>
      <vt:lpstr>VEDP - Q2 2020</vt:lpstr>
      <vt:lpstr>Title_White_BlueBox-Right</vt:lpstr>
      <vt:lpstr>Blank_SpecialityLayouts</vt:lpstr>
      <vt:lpstr>PrimarySlides_Title_ONELINE</vt:lpstr>
      <vt:lpstr>DHCD2026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ps for using this template</dc:title>
  <dc:creator>Anderson, Cody (DHCD)</dc:creator>
  <cp:lastModifiedBy>Dunnigan, Sara (DHCD)</cp:lastModifiedBy>
  <cp:revision>625</cp:revision>
  <dcterms:modified xsi:type="dcterms:W3CDTF">2026-06-09T16:41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DEB4DBA745E4C459C5720AAE4F42A5E</vt:lpwstr>
  </property>
  <property fmtid="{D5CDD505-2E9C-101B-9397-08002B2CF9AE}" pid="3" name="MediaServiceImageTags">
    <vt:lpwstr/>
  </property>
</Properties>
</file>